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6.xml" ContentType="application/vnd.openxmlformats-officedocument.theme+xml"/>
  <Override PartName="/ppt/tags/tag63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7.xml" ContentType="application/vnd.openxmlformats-officedocument.theme+xml"/>
  <Override PartName="/ppt/tags/tag636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notesSlides/notesSlide1.xml" ContentType="application/vnd.openxmlformats-officedocument.presentationml.notesSlide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notesSlides/notesSlide2.xml" ContentType="application/vnd.openxmlformats-officedocument.presentationml.notesSlide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notesSlides/notesSlide3.xml" ContentType="application/vnd.openxmlformats-officedocument.presentationml.notesSlide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notesSlides/notesSlide4.xml" ContentType="application/vnd.openxmlformats-officedocument.presentationml.notesSlide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notesSlides/notesSlide5.xml" ContentType="application/vnd.openxmlformats-officedocument.presentationml.notesSlide+xml"/>
  <Override PartName="/ppt/tags/tag75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notesSlides/notesSlide12.xml" ContentType="application/vnd.openxmlformats-officedocument.presentationml.notesSlide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notesSlides/notesSlide13.xml" ContentType="application/vnd.openxmlformats-officedocument.presentationml.notesSlide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notesSlides/notesSlide14.xml" ContentType="application/vnd.openxmlformats-officedocument.presentationml.notesSlide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notesSlides/notesSlide15.xml" ContentType="application/vnd.openxmlformats-officedocument.presentationml.notesSlide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notesSlides/notesSlide16.xml" ContentType="application/vnd.openxmlformats-officedocument.presentationml.notesSlide+xml"/>
  <Override PartName="/ppt/tags/tag902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1"/>
    <p:sldMasterId id="2147483864" r:id="rId2"/>
    <p:sldMasterId id="2147483959" r:id="rId3"/>
    <p:sldMasterId id="2147483978" r:id="rId4"/>
    <p:sldMasterId id="2147483998" r:id="rId5"/>
    <p:sldMasterId id="2147484002" r:id="rId6"/>
    <p:sldMasterId id="2147484020" r:id="rId7"/>
  </p:sldMasterIdLst>
  <p:notesMasterIdLst>
    <p:notesMasterId r:id="rId48"/>
  </p:notesMasterIdLst>
  <p:handoutMasterIdLst>
    <p:handoutMasterId r:id="rId49"/>
  </p:handoutMasterIdLst>
  <p:sldIdLst>
    <p:sldId id="258" r:id="rId8"/>
    <p:sldId id="2147483642" r:id="rId9"/>
    <p:sldId id="2147477928" r:id="rId10"/>
    <p:sldId id="265" r:id="rId11"/>
    <p:sldId id="2147474616" r:id="rId12"/>
    <p:sldId id="2147471528" r:id="rId13"/>
    <p:sldId id="288" r:id="rId14"/>
    <p:sldId id="2147477921" r:id="rId15"/>
    <p:sldId id="2147474627" r:id="rId16"/>
    <p:sldId id="2147483647" r:id="rId17"/>
    <p:sldId id="257" r:id="rId18"/>
    <p:sldId id="2147483644" r:id="rId19"/>
    <p:sldId id="259" r:id="rId20"/>
    <p:sldId id="256" r:id="rId21"/>
    <p:sldId id="2147477927" r:id="rId22"/>
    <p:sldId id="264" r:id="rId23"/>
    <p:sldId id="2147477935" r:id="rId24"/>
    <p:sldId id="2147483638" r:id="rId25"/>
    <p:sldId id="2147480298" r:id="rId26"/>
    <p:sldId id="2147483640" r:id="rId27"/>
    <p:sldId id="2147477931" r:id="rId28"/>
    <p:sldId id="2147477932" r:id="rId29"/>
    <p:sldId id="2147474665" r:id="rId30"/>
    <p:sldId id="2147483639" r:id="rId31"/>
    <p:sldId id="2147477930" r:id="rId32"/>
    <p:sldId id="275" r:id="rId33"/>
    <p:sldId id="260" r:id="rId34"/>
    <p:sldId id="261" r:id="rId35"/>
    <p:sldId id="262" r:id="rId36"/>
    <p:sldId id="263" r:id="rId37"/>
    <p:sldId id="2147483645" r:id="rId38"/>
    <p:sldId id="2147483646" r:id="rId39"/>
    <p:sldId id="266" r:id="rId40"/>
    <p:sldId id="267" r:id="rId41"/>
    <p:sldId id="268" r:id="rId42"/>
    <p:sldId id="269" r:id="rId43"/>
    <p:sldId id="270" r:id="rId44"/>
    <p:sldId id="271" r:id="rId45"/>
    <p:sldId id="272" r:id="rId46"/>
    <p:sldId id="273" r:id="rId47"/>
  </p:sldIdLst>
  <p:sldSz cx="12192000" cy="6858000"/>
  <p:notesSz cx="7102475" cy="9388475"/>
  <p:embeddedFontLst>
    <p:embeddedFont>
      <p:font typeface="Consolas" panose="020B0609020204030204" pitchFamily="49" charset="0"/>
      <p:regular r:id="rId50"/>
      <p:bold r:id="rId51"/>
      <p:italic r:id="rId52"/>
      <p:boldItalic r:id="rId53"/>
    </p:embeddedFont>
    <p:embeddedFont>
      <p:font typeface="Ebrima" panose="02000000000000000000" pitchFamily="2" charset="0"/>
      <p:regular r:id="rId54"/>
      <p:bold r:id="rId55"/>
    </p:embeddedFont>
    <p:embeddedFont>
      <p:font typeface="Georgia" panose="02040502050405020303" pitchFamily="18" charset="0"/>
      <p:regular r:id="rId56"/>
      <p:bold r:id="rId57"/>
      <p:italic r:id="rId58"/>
      <p:boldItalic r:id="rId59"/>
    </p:embeddedFont>
    <p:embeddedFont>
      <p:font typeface="INCONSOLATA FOR POWERLINE" panose="020B0609030003000000" pitchFamily="49" charset="0"/>
      <p:regular r:id="rId60"/>
    </p:embeddedFont>
    <p:embeddedFont>
      <p:font typeface="Nunito" pitchFamily="2" charset="77"/>
      <p:regular r:id="rId61"/>
      <p:bold r:id="rId62"/>
      <p:italic r:id="rId63"/>
      <p:boldItalic r:id="rId64"/>
    </p:embeddedFont>
    <p:embeddedFont>
      <p:font typeface="Nunito Medium" panose="020F0502020204030204" pitchFamily="34" charset="0"/>
      <p:regular r:id="rId65"/>
      <p:bold r:id="rId66"/>
      <p:italic r:id="rId67"/>
      <p:boldItalic r:id="rId68"/>
    </p:embeddedFont>
    <p:embeddedFont>
      <p:font typeface="Quattrocento Sans" panose="020B0502050000020003" pitchFamily="34" charset="0"/>
      <p:regular r:id="rId69"/>
      <p:bold r:id="rId70"/>
      <p:italic r:id="rId71"/>
      <p:boldItalic r:id="rId72"/>
    </p:embeddedFont>
    <p:embeddedFont>
      <p:font typeface="Segoe UI" panose="020B0502040204020203" pitchFamily="34" charset="0"/>
      <p:regular r:id="rId73"/>
      <p:bold r:id="rId74"/>
      <p:italic r:id="rId75"/>
      <p:boldItalic r:id="rId76"/>
    </p:embeddedFont>
    <p:embeddedFont>
      <p:font typeface="Sora" panose="020F0502020204030204" pitchFamily="34" charset="0"/>
      <p:regular r:id="rId77"/>
      <p:bold r:id="rId78"/>
      <p:italic r:id="rId79"/>
      <p:boldItalic r:id="rId80"/>
    </p:embeddedFont>
    <p:embeddedFont>
      <p:font typeface="Sora Medium" panose="020F0502020204030204" pitchFamily="34" charset="0"/>
      <p:regular r:id="rId81"/>
      <p:bold r:id="rId82"/>
      <p:italic r:id="rId83"/>
      <p:boldItalic r:id="rId84"/>
    </p:embeddedFont>
  </p:embeddedFontLst>
  <p:custDataLst>
    <p:tags r:id="rId8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A030"/>
    <a:srgbClr val="FFFFEE"/>
    <a:srgbClr val="1F40E6"/>
    <a:srgbClr val="E8E8E8"/>
    <a:srgbClr val="FFFFFF"/>
    <a:srgbClr val="AC7723"/>
    <a:srgbClr val="FFE242"/>
    <a:srgbClr val="AA4D1E"/>
    <a:srgbClr val="DD8080"/>
    <a:srgbClr val="D561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94" autoAdjust="0"/>
    <p:restoredTop sz="83809" autoAdjust="0"/>
  </p:normalViewPr>
  <p:slideViewPr>
    <p:cSldViewPr snapToGrid="0" snapToObjects="1">
      <p:cViewPr varScale="1">
        <p:scale>
          <a:sx n="101" d="100"/>
          <a:sy n="101" d="100"/>
        </p:scale>
        <p:origin x="1680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20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font" Target="fonts/font14.fntdata"/><Relationship Id="rId68" Type="http://schemas.openxmlformats.org/officeDocument/2006/relationships/font" Target="fonts/font19.fntdata"/><Relationship Id="rId84" Type="http://schemas.openxmlformats.org/officeDocument/2006/relationships/font" Target="fonts/font35.fntdata"/><Relationship Id="rId89" Type="http://schemas.openxmlformats.org/officeDocument/2006/relationships/theme" Target="theme/theme1.xml"/><Relationship Id="rId16" Type="http://schemas.openxmlformats.org/officeDocument/2006/relationships/slide" Target="slides/slide9.xml"/><Relationship Id="rId11" Type="http://schemas.openxmlformats.org/officeDocument/2006/relationships/slide" Target="slides/slide4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53" Type="http://schemas.openxmlformats.org/officeDocument/2006/relationships/font" Target="fonts/font4.fntdata"/><Relationship Id="rId58" Type="http://schemas.openxmlformats.org/officeDocument/2006/relationships/font" Target="fonts/font9.fntdata"/><Relationship Id="rId74" Type="http://schemas.openxmlformats.org/officeDocument/2006/relationships/font" Target="fonts/font25.fntdata"/><Relationship Id="rId79" Type="http://schemas.openxmlformats.org/officeDocument/2006/relationships/font" Target="fonts/font30.fntdata"/><Relationship Id="rId5" Type="http://schemas.openxmlformats.org/officeDocument/2006/relationships/slideMaster" Target="slideMasters/slideMaster5.xml"/><Relationship Id="rId90" Type="http://schemas.openxmlformats.org/officeDocument/2006/relationships/tableStyles" Target="tableStyles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notesMaster" Target="notesMasters/notesMaster1.xml"/><Relationship Id="rId56" Type="http://schemas.openxmlformats.org/officeDocument/2006/relationships/font" Target="fonts/font7.fntdata"/><Relationship Id="rId64" Type="http://schemas.openxmlformats.org/officeDocument/2006/relationships/font" Target="fonts/font15.fntdata"/><Relationship Id="rId69" Type="http://schemas.openxmlformats.org/officeDocument/2006/relationships/font" Target="fonts/font20.fntdata"/><Relationship Id="rId77" Type="http://schemas.openxmlformats.org/officeDocument/2006/relationships/font" Target="fonts/font28.fntdata"/><Relationship Id="rId8" Type="http://schemas.openxmlformats.org/officeDocument/2006/relationships/slide" Target="slides/slide1.xml"/><Relationship Id="rId51" Type="http://schemas.openxmlformats.org/officeDocument/2006/relationships/font" Target="fonts/font2.fntdata"/><Relationship Id="rId72" Type="http://schemas.openxmlformats.org/officeDocument/2006/relationships/font" Target="fonts/font23.fntdata"/><Relationship Id="rId80" Type="http://schemas.openxmlformats.org/officeDocument/2006/relationships/font" Target="fonts/font31.fntdata"/><Relationship Id="rId85" Type="http://schemas.openxmlformats.org/officeDocument/2006/relationships/tags" Target="tags/tag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font" Target="fonts/font10.fntdata"/><Relationship Id="rId67" Type="http://schemas.openxmlformats.org/officeDocument/2006/relationships/font" Target="fonts/font18.fntdata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font" Target="fonts/font5.fntdata"/><Relationship Id="rId62" Type="http://schemas.openxmlformats.org/officeDocument/2006/relationships/font" Target="fonts/font13.fntdata"/><Relationship Id="rId70" Type="http://schemas.openxmlformats.org/officeDocument/2006/relationships/font" Target="fonts/font21.fntdata"/><Relationship Id="rId75" Type="http://schemas.openxmlformats.org/officeDocument/2006/relationships/font" Target="fonts/font26.fntdata"/><Relationship Id="rId83" Type="http://schemas.openxmlformats.org/officeDocument/2006/relationships/font" Target="fonts/font34.fntdata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handoutMaster" Target="handoutMasters/handoutMaster1.xml"/><Relationship Id="rId57" Type="http://schemas.openxmlformats.org/officeDocument/2006/relationships/font" Target="fonts/font8.fntdata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font" Target="fonts/font3.fntdata"/><Relationship Id="rId60" Type="http://schemas.openxmlformats.org/officeDocument/2006/relationships/font" Target="fonts/font11.fntdata"/><Relationship Id="rId65" Type="http://schemas.openxmlformats.org/officeDocument/2006/relationships/font" Target="fonts/font16.fntdata"/><Relationship Id="rId73" Type="http://schemas.openxmlformats.org/officeDocument/2006/relationships/font" Target="fonts/font24.fntdata"/><Relationship Id="rId78" Type="http://schemas.openxmlformats.org/officeDocument/2006/relationships/font" Target="fonts/font29.fntdata"/><Relationship Id="rId81" Type="http://schemas.openxmlformats.org/officeDocument/2006/relationships/font" Target="fonts/font32.fntdata"/><Relationship Id="rId86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34" Type="http://schemas.openxmlformats.org/officeDocument/2006/relationships/slide" Target="slides/slide27.xml"/><Relationship Id="rId50" Type="http://schemas.openxmlformats.org/officeDocument/2006/relationships/font" Target="fonts/font1.fntdata"/><Relationship Id="rId55" Type="http://schemas.openxmlformats.org/officeDocument/2006/relationships/font" Target="fonts/font6.fntdata"/><Relationship Id="rId76" Type="http://schemas.openxmlformats.org/officeDocument/2006/relationships/font" Target="fonts/font27.fntdata"/><Relationship Id="rId7" Type="http://schemas.openxmlformats.org/officeDocument/2006/relationships/slideMaster" Target="slideMasters/slideMaster7.xml"/><Relationship Id="rId71" Type="http://schemas.openxmlformats.org/officeDocument/2006/relationships/font" Target="fonts/font22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2.xml"/><Relationship Id="rId24" Type="http://schemas.openxmlformats.org/officeDocument/2006/relationships/slide" Target="slides/slide17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66" Type="http://schemas.openxmlformats.org/officeDocument/2006/relationships/font" Target="fonts/font17.fntdata"/><Relationship Id="rId87" Type="http://schemas.openxmlformats.org/officeDocument/2006/relationships/presProps" Target="presProps.xml"/><Relationship Id="rId61" Type="http://schemas.openxmlformats.org/officeDocument/2006/relationships/font" Target="fonts/font12.fntdata"/><Relationship Id="rId82" Type="http://schemas.openxmlformats.org/officeDocument/2006/relationships/font" Target="fonts/font33.fntdata"/><Relationship Id="rId19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248107289638763E-2"/>
          <c:y val="2.4287716020551145E-2"/>
          <c:w val="0.97750378542072247"/>
          <c:h val="0.9514245679588977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C51-9C43-B5E3-16BB498594B6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11</c:v>
                </c:pt>
                <c:pt idx="1">
                  <c:v>11</c:v>
                </c:pt>
                <c:pt idx="2">
                  <c:v>17.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51-9C43-B5E3-16BB498594B6}"/>
            </c:ext>
          </c:extLst>
        </c:ser>
        <c:ser>
          <c:idx val="1"/>
          <c:order val="1"/>
          <c:spPr>
            <a:solidFill>
              <a:schemeClr val="accent2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1">
                  <c:v>6.100000000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51-9C43-B5E3-16BB498594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945140032"/>
        <c:axId val="1"/>
      </c:barChart>
      <c:catAx>
        <c:axId val="945140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.10000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51400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816232771822356E-2"/>
          <c:y val="1.9237883832778396E-2"/>
          <c:w val="0.92036753445635533"/>
          <c:h val="0.96152423233444317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0AF-DE40-8EFB-8FA57C613315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0AF-DE40-8EFB-8FA57C613315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76.470248767477457</c:v>
                </c:pt>
                <c:pt idx="1">
                  <c:v>76.470248767477457</c:v>
                </c:pt>
                <c:pt idx="2">
                  <c:v>123.1686181521533</c:v>
                </c:pt>
                <c:pt idx="3">
                  <c:v>161.79656142063024</c:v>
                </c:pt>
                <c:pt idx="4">
                  <c:v>178.52183917457373</c:v>
                </c:pt>
                <c:pt idx="5">
                  <c:v>191.55113089074712</c:v>
                </c:pt>
                <c:pt idx="6">
                  <c:v>201.65745820195806</c:v>
                </c:pt>
                <c:pt idx="7">
                  <c:v>205.92846299272452</c:v>
                </c:pt>
                <c:pt idx="8">
                  <c:v>208.442849249386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AF-DE40-8EFB-8FA57C61331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1">
                  <c:v>46.698369384675829</c:v>
                </c:pt>
                <c:pt idx="2">
                  <c:v>38.627943268476969</c:v>
                </c:pt>
                <c:pt idx="3">
                  <c:v>16.725277753943516</c:v>
                </c:pt>
                <c:pt idx="4">
                  <c:v>13.02929171617339</c:v>
                </c:pt>
                <c:pt idx="5">
                  <c:v>10.106327311210947</c:v>
                </c:pt>
                <c:pt idx="6">
                  <c:v>4.2710047907664546</c:v>
                </c:pt>
                <c:pt idx="7">
                  <c:v>2.5143862566619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AF-DE40-8EFB-8FA57C6133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94416592"/>
        <c:axId val="1"/>
      </c:barChart>
      <c:catAx>
        <c:axId val="49441659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8.4428492493864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944165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3 November 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3 November 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November 20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1B638DDA-9BED-3183-AAC1-BEFE6CF2C3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7832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eux raison:</a:t>
            </a:r>
          </a:p>
          <a:p>
            <a:r>
              <a:rPr lang="en-GB" dirty="0"/>
              <a:t>Social</a:t>
            </a:r>
          </a:p>
          <a:p>
            <a:r>
              <a:rPr lang="en-GB" dirty="0" err="1"/>
              <a:t>Economiqu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3 November 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267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November 20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1010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dirty="0">
                <a:solidFill>
                  <a:srgbClr val="000000"/>
                </a:solidFill>
              </a:rPr>
              <a:t>Discover and launch drugs in weeks 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November 20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4805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dirty="0"/>
              <a:t>AI leaders also invest significantly more resources in AI, widening the gap with the rest of organizations</a:t>
            </a:r>
          </a:p>
          <a:p>
            <a:r>
              <a:rPr lang="en-US" sz="1100" dirty="0">
                <a:cs typeface="+mn-cs"/>
              </a:rPr>
              <a:t>Respondents at </a:t>
            </a:r>
            <a:r>
              <a:rPr lang="en-US" sz="1100" b="1" dirty="0">
                <a:cs typeface="+mn-cs"/>
              </a:rPr>
              <a:t>AI high performers are nearly 8x more likely than their peers to say their organizations spend &gt;</a:t>
            </a:r>
            <a:r>
              <a:rPr lang="en-US" sz="1100" b="1" dirty="0"/>
              <a:t>20% </a:t>
            </a:r>
            <a:r>
              <a:rPr lang="en-US" sz="1100" dirty="0">
                <a:cs typeface="+mn-cs"/>
              </a:rPr>
              <a:t>of their digital-technology budgets on AI-related technologies. </a:t>
            </a:r>
          </a:p>
          <a:p>
            <a:r>
              <a:rPr lang="en-US" sz="1100" dirty="0">
                <a:cs typeface="+mn-cs"/>
              </a:rPr>
              <a:t>These digital budgets make up a much larger proportion of their enterprise spend: respondents at AI high performers are over 5x more likely than other respondents to report that their organizations spend more than 20 percent of their enterprise-wide revenue on digital technologies.</a:t>
            </a:r>
          </a:p>
          <a:p>
            <a:endParaRPr lang="en-NZ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November 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22824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November 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05409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8863D9-1703-9D9C-018B-FBA2D0A8E2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8839AE7-6570-FF99-CBD9-5DB4DEB6F7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290D79-F166-0EB9-8156-E1DF6D252D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93965B-FBCA-0A2A-037A-96343675EA6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November 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3C542E-783D-5E57-FFFC-293E646F00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16638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November 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62974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1872e146d2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6" name="Google Shape;216;g31872e146d2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g31872e146d2_1_2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" name="Google Shape;221;g31872e146d2_1_2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g31872e146d2_1_3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9" name="Google Shape;279;g31872e146d2_1_3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November 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83471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g31872e146d2_1_3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6" name="Google Shape;286;g31872e146d2_1_3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g31872e146d2_1_3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3" name="Google Shape;293;g31872e146d2_1_3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31872e146d2_1_34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31872e146d2_1_34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31872e146d2_1_8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31872e146d2_1_8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Google Shape;314;g31872e146d2_1_8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5" name="Google Shape;315;g31872e146d2_1_8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31872e146d2_1_6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31872e146d2_1_6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g31872e146d2_1_40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9" name="Google Shape;329;g31872e146d2_1_40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FT small better than large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ifficult tasks : system prompt or few shot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Few shot = light fine tuning</a:t>
            </a: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Google Shape;439;g31872e146d2_1_5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40" name="Google Shape;440;g31872e146d2_1_5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" name="Google Shape;464;g31872e146d2_1_5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5" name="Google Shape;465;g31872e146d2_1_5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" name="Google Shape;470;g31872e146d2_1_5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1" name="Google Shape;471;g31872e146d2_1_5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magine large with finetuning</a:t>
            </a: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66675" y="976313"/>
            <a:ext cx="10126663" cy="56975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46050" y="6007829"/>
            <a:ext cx="9034540" cy="215444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2009 -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orn in Formula 1 :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e were born and proven in Formula One, data has emerged as the fundamental element of competitive advanta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10-2014 -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tart-up mode 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e grow by helping clients embracing AI/ML to solve business problems. We move from single use cases to end-to-end transformational think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15 -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cKinsey acquires </a:t>
            </a:r>
            <a:r>
              <a:rPr kumimoji="0" lang="en-US" sz="11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QuantumBlack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: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e mix data science, design and engineering expertise with McKinsey’s industry knowledge and organisational change management experi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2016-2020 -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ccelerated growth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e scale though investing in people, processes, and technology to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eploy AI at scale quickly – serving 100s of clients across all industrie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2021 -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QB/Labs: the AI center of learning &amp; innovation :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e launch QB/Labs to reinvent client service with new tools and assets. We are focused on R&amp;D, partnerships and innovation to optimize delive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2022 &amp; beyond :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cKinsey’s unified AI arm : 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QuantumBlack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s relaunched as the unified AI arm of McKinsey, bringing together 1,000+ technologists under a single community to drive sustainable and holistic impact for client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9302656" y="13528342"/>
            <a:ext cx="177934" cy="384721"/>
          </a:xfrm>
        </p:spPr>
        <p:txBody>
          <a:bodyPr/>
          <a:lstStyle/>
          <a:p>
            <a:pPr marL="0" marR="0" lvl="0" indent="0" algn="r" defTabSz="13433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2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pPr marL="0" marR="0" lvl="0" indent="0" algn="r" defTabSz="134334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833900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" name="Google Shape;483;g31872e146d2_0_912:notes"/>
          <p:cNvSpPr txBox="1">
            <a:spLocks noGrp="1"/>
          </p:cNvSpPr>
          <p:nvPr>
            <p:ph type="body" idx="1"/>
          </p:nvPr>
        </p:nvSpPr>
        <p:spPr>
          <a:xfrm>
            <a:off x="709712" y="4400376"/>
            <a:ext cx="5438700" cy="97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400"/>
              <a:buNone/>
            </a:pPr>
            <a:endParaRPr/>
          </a:p>
        </p:txBody>
      </p:sp>
      <p:sp>
        <p:nvSpPr>
          <p:cNvPr id="484" name="Google Shape;484;g31872e146d2_0_9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549275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8F61D1-60F2-46B8-9B0D-9252BCC28D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1043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27723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November 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70539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31872e146d2_1_6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549275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7" name="Google Shape;87;g31872e146d2_1_667:notes"/>
          <p:cNvSpPr txBox="1">
            <a:spLocks noGrp="1"/>
          </p:cNvSpPr>
          <p:nvPr>
            <p:ph type="body" idx="1"/>
          </p:nvPr>
        </p:nvSpPr>
        <p:spPr>
          <a:xfrm>
            <a:off x="709712" y="4400376"/>
            <a:ext cx="5438700" cy="16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88" name="Google Shape;88;g31872e146d2_1_667:notes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50" tIns="45600" rIns="885475" bIns="456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2 July 2024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9" name="Google Shape;89;g31872e146d2_1_66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50" tIns="45600" rIns="885475" bIns="456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n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1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g31872e146d2_1_816:notes"/>
          <p:cNvSpPr txBox="1">
            <a:spLocks noGrp="1"/>
          </p:cNvSpPr>
          <p:nvPr>
            <p:ph type="body" idx="1"/>
          </p:nvPr>
        </p:nvSpPr>
        <p:spPr>
          <a:xfrm>
            <a:off x="709712" y="4400376"/>
            <a:ext cx="5438700" cy="97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400"/>
              <a:buNone/>
            </a:pPr>
            <a:endParaRPr/>
          </a:p>
        </p:txBody>
      </p:sp>
      <p:sp>
        <p:nvSpPr>
          <p:cNvPr id="170" name="Google Shape;170;g31872e146d2_1_8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549275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g31872e146d2_1_6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8" name="Google Shape;208;g31872e146d2_1_6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g31872e146d2_1_2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" name="Google Shape;221;g31872e146d2_1_2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3.png"/><Relationship Id="rId4" Type="http://schemas.openxmlformats.org/officeDocument/2006/relationships/tags" Target="../tags/tag26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image" Target="../media/image4.emf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9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1.xml"/><Relationship Id="rId9" Type="http://schemas.openxmlformats.org/officeDocument/2006/relationships/tags" Target="../tags/tag96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8.png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1.emf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0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0.xml"/><Relationship Id="rId9" Type="http://schemas.openxmlformats.org/officeDocument/2006/relationships/tags" Target="../tags/tag105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10" Type="http://schemas.openxmlformats.org/officeDocument/2006/relationships/image" Target="../media/image2.emf"/><Relationship Id="rId4" Type="http://schemas.openxmlformats.org/officeDocument/2006/relationships/tags" Target="../tags/tag109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47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9.xml"/><Relationship Id="rId4" Type="http://schemas.openxmlformats.org/officeDocument/2006/relationships/tags" Target="../tags/tag148.xml"/><Relationship Id="rId9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10" Type="http://schemas.openxmlformats.org/officeDocument/2006/relationships/image" Target="../media/image1.emf"/><Relationship Id="rId4" Type="http://schemas.openxmlformats.org/officeDocument/2006/relationships/tags" Target="../tags/tag153.xml"/><Relationship Id="rId9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Relationship Id="rId9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6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image" Target="../media/image1.emf"/><Relationship Id="rId4" Type="http://schemas.openxmlformats.org/officeDocument/2006/relationships/tags" Target="../tags/tag32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7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5" Type="http://schemas.openxmlformats.org/officeDocument/2006/relationships/tags" Target="../tags/tag173.xml"/><Relationship Id="rId4" Type="http://schemas.openxmlformats.org/officeDocument/2006/relationships/tags" Target="../tags/tag172.xml"/><Relationship Id="rId9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5" Type="http://schemas.openxmlformats.org/officeDocument/2006/relationships/tags" Target="../tags/tag179.xml"/><Relationship Id="rId10" Type="http://schemas.openxmlformats.org/officeDocument/2006/relationships/image" Target="../media/image2.emf"/><Relationship Id="rId4" Type="http://schemas.openxmlformats.org/officeDocument/2006/relationships/tags" Target="../tags/tag178.xml"/><Relationship Id="rId9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image" Target="../media/image1.emf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1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2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1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21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2.emf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2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2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23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image" Target="../media/image1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9.xml"/><Relationship Id="rId9" Type="http://schemas.openxmlformats.org/officeDocument/2006/relationships/tags" Target="../tags/tag24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52.xml"/><Relationship Id="rId3" Type="http://schemas.openxmlformats.org/officeDocument/2006/relationships/tags" Target="../tags/tag247.xml"/><Relationship Id="rId7" Type="http://schemas.openxmlformats.org/officeDocument/2006/relationships/tags" Target="../tags/tag251.xml"/><Relationship Id="rId12" Type="http://schemas.openxmlformats.org/officeDocument/2006/relationships/image" Target="../media/image2.emf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24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48.xml"/><Relationship Id="rId9" Type="http://schemas.openxmlformats.org/officeDocument/2006/relationships/tags" Target="../tags/tag25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5" Type="http://schemas.openxmlformats.org/officeDocument/2006/relationships/tags" Target="../tags/tag258.xml"/><Relationship Id="rId10" Type="http://schemas.openxmlformats.org/officeDocument/2006/relationships/image" Target="../media/image2.emf"/><Relationship Id="rId4" Type="http://schemas.openxmlformats.org/officeDocument/2006/relationships/tags" Target="../tags/tag257.xml"/><Relationship Id="rId9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3.xml"/><Relationship Id="rId7" Type="http://schemas.openxmlformats.org/officeDocument/2006/relationships/oleObject" Target="../embeddings/oleObject33.bin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5.xml"/><Relationship Id="rId4" Type="http://schemas.openxmlformats.org/officeDocument/2006/relationships/tags" Target="../tags/tag26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7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tags" Target="../tags/tag273.xml"/><Relationship Id="rId5" Type="http://schemas.openxmlformats.org/officeDocument/2006/relationships/tags" Target="../tags/tag272.xml"/><Relationship Id="rId4" Type="http://schemas.openxmlformats.org/officeDocument/2006/relationships/tags" Target="../tags/tag271.xml"/><Relationship Id="rId9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13" Type="http://schemas.openxmlformats.org/officeDocument/2006/relationships/tags" Target="../tags/tag286.xml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12" Type="http://schemas.openxmlformats.org/officeDocument/2006/relationships/tags" Target="../tags/tag285.xml"/><Relationship Id="rId17" Type="http://schemas.openxmlformats.org/officeDocument/2006/relationships/image" Target="../media/image4.emf"/><Relationship Id="rId2" Type="http://schemas.openxmlformats.org/officeDocument/2006/relationships/tags" Target="../tags/tag275.xml"/><Relationship Id="rId16" Type="http://schemas.openxmlformats.org/officeDocument/2006/relationships/oleObject" Target="../embeddings/oleObject35.bin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11" Type="http://schemas.openxmlformats.org/officeDocument/2006/relationships/tags" Target="../tags/tag284.xml"/><Relationship Id="rId5" Type="http://schemas.openxmlformats.org/officeDocument/2006/relationships/tags" Target="../tags/tag278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3.xml"/><Relationship Id="rId4" Type="http://schemas.openxmlformats.org/officeDocument/2006/relationships/tags" Target="../tags/tag277.xml"/><Relationship Id="rId9" Type="http://schemas.openxmlformats.org/officeDocument/2006/relationships/tags" Target="../tags/tag282.xml"/><Relationship Id="rId14" Type="http://schemas.openxmlformats.org/officeDocument/2006/relationships/tags" Target="../tags/tag287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0.xml"/><Relationship Id="rId7" Type="http://schemas.openxmlformats.org/officeDocument/2006/relationships/tags" Target="../tags/tag294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6" Type="http://schemas.openxmlformats.org/officeDocument/2006/relationships/tags" Target="../tags/tag293.xml"/><Relationship Id="rId5" Type="http://schemas.openxmlformats.org/officeDocument/2006/relationships/tags" Target="../tags/tag292.xml"/><Relationship Id="rId10" Type="http://schemas.openxmlformats.org/officeDocument/2006/relationships/image" Target="../media/image1.emf"/><Relationship Id="rId4" Type="http://schemas.openxmlformats.org/officeDocument/2006/relationships/tags" Target="../tags/tag291.xml"/><Relationship Id="rId9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99.xml"/><Relationship Id="rId4" Type="http://schemas.openxmlformats.org/officeDocument/2006/relationships/tags" Target="../tags/tag29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30.xml"/><Relationship Id="rId3" Type="http://schemas.openxmlformats.org/officeDocument/2006/relationships/tags" Target="../tags/tag325.xml"/><Relationship Id="rId7" Type="http://schemas.openxmlformats.org/officeDocument/2006/relationships/tags" Target="../tags/tag329.xml"/><Relationship Id="rId12" Type="http://schemas.openxmlformats.org/officeDocument/2006/relationships/image" Target="../media/image8.png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tags" Target="../tags/tag328.xml"/><Relationship Id="rId11" Type="http://schemas.openxmlformats.org/officeDocument/2006/relationships/image" Target="../media/image7.emf"/><Relationship Id="rId5" Type="http://schemas.openxmlformats.org/officeDocument/2006/relationships/tags" Target="../tags/tag327.xml"/><Relationship Id="rId10" Type="http://schemas.openxmlformats.org/officeDocument/2006/relationships/oleObject" Target="../embeddings/oleObject38.bin"/><Relationship Id="rId4" Type="http://schemas.openxmlformats.org/officeDocument/2006/relationships/tags" Target="../tags/tag326.xml"/><Relationship Id="rId9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3.xml"/><Relationship Id="rId7" Type="http://schemas.openxmlformats.org/officeDocument/2006/relationships/tags" Target="../tags/tag337.xml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6" Type="http://schemas.openxmlformats.org/officeDocument/2006/relationships/tags" Target="../tags/tag336.xml"/><Relationship Id="rId5" Type="http://schemas.openxmlformats.org/officeDocument/2006/relationships/tags" Target="../tags/tag335.xml"/><Relationship Id="rId10" Type="http://schemas.openxmlformats.org/officeDocument/2006/relationships/image" Target="../media/image1.emf"/><Relationship Id="rId4" Type="http://schemas.openxmlformats.org/officeDocument/2006/relationships/tags" Target="../tags/tag334.xml"/><Relationship Id="rId9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340.xml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4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9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344.xml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45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34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6" Type="http://schemas.openxmlformats.org/officeDocument/2006/relationships/tags" Target="../tags/tag351.xml"/><Relationship Id="rId5" Type="http://schemas.openxmlformats.org/officeDocument/2006/relationships/tags" Target="../tags/tag350.xml"/><Relationship Id="rId4" Type="http://schemas.openxmlformats.org/officeDocument/2006/relationships/tags" Target="../tags/tag349.xml"/><Relationship Id="rId9" Type="http://schemas.openxmlformats.org/officeDocument/2006/relationships/image" Target="../media/image9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54.xml"/><Relationship Id="rId7" Type="http://schemas.openxmlformats.org/officeDocument/2006/relationships/tags" Target="../tags/tag358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tags" Target="../tags/tag357.xml"/><Relationship Id="rId5" Type="http://schemas.openxmlformats.org/officeDocument/2006/relationships/tags" Target="../tags/tag356.xml"/><Relationship Id="rId10" Type="http://schemas.openxmlformats.org/officeDocument/2006/relationships/image" Target="../media/image9.emf"/><Relationship Id="rId4" Type="http://schemas.openxmlformats.org/officeDocument/2006/relationships/tags" Target="../tags/tag355.xml"/><Relationship Id="rId9" Type="http://schemas.openxmlformats.org/officeDocument/2006/relationships/oleObject" Target="../embeddings/oleObject41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66.xml"/><Relationship Id="rId13" Type="http://schemas.openxmlformats.org/officeDocument/2006/relationships/tags" Target="../tags/tag371.xml"/><Relationship Id="rId3" Type="http://schemas.openxmlformats.org/officeDocument/2006/relationships/tags" Target="../tags/tag361.xml"/><Relationship Id="rId7" Type="http://schemas.openxmlformats.org/officeDocument/2006/relationships/tags" Target="../tags/tag365.xml"/><Relationship Id="rId12" Type="http://schemas.openxmlformats.org/officeDocument/2006/relationships/tags" Target="../tags/tag370.xml"/><Relationship Id="rId2" Type="http://schemas.openxmlformats.org/officeDocument/2006/relationships/tags" Target="../tags/tag360.xml"/><Relationship Id="rId16" Type="http://schemas.openxmlformats.org/officeDocument/2006/relationships/image" Target="../media/image1.emf"/><Relationship Id="rId1" Type="http://schemas.openxmlformats.org/officeDocument/2006/relationships/tags" Target="../tags/tag359.xml"/><Relationship Id="rId6" Type="http://schemas.openxmlformats.org/officeDocument/2006/relationships/tags" Target="../tags/tag364.xml"/><Relationship Id="rId11" Type="http://schemas.openxmlformats.org/officeDocument/2006/relationships/tags" Target="../tags/tag369.xml"/><Relationship Id="rId5" Type="http://schemas.openxmlformats.org/officeDocument/2006/relationships/tags" Target="../tags/tag363.xml"/><Relationship Id="rId15" Type="http://schemas.openxmlformats.org/officeDocument/2006/relationships/oleObject" Target="../embeddings/oleObject42.bin"/><Relationship Id="rId10" Type="http://schemas.openxmlformats.org/officeDocument/2006/relationships/tags" Target="../tags/tag368.xml"/><Relationship Id="rId4" Type="http://schemas.openxmlformats.org/officeDocument/2006/relationships/tags" Target="../tags/tag362.xml"/><Relationship Id="rId9" Type="http://schemas.openxmlformats.org/officeDocument/2006/relationships/tags" Target="../tags/tag367.xml"/><Relationship Id="rId14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13" Type="http://schemas.openxmlformats.org/officeDocument/2006/relationships/tags" Target="../tags/tag384.xml"/><Relationship Id="rId3" Type="http://schemas.openxmlformats.org/officeDocument/2006/relationships/tags" Target="../tags/tag374.xml"/><Relationship Id="rId7" Type="http://schemas.openxmlformats.org/officeDocument/2006/relationships/tags" Target="../tags/tag378.xml"/><Relationship Id="rId12" Type="http://schemas.openxmlformats.org/officeDocument/2006/relationships/tags" Target="../tags/tag383.xml"/><Relationship Id="rId2" Type="http://schemas.openxmlformats.org/officeDocument/2006/relationships/tags" Target="../tags/tag373.xml"/><Relationship Id="rId16" Type="http://schemas.openxmlformats.org/officeDocument/2006/relationships/image" Target="../media/image1.emf"/><Relationship Id="rId1" Type="http://schemas.openxmlformats.org/officeDocument/2006/relationships/tags" Target="../tags/tag372.xml"/><Relationship Id="rId6" Type="http://schemas.openxmlformats.org/officeDocument/2006/relationships/tags" Target="../tags/tag377.xml"/><Relationship Id="rId11" Type="http://schemas.openxmlformats.org/officeDocument/2006/relationships/tags" Target="../tags/tag382.xml"/><Relationship Id="rId5" Type="http://schemas.openxmlformats.org/officeDocument/2006/relationships/tags" Target="../tags/tag376.xml"/><Relationship Id="rId15" Type="http://schemas.openxmlformats.org/officeDocument/2006/relationships/oleObject" Target="../embeddings/oleObject43.bin"/><Relationship Id="rId10" Type="http://schemas.openxmlformats.org/officeDocument/2006/relationships/tags" Target="../tags/tag381.xml"/><Relationship Id="rId4" Type="http://schemas.openxmlformats.org/officeDocument/2006/relationships/tags" Target="../tags/tag375.xml"/><Relationship Id="rId9" Type="http://schemas.openxmlformats.org/officeDocument/2006/relationships/tags" Target="../tags/tag380.xml"/><Relationship Id="rId1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13" Type="http://schemas.openxmlformats.org/officeDocument/2006/relationships/tags" Target="../tags/tag397.xml"/><Relationship Id="rId3" Type="http://schemas.openxmlformats.org/officeDocument/2006/relationships/tags" Target="../tags/tag387.xml"/><Relationship Id="rId7" Type="http://schemas.openxmlformats.org/officeDocument/2006/relationships/tags" Target="../tags/tag391.xml"/><Relationship Id="rId12" Type="http://schemas.openxmlformats.org/officeDocument/2006/relationships/tags" Target="../tags/tag396.xml"/><Relationship Id="rId17" Type="http://schemas.openxmlformats.org/officeDocument/2006/relationships/image" Target="../media/image1.emf"/><Relationship Id="rId2" Type="http://schemas.openxmlformats.org/officeDocument/2006/relationships/tags" Target="../tags/tag386.xml"/><Relationship Id="rId16" Type="http://schemas.openxmlformats.org/officeDocument/2006/relationships/oleObject" Target="../embeddings/oleObject44.bin"/><Relationship Id="rId1" Type="http://schemas.openxmlformats.org/officeDocument/2006/relationships/tags" Target="../tags/tag385.xml"/><Relationship Id="rId6" Type="http://schemas.openxmlformats.org/officeDocument/2006/relationships/tags" Target="../tags/tag390.xml"/><Relationship Id="rId11" Type="http://schemas.openxmlformats.org/officeDocument/2006/relationships/tags" Target="../tags/tag395.xml"/><Relationship Id="rId5" Type="http://schemas.openxmlformats.org/officeDocument/2006/relationships/tags" Target="../tags/tag389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94.xml"/><Relationship Id="rId4" Type="http://schemas.openxmlformats.org/officeDocument/2006/relationships/tags" Target="../tags/tag388.xml"/><Relationship Id="rId9" Type="http://schemas.openxmlformats.org/officeDocument/2006/relationships/tags" Target="../tags/tag393.xml"/><Relationship Id="rId14" Type="http://schemas.openxmlformats.org/officeDocument/2006/relationships/tags" Target="../tags/tag398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406.xml"/><Relationship Id="rId13" Type="http://schemas.openxmlformats.org/officeDocument/2006/relationships/tags" Target="../tags/tag411.xml"/><Relationship Id="rId3" Type="http://schemas.openxmlformats.org/officeDocument/2006/relationships/tags" Target="../tags/tag401.xml"/><Relationship Id="rId7" Type="http://schemas.openxmlformats.org/officeDocument/2006/relationships/tags" Target="../tags/tag405.xml"/><Relationship Id="rId12" Type="http://schemas.openxmlformats.org/officeDocument/2006/relationships/tags" Target="../tags/tag410.xml"/><Relationship Id="rId17" Type="http://schemas.openxmlformats.org/officeDocument/2006/relationships/image" Target="../media/image4.emf"/><Relationship Id="rId2" Type="http://schemas.openxmlformats.org/officeDocument/2006/relationships/tags" Target="../tags/tag400.xml"/><Relationship Id="rId16" Type="http://schemas.openxmlformats.org/officeDocument/2006/relationships/oleObject" Target="../embeddings/oleObject45.bin"/><Relationship Id="rId1" Type="http://schemas.openxmlformats.org/officeDocument/2006/relationships/tags" Target="../tags/tag399.xml"/><Relationship Id="rId6" Type="http://schemas.openxmlformats.org/officeDocument/2006/relationships/tags" Target="../tags/tag404.xml"/><Relationship Id="rId11" Type="http://schemas.openxmlformats.org/officeDocument/2006/relationships/tags" Target="../tags/tag409.xml"/><Relationship Id="rId5" Type="http://schemas.openxmlformats.org/officeDocument/2006/relationships/tags" Target="../tags/tag403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08.xml"/><Relationship Id="rId4" Type="http://schemas.openxmlformats.org/officeDocument/2006/relationships/tags" Target="../tags/tag402.xml"/><Relationship Id="rId9" Type="http://schemas.openxmlformats.org/officeDocument/2006/relationships/tags" Target="../tags/tag407.xml"/><Relationship Id="rId14" Type="http://schemas.openxmlformats.org/officeDocument/2006/relationships/tags" Target="../tags/tag412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420.xml"/><Relationship Id="rId13" Type="http://schemas.openxmlformats.org/officeDocument/2006/relationships/tags" Target="../tags/tag425.xml"/><Relationship Id="rId3" Type="http://schemas.openxmlformats.org/officeDocument/2006/relationships/tags" Target="../tags/tag415.xml"/><Relationship Id="rId7" Type="http://schemas.openxmlformats.org/officeDocument/2006/relationships/tags" Target="../tags/tag419.xml"/><Relationship Id="rId12" Type="http://schemas.openxmlformats.org/officeDocument/2006/relationships/tags" Target="../tags/tag424.xml"/><Relationship Id="rId2" Type="http://schemas.openxmlformats.org/officeDocument/2006/relationships/tags" Target="../tags/tag414.xml"/><Relationship Id="rId16" Type="http://schemas.openxmlformats.org/officeDocument/2006/relationships/image" Target="../media/image1.emf"/><Relationship Id="rId1" Type="http://schemas.openxmlformats.org/officeDocument/2006/relationships/tags" Target="../tags/tag413.xml"/><Relationship Id="rId6" Type="http://schemas.openxmlformats.org/officeDocument/2006/relationships/tags" Target="../tags/tag418.xml"/><Relationship Id="rId11" Type="http://schemas.openxmlformats.org/officeDocument/2006/relationships/tags" Target="../tags/tag423.xml"/><Relationship Id="rId5" Type="http://schemas.openxmlformats.org/officeDocument/2006/relationships/tags" Target="../tags/tag417.xml"/><Relationship Id="rId15" Type="http://schemas.openxmlformats.org/officeDocument/2006/relationships/oleObject" Target="../embeddings/oleObject44.bin"/><Relationship Id="rId10" Type="http://schemas.openxmlformats.org/officeDocument/2006/relationships/tags" Target="../tags/tag422.xml"/><Relationship Id="rId4" Type="http://schemas.openxmlformats.org/officeDocument/2006/relationships/tags" Target="../tags/tag416.xml"/><Relationship Id="rId9" Type="http://schemas.openxmlformats.org/officeDocument/2006/relationships/tags" Target="../tags/tag421.xml"/><Relationship Id="rId1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28.xml"/><Relationship Id="rId7" Type="http://schemas.openxmlformats.org/officeDocument/2006/relationships/tags" Target="../tags/tag432.xml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6" Type="http://schemas.openxmlformats.org/officeDocument/2006/relationships/tags" Target="../tags/tag431.xml"/><Relationship Id="rId5" Type="http://schemas.openxmlformats.org/officeDocument/2006/relationships/tags" Target="../tags/tag430.xml"/><Relationship Id="rId4" Type="http://schemas.openxmlformats.org/officeDocument/2006/relationships/tags" Target="../tags/tag429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435.xml"/><Relationship Id="rId2" Type="http://schemas.openxmlformats.org/officeDocument/2006/relationships/tags" Target="../tags/tag434.xml"/><Relationship Id="rId1" Type="http://schemas.openxmlformats.org/officeDocument/2006/relationships/tags" Target="../tags/tag433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3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5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439.xml"/><Relationship Id="rId7" Type="http://schemas.openxmlformats.org/officeDocument/2006/relationships/image" Target="../media/image10.png"/><Relationship Id="rId2" Type="http://schemas.openxmlformats.org/officeDocument/2006/relationships/tags" Target="../tags/tag438.xml"/><Relationship Id="rId1" Type="http://schemas.openxmlformats.org/officeDocument/2006/relationships/tags" Target="../tags/tag43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42.xml"/><Relationship Id="rId7" Type="http://schemas.openxmlformats.org/officeDocument/2006/relationships/tags" Target="../tags/tag446.xml"/><Relationship Id="rId2" Type="http://schemas.openxmlformats.org/officeDocument/2006/relationships/tags" Target="../tags/tag441.xml"/><Relationship Id="rId1" Type="http://schemas.openxmlformats.org/officeDocument/2006/relationships/tags" Target="../tags/tag440.xml"/><Relationship Id="rId6" Type="http://schemas.openxmlformats.org/officeDocument/2006/relationships/tags" Target="../tags/tag445.xml"/><Relationship Id="rId5" Type="http://schemas.openxmlformats.org/officeDocument/2006/relationships/tags" Target="../tags/tag444.xml"/><Relationship Id="rId4" Type="http://schemas.openxmlformats.org/officeDocument/2006/relationships/tags" Target="../tags/tag443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475.xml"/><Relationship Id="rId13" Type="http://schemas.openxmlformats.org/officeDocument/2006/relationships/image" Target="../media/image8.png"/><Relationship Id="rId3" Type="http://schemas.openxmlformats.org/officeDocument/2006/relationships/tags" Target="../tags/tag470.xml"/><Relationship Id="rId7" Type="http://schemas.openxmlformats.org/officeDocument/2006/relationships/tags" Target="../tags/tag474.xml"/><Relationship Id="rId12" Type="http://schemas.openxmlformats.org/officeDocument/2006/relationships/image" Target="../media/image7.emf"/><Relationship Id="rId2" Type="http://schemas.openxmlformats.org/officeDocument/2006/relationships/tags" Target="../tags/tag469.xml"/><Relationship Id="rId1" Type="http://schemas.openxmlformats.org/officeDocument/2006/relationships/tags" Target="../tags/tag468.xml"/><Relationship Id="rId6" Type="http://schemas.openxmlformats.org/officeDocument/2006/relationships/tags" Target="../tags/tag473.xml"/><Relationship Id="rId11" Type="http://schemas.openxmlformats.org/officeDocument/2006/relationships/oleObject" Target="../embeddings/oleObject48.bin"/><Relationship Id="rId5" Type="http://schemas.openxmlformats.org/officeDocument/2006/relationships/tags" Target="../tags/tag472.xml"/><Relationship Id="rId10" Type="http://schemas.openxmlformats.org/officeDocument/2006/relationships/image" Target="../media/image11.png"/><Relationship Id="rId4" Type="http://schemas.openxmlformats.org/officeDocument/2006/relationships/tags" Target="../tags/tag471.xml"/><Relationship Id="rId9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78.xml"/><Relationship Id="rId7" Type="http://schemas.openxmlformats.org/officeDocument/2006/relationships/tags" Target="../tags/tag482.xml"/><Relationship Id="rId2" Type="http://schemas.openxmlformats.org/officeDocument/2006/relationships/tags" Target="../tags/tag477.xml"/><Relationship Id="rId1" Type="http://schemas.openxmlformats.org/officeDocument/2006/relationships/tags" Target="../tags/tag476.xml"/><Relationship Id="rId6" Type="http://schemas.openxmlformats.org/officeDocument/2006/relationships/tags" Target="../tags/tag481.xml"/><Relationship Id="rId11" Type="http://schemas.openxmlformats.org/officeDocument/2006/relationships/image" Target="../media/image12.png"/><Relationship Id="rId5" Type="http://schemas.openxmlformats.org/officeDocument/2006/relationships/tags" Target="../tags/tag480.xml"/><Relationship Id="rId10" Type="http://schemas.openxmlformats.org/officeDocument/2006/relationships/image" Target="../media/image1.emf"/><Relationship Id="rId4" Type="http://schemas.openxmlformats.org/officeDocument/2006/relationships/tags" Target="../tags/tag479.xml"/><Relationship Id="rId9" Type="http://schemas.openxmlformats.org/officeDocument/2006/relationships/oleObject" Target="../embeddings/oleObject49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3" Type="http://schemas.openxmlformats.org/officeDocument/2006/relationships/tags" Target="../tags/tag485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84.xml"/><Relationship Id="rId1" Type="http://schemas.openxmlformats.org/officeDocument/2006/relationships/tags" Target="../tags/tag483.xml"/><Relationship Id="rId6" Type="http://schemas.openxmlformats.org/officeDocument/2006/relationships/tags" Target="../tags/tag488.xml"/><Relationship Id="rId5" Type="http://schemas.openxmlformats.org/officeDocument/2006/relationships/tags" Target="../tags/tag487.xml"/><Relationship Id="rId10" Type="http://schemas.openxmlformats.org/officeDocument/2006/relationships/image" Target="../media/image12.png"/><Relationship Id="rId4" Type="http://schemas.openxmlformats.org/officeDocument/2006/relationships/tags" Target="../tags/tag486.xml"/><Relationship Id="rId9" Type="http://schemas.openxmlformats.org/officeDocument/2006/relationships/image" Target="../media/image9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3" Type="http://schemas.openxmlformats.org/officeDocument/2006/relationships/tags" Target="../tags/tag49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90.xml"/><Relationship Id="rId1" Type="http://schemas.openxmlformats.org/officeDocument/2006/relationships/tags" Target="../tags/tag489.xml"/><Relationship Id="rId6" Type="http://schemas.openxmlformats.org/officeDocument/2006/relationships/tags" Target="../tags/tag494.xml"/><Relationship Id="rId5" Type="http://schemas.openxmlformats.org/officeDocument/2006/relationships/tags" Target="../tags/tag493.xml"/><Relationship Id="rId10" Type="http://schemas.openxmlformats.org/officeDocument/2006/relationships/image" Target="../media/image12.png"/><Relationship Id="rId4" Type="http://schemas.openxmlformats.org/officeDocument/2006/relationships/tags" Target="../tags/tag492.xml"/><Relationship Id="rId9" Type="http://schemas.openxmlformats.org/officeDocument/2006/relationships/image" Target="../media/image9.em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97.xml"/><Relationship Id="rId7" Type="http://schemas.openxmlformats.org/officeDocument/2006/relationships/tags" Target="../tags/tag501.xml"/><Relationship Id="rId2" Type="http://schemas.openxmlformats.org/officeDocument/2006/relationships/tags" Target="../tags/tag496.xml"/><Relationship Id="rId1" Type="http://schemas.openxmlformats.org/officeDocument/2006/relationships/tags" Target="../tags/tag495.xml"/><Relationship Id="rId6" Type="http://schemas.openxmlformats.org/officeDocument/2006/relationships/tags" Target="../tags/tag500.xml"/><Relationship Id="rId11" Type="http://schemas.openxmlformats.org/officeDocument/2006/relationships/image" Target="../media/image12.png"/><Relationship Id="rId5" Type="http://schemas.openxmlformats.org/officeDocument/2006/relationships/tags" Target="../tags/tag499.xml"/><Relationship Id="rId10" Type="http://schemas.openxmlformats.org/officeDocument/2006/relationships/image" Target="../media/image9.emf"/><Relationship Id="rId4" Type="http://schemas.openxmlformats.org/officeDocument/2006/relationships/tags" Target="../tags/tag498.xml"/><Relationship Id="rId9" Type="http://schemas.openxmlformats.org/officeDocument/2006/relationships/oleObject" Target="../embeddings/oleObject52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509.xml"/><Relationship Id="rId3" Type="http://schemas.openxmlformats.org/officeDocument/2006/relationships/tags" Target="../tags/tag504.xml"/><Relationship Id="rId7" Type="http://schemas.openxmlformats.org/officeDocument/2006/relationships/tags" Target="../tags/tag508.xml"/><Relationship Id="rId12" Type="http://schemas.openxmlformats.org/officeDocument/2006/relationships/image" Target="../media/image12.png"/><Relationship Id="rId2" Type="http://schemas.openxmlformats.org/officeDocument/2006/relationships/tags" Target="../tags/tag503.xml"/><Relationship Id="rId1" Type="http://schemas.openxmlformats.org/officeDocument/2006/relationships/tags" Target="../tags/tag502.xml"/><Relationship Id="rId6" Type="http://schemas.openxmlformats.org/officeDocument/2006/relationships/tags" Target="../tags/tag507.xml"/><Relationship Id="rId11" Type="http://schemas.openxmlformats.org/officeDocument/2006/relationships/image" Target="../media/image9.emf"/><Relationship Id="rId5" Type="http://schemas.openxmlformats.org/officeDocument/2006/relationships/tags" Target="../tags/tag506.xml"/><Relationship Id="rId10" Type="http://schemas.openxmlformats.org/officeDocument/2006/relationships/oleObject" Target="../embeddings/oleObject53.bin"/><Relationship Id="rId4" Type="http://schemas.openxmlformats.org/officeDocument/2006/relationships/tags" Target="../tags/tag505.xml"/><Relationship Id="rId9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517.xml"/><Relationship Id="rId3" Type="http://schemas.openxmlformats.org/officeDocument/2006/relationships/tags" Target="../tags/tag512.xml"/><Relationship Id="rId7" Type="http://schemas.openxmlformats.org/officeDocument/2006/relationships/tags" Target="../tags/tag516.xml"/><Relationship Id="rId12" Type="http://schemas.openxmlformats.org/officeDocument/2006/relationships/image" Target="../media/image12.png"/><Relationship Id="rId2" Type="http://schemas.openxmlformats.org/officeDocument/2006/relationships/tags" Target="../tags/tag511.xml"/><Relationship Id="rId1" Type="http://schemas.openxmlformats.org/officeDocument/2006/relationships/tags" Target="../tags/tag510.xml"/><Relationship Id="rId6" Type="http://schemas.openxmlformats.org/officeDocument/2006/relationships/tags" Target="../tags/tag515.xml"/><Relationship Id="rId11" Type="http://schemas.openxmlformats.org/officeDocument/2006/relationships/image" Target="../media/image1.emf"/><Relationship Id="rId5" Type="http://schemas.openxmlformats.org/officeDocument/2006/relationships/tags" Target="../tags/tag514.xml"/><Relationship Id="rId10" Type="http://schemas.openxmlformats.org/officeDocument/2006/relationships/oleObject" Target="../embeddings/oleObject54.bin"/><Relationship Id="rId4" Type="http://schemas.openxmlformats.org/officeDocument/2006/relationships/tags" Target="../tags/tag513.xml"/><Relationship Id="rId9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525.xml"/><Relationship Id="rId3" Type="http://schemas.openxmlformats.org/officeDocument/2006/relationships/tags" Target="../tags/tag520.xml"/><Relationship Id="rId7" Type="http://schemas.openxmlformats.org/officeDocument/2006/relationships/tags" Target="../tags/tag524.xml"/><Relationship Id="rId12" Type="http://schemas.openxmlformats.org/officeDocument/2006/relationships/image" Target="../media/image12.png"/><Relationship Id="rId2" Type="http://schemas.openxmlformats.org/officeDocument/2006/relationships/tags" Target="../tags/tag519.xml"/><Relationship Id="rId1" Type="http://schemas.openxmlformats.org/officeDocument/2006/relationships/tags" Target="../tags/tag518.xml"/><Relationship Id="rId6" Type="http://schemas.openxmlformats.org/officeDocument/2006/relationships/tags" Target="../tags/tag523.xml"/><Relationship Id="rId11" Type="http://schemas.openxmlformats.org/officeDocument/2006/relationships/image" Target="../media/image1.emf"/><Relationship Id="rId5" Type="http://schemas.openxmlformats.org/officeDocument/2006/relationships/tags" Target="../tags/tag522.xml"/><Relationship Id="rId10" Type="http://schemas.openxmlformats.org/officeDocument/2006/relationships/oleObject" Target="../embeddings/oleObject55.bin"/><Relationship Id="rId4" Type="http://schemas.openxmlformats.org/officeDocument/2006/relationships/tags" Target="../tags/tag521.xml"/><Relationship Id="rId9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10" Type="http://schemas.openxmlformats.org/officeDocument/2006/relationships/image" Target="../media/image2.emf"/><Relationship Id="rId4" Type="http://schemas.openxmlformats.org/officeDocument/2006/relationships/tags" Target="../tags/tag57.xml"/><Relationship Id="rId9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533.xml"/><Relationship Id="rId3" Type="http://schemas.openxmlformats.org/officeDocument/2006/relationships/tags" Target="../tags/tag528.xml"/><Relationship Id="rId7" Type="http://schemas.openxmlformats.org/officeDocument/2006/relationships/tags" Target="../tags/tag532.xml"/><Relationship Id="rId12" Type="http://schemas.openxmlformats.org/officeDocument/2006/relationships/image" Target="../media/image12.png"/><Relationship Id="rId2" Type="http://schemas.openxmlformats.org/officeDocument/2006/relationships/tags" Target="../tags/tag527.xml"/><Relationship Id="rId1" Type="http://schemas.openxmlformats.org/officeDocument/2006/relationships/tags" Target="../tags/tag526.xml"/><Relationship Id="rId6" Type="http://schemas.openxmlformats.org/officeDocument/2006/relationships/tags" Target="../tags/tag531.xml"/><Relationship Id="rId11" Type="http://schemas.openxmlformats.org/officeDocument/2006/relationships/image" Target="../media/image2.emf"/><Relationship Id="rId5" Type="http://schemas.openxmlformats.org/officeDocument/2006/relationships/tags" Target="../tags/tag530.xml"/><Relationship Id="rId10" Type="http://schemas.openxmlformats.org/officeDocument/2006/relationships/oleObject" Target="../embeddings/oleObject56.bin"/><Relationship Id="rId4" Type="http://schemas.openxmlformats.org/officeDocument/2006/relationships/tags" Target="../tags/tag529.xml"/><Relationship Id="rId9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541.xml"/><Relationship Id="rId3" Type="http://schemas.openxmlformats.org/officeDocument/2006/relationships/tags" Target="../tags/tag536.xml"/><Relationship Id="rId7" Type="http://schemas.openxmlformats.org/officeDocument/2006/relationships/tags" Target="../tags/tag540.xml"/><Relationship Id="rId12" Type="http://schemas.openxmlformats.org/officeDocument/2006/relationships/image" Target="../media/image13.png"/><Relationship Id="rId2" Type="http://schemas.openxmlformats.org/officeDocument/2006/relationships/tags" Target="../tags/tag535.xml"/><Relationship Id="rId1" Type="http://schemas.openxmlformats.org/officeDocument/2006/relationships/tags" Target="../tags/tag534.xml"/><Relationship Id="rId6" Type="http://schemas.openxmlformats.org/officeDocument/2006/relationships/tags" Target="../tags/tag539.xml"/><Relationship Id="rId11" Type="http://schemas.openxmlformats.org/officeDocument/2006/relationships/image" Target="../media/image1.emf"/><Relationship Id="rId5" Type="http://schemas.openxmlformats.org/officeDocument/2006/relationships/tags" Target="../tags/tag538.xml"/><Relationship Id="rId10" Type="http://schemas.openxmlformats.org/officeDocument/2006/relationships/oleObject" Target="../embeddings/oleObject57.bin"/><Relationship Id="rId4" Type="http://schemas.openxmlformats.org/officeDocument/2006/relationships/tags" Target="../tags/tag537.xml"/><Relationship Id="rId9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549.xml"/><Relationship Id="rId13" Type="http://schemas.openxmlformats.org/officeDocument/2006/relationships/image" Target="../media/image12.png"/><Relationship Id="rId3" Type="http://schemas.openxmlformats.org/officeDocument/2006/relationships/tags" Target="../tags/tag544.xml"/><Relationship Id="rId7" Type="http://schemas.openxmlformats.org/officeDocument/2006/relationships/tags" Target="../tags/tag548.xml"/><Relationship Id="rId12" Type="http://schemas.openxmlformats.org/officeDocument/2006/relationships/image" Target="../media/image2.emf"/><Relationship Id="rId2" Type="http://schemas.openxmlformats.org/officeDocument/2006/relationships/tags" Target="../tags/tag543.xml"/><Relationship Id="rId1" Type="http://schemas.openxmlformats.org/officeDocument/2006/relationships/tags" Target="../tags/tag542.xml"/><Relationship Id="rId6" Type="http://schemas.openxmlformats.org/officeDocument/2006/relationships/tags" Target="../tags/tag547.xml"/><Relationship Id="rId11" Type="http://schemas.openxmlformats.org/officeDocument/2006/relationships/oleObject" Target="../embeddings/oleObject58.bin"/><Relationship Id="rId5" Type="http://schemas.openxmlformats.org/officeDocument/2006/relationships/tags" Target="../tags/tag546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45.xml"/><Relationship Id="rId9" Type="http://schemas.openxmlformats.org/officeDocument/2006/relationships/tags" Target="../tags/tag550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558.xml"/><Relationship Id="rId3" Type="http://schemas.openxmlformats.org/officeDocument/2006/relationships/tags" Target="../tags/tag553.xml"/><Relationship Id="rId7" Type="http://schemas.openxmlformats.org/officeDocument/2006/relationships/tags" Target="../tags/tag557.xml"/><Relationship Id="rId12" Type="http://schemas.openxmlformats.org/officeDocument/2006/relationships/image" Target="../media/image2.emf"/><Relationship Id="rId2" Type="http://schemas.openxmlformats.org/officeDocument/2006/relationships/tags" Target="../tags/tag552.xml"/><Relationship Id="rId1" Type="http://schemas.openxmlformats.org/officeDocument/2006/relationships/tags" Target="../tags/tag551.xml"/><Relationship Id="rId6" Type="http://schemas.openxmlformats.org/officeDocument/2006/relationships/tags" Target="../tags/tag556.xml"/><Relationship Id="rId11" Type="http://schemas.openxmlformats.org/officeDocument/2006/relationships/oleObject" Target="../embeddings/oleObject59.bin"/><Relationship Id="rId5" Type="http://schemas.openxmlformats.org/officeDocument/2006/relationships/tags" Target="../tags/tag555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54.xml"/><Relationship Id="rId9" Type="http://schemas.openxmlformats.org/officeDocument/2006/relationships/tags" Target="../tags/tag559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567.xml"/><Relationship Id="rId3" Type="http://schemas.openxmlformats.org/officeDocument/2006/relationships/tags" Target="../tags/tag562.xml"/><Relationship Id="rId7" Type="http://schemas.openxmlformats.org/officeDocument/2006/relationships/tags" Target="../tags/tag566.xml"/><Relationship Id="rId12" Type="http://schemas.openxmlformats.org/officeDocument/2006/relationships/image" Target="../media/image2.emf"/><Relationship Id="rId2" Type="http://schemas.openxmlformats.org/officeDocument/2006/relationships/tags" Target="../tags/tag561.xml"/><Relationship Id="rId1" Type="http://schemas.openxmlformats.org/officeDocument/2006/relationships/tags" Target="../tags/tag560.xml"/><Relationship Id="rId6" Type="http://schemas.openxmlformats.org/officeDocument/2006/relationships/tags" Target="../tags/tag565.xml"/><Relationship Id="rId11" Type="http://schemas.openxmlformats.org/officeDocument/2006/relationships/oleObject" Target="../embeddings/oleObject60.bin"/><Relationship Id="rId5" Type="http://schemas.openxmlformats.org/officeDocument/2006/relationships/tags" Target="../tags/tag564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63.xml"/><Relationship Id="rId9" Type="http://schemas.openxmlformats.org/officeDocument/2006/relationships/tags" Target="../tags/tag568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576.xml"/><Relationship Id="rId3" Type="http://schemas.openxmlformats.org/officeDocument/2006/relationships/tags" Target="../tags/tag571.xml"/><Relationship Id="rId7" Type="http://schemas.openxmlformats.org/officeDocument/2006/relationships/tags" Target="../tags/tag575.xml"/><Relationship Id="rId12" Type="http://schemas.openxmlformats.org/officeDocument/2006/relationships/image" Target="../media/image1.emf"/><Relationship Id="rId2" Type="http://schemas.openxmlformats.org/officeDocument/2006/relationships/tags" Target="../tags/tag570.xml"/><Relationship Id="rId1" Type="http://schemas.openxmlformats.org/officeDocument/2006/relationships/tags" Target="../tags/tag569.xml"/><Relationship Id="rId6" Type="http://schemas.openxmlformats.org/officeDocument/2006/relationships/tags" Target="../tags/tag574.xml"/><Relationship Id="rId11" Type="http://schemas.openxmlformats.org/officeDocument/2006/relationships/oleObject" Target="../embeddings/oleObject61.bin"/><Relationship Id="rId5" Type="http://schemas.openxmlformats.org/officeDocument/2006/relationships/tags" Target="../tags/tag573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72.xml"/><Relationship Id="rId9" Type="http://schemas.openxmlformats.org/officeDocument/2006/relationships/tags" Target="../tags/tag577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585.xml"/><Relationship Id="rId3" Type="http://schemas.openxmlformats.org/officeDocument/2006/relationships/tags" Target="../tags/tag580.xml"/><Relationship Id="rId7" Type="http://schemas.openxmlformats.org/officeDocument/2006/relationships/tags" Target="../tags/tag584.xml"/><Relationship Id="rId12" Type="http://schemas.openxmlformats.org/officeDocument/2006/relationships/image" Target="../media/image1.emf"/><Relationship Id="rId2" Type="http://schemas.openxmlformats.org/officeDocument/2006/relationships/tags" Target="../tags/tag579.xml"/><Relationship Id="rId1" Type="http://schemas.openxmlformats.org/officeDocument/2006/relationships/tags" Target="../tags/tag578.xml"/><Relationship Id="rId6" Type="http://schemas.openxmlformats.org/officeDocument/2006/relationships/tags" Target="../tags/tag583.xml"/><Relationship Id="rId11" Type="http://schemas.openxmlformats.org/officeDocument/2006/relationships/oleObject" Target="../embeddings/oleObject61.bin"/><Relationship Id="rId5" Type="http://schemas.openxmlformats.org/officeDocument/2006/relationships/tags" Target="../tags/tag582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81.xml"/><Relationship Id="rId9" Type="http://schemas.openxmlformats.org/officeDocument/2006/relationships/tags" Target="../tags/tag58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589.xml"/><Relationship Id="rId2" Type="http://schemas.openxmlformats.org/officeDocument/2006/relationships/tags" Target="../tags/tag588.xml"/><Relationship Id="rId1" Type="http://schemas.openxmlformats.org/officeDocument/2006/relationships/tags" Target="../tags/tag587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591.xml"/><Relationship Id="rId4" Type="http://schemas.openxmlformats.org/officeDocument/2006/relationships/tags" Target="../tags/tag590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594.xml"/><Relationship Id="rId2" Type="http://schemas.openxmlformats.org/officeDocument/2006/relationships/tags" Target="../tags/tag593.xml"/><Relationship Id="rId1" Type="http://schemas.openxmlformats.org/officeDocument/2006/relationships/tags" Target="../tags/tag592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95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598.xml"/><Relationship Id="rId7" Type="http://schemas.openxmlformats.org/officeDocument/2006/relationships/image" Target="../media/image7.emf"/><Relationship Id="rId2" Type="http://schemas.openxmlformats.org/officeDocument/2006/relationships/tags" Target="../tags/tag597.xml"/><Relationship Id="rId1" Type="http://schemas.openxmlformats.org/officeDocument/2006/relationships/tags" Target="../tags/tag596.xml"/><Relationship Id="rId6" Type="http://schemas.openxmlformats.org/officeDocument/2006/relationships/oleObject" Target="../embeddings/oleObject46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image" Target="../media/image1.emf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4.xml"/><Relationship Id="rId9" Type="http://schemas.openxmlformats.org/officeDocument/2006/relationships/tags" Target="../tags/tag69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2.bin"/><Relationship Id="rId3" Type="http://schemas.openxmlformats.org/officeDocument/2006/relationships/tags" Target="../tags/tag60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600.xml"/><Relationship Id="rId1" Type="http://schemas.openxmlformats.org/officeDocument/2006/relationships/tags" Target="../tags/tag599.xml"/><Relationship Id="rId6" Type="http://schemas.openxmlformats.org/officeDocument/2006/relationships/tags" Target="../tags/tag604.xml"/><Relationship Id="rId5" Type="http://schemas.openxmlformats.org/officeDocument/2006/relationships/tags" Target="../tags/tag603.xml"/><Relationship Id="rId4" Type="http://schemas.openxmlformats.org/officeDocument/2006/relationships/tags" Target="../tags/tag602.xml"/><Relationship Id="rId9" Type="http://schemas.openxmlformats.org/officeDocument/2006/relationships/image" Target="../media/image2.emf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634.xml"/><Relationship Id="rId3" Type="http://schemas.openxmlformats.org/officeDocument/2006/relationships/tags" Target="../tags/tag629.xml"/><Relationship Id="rId7" Type="http://schemas.openxmlformats.org/officeDocument/2006/relationships/tags" Target="../tags/tag633.xml"/><Relationship Id="rId12" Type="http://schemas.openxmlformats.org/officeDocument/2006/relationships/image" Target="../media/image14.png"/><Relationship Id="rId2" Type="http://schemas.openxmlformats.org/officeDocument/2006/relationships/tags" Target="../tags/tag628.xml"/><Relationship Id="rId1" Type="http://schemas.openxmlformats.org/officeDocument/2006/relationships/tags" Target="../tags/tag627.xml"/><Relationship Id="rId6" Type="http://schemas.openxmlformats.org/officeDocument/2006/relationships/tags" Target="../tags/tag632.xml"/><Relationship Id="rId11" Type="http://schemas.openxmlformats.org/officeDocument/2006/relationships/image" Target="../media/image1.emf"/><Relationship Id="rId5" Type="http://schemas.openxmlformats.org/officeDocument/2006/relationships/tags" Target="../tags/tag631.xml"/><Relationship Id="rId10" Type="http://schemas.openxmlformats.org/officeDocument/2006/relationships/oleObject" Target="../embeddings/oleObject63.bin"/><Relationship Id="rId4" Type="http://schemas.openxmlformats.org/officeDocument/2006/relationships/tags" Target="../tags/tag630.xml"/><Relationship Id="rId9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image" Target="../media/image1.emf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oleObject" Target="../embeddings/oleObject9.bin"/><Relationship Id="rId5" Type="http://schemas.openxmlformats.org/officeDocument/2006/relationships/tags" Target="../tags/tag7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3.xml"/><Relationship Id="rId9" Type="http://schemas.openxmlformats.org/officeDocument/2006/relationships/tags" Target="../tags/tag7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png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1.emf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8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2.xml"/><Relationship Id="rId9" Type="http://schemas.openxmlformats.org/officeDocument/2006/relationships/tags" Target="../tags/tag87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141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1" y="2617296"/>
            <a:ext cx="5313150" cy="20313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BC212018-3FC7-4564-BC6A-0AC9E668A3A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551943" y="6190488"/>
            <a:ext cx="30170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80486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22" name="Documenttype">
            <a:extLst>
              <a:ext uri="{FF2B5EF4-FFF2-40B4-BE49-F238E27FC236}">
                <a16:creationId xmlns:a16="http://schemas.microsoft.com/office/drawing/2014/main" id="{712BDF23-E1A1-4433-BD5C-0C8A43284B7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551943" y="5615068"/>
            <a:ext cx="53131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8B249FCE-DFF0-43AB-BDDB-16D68DB1B82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551943" y="5101203"/>
            <a:ext cx="53131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B9F7514-4A99-422C-9CCD-C186B1280DD9}"/>
              </a:ext>
            </a:extLst>
          </p:cNvPr>
          <p:cNvPicPr>
            <a:picLocks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81" y="365875"/>
            <a:ext cx="2699257" cy="59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41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B1E1CC23-DA6C-40AD-9A27-8279C50B672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rast Title">
  <p:cSld name="Contrast Title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oogle Shape;51;p13"/>
          <p:cNvGrpSpPr/>
          <p:nvPr/>
        </p:nvGrpSpPr>
        <p:grpSpPr>
          <a:xfrm>
            <a:off x="0" y="0"/>
            <a:ext cx="12192000" cy="6858000"/>
            <a:chOff x="0" y="0"/>
            <a:chExt cx="12192000" cy="6858001"/>
          </a:xfrm>
        </p:grpSpPr>
        <p:sp>
          <p:nvSpPr>
            <p:cNvPr id="52" name="Google Shape;52;p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gradFill>
              <a:gsLst>
                <a:gs pos="0">
                  <a:srgbClr val="060300"/>
                </a:gs>
                <a:gs pos="13000">
                  <a:srgbClr val="060300"/>
                </a:gs>
                <a:gs pos="100000">
                  <a:srgbClr val="502403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pic>
          <p:nvPicPr>
            <p:cNvPr id="53" name="Google Shape;53;p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0" y="0"/>
              <a:ext cx="12192000" cy="685800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4" name="Google Shape;54;p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gradFill>
              <a:gsLst>
                <a:gs pos="0">
                  <a:srgbClr val="060300">
                    <a:alpha val="56470"/>
                  </a:srgbClr>
                </a:gs>
                <a:gs pos="13000">
                  <a:srgbClr val="060300">
                    <a:alpha val="56470"/>
                  </a:srgbClr>
                </a:gs>
                <a:gs pos="100000">
                  <a:srgbClr val="502403">
                    <a:alpha val="56470"/>
                  </a:srgbClr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sp>
        <p:nvSpPr>
          <p:cNvPr id="55" name="Google Shape;55;p13"/>
          <p:cNvSpPr txBox="1">
            <a:spLocks noGrp="1"/>
          </p:cNvSpPr>
          <p:nvPr>
            <p:ph type="body" idx="1"/>
          </p:nvPr>
        </p:nvSpPr>
        <p:spPr>
          <a:xfrm>
            <a:off x="550800" y="5896356"/>
            <a:ext cx="10698400" cy="264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609585" lvl="0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None/>
              <a:defRPr sz="1467"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defRPr>
            </a:lvl1pPr>
            <a:lvl2pPr marL="1219170" lvl="1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300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300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6pPr>
            <a:lvl7pPr marL="4267093" lvl="6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7pPr>
            <a:lvl8pPr marL="4876678" lvl="7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8pPr>
            <a:lvl9pPr marL="5486263" lvl="8" indent="-423323" algn="l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dk1"/>
              </a:buClr>
              <a:buSzPts val="1400"/>
              <a:buChar char="▫"/>
              <a:defRPr/>
            </a:lvl9pPr>
          </a:lstStyle>
          <a:p>
            <a:endParaRPr/>
          </a:p>
        </p:txBody>
      </p:sp>
      <p:sp>
        <p:nvSpPr>
          <p:cNvPr id="56" name="Google Shape;56;p13"/>
          <p:cNvSpPr txBox="1">
            <a:spLocks noGrp="1"/>
          </p:cNvSpPr>
          <p:nvPr>
            <p:ph type="subTitle" idx="2"/>
          </p:nvPr>
        </p:nvSpPr>
        <p:spPr>
          <a:xfrm>
            <a:off x="551941" y="4562196"/>
            <a:ext cx="10698400" cy="346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defRPr>
            </a:lvl1pPr>
            <a:lvl2pPr lvl="1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7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500"/>
              <a:buNone/>
              <a:defRPr sz="1867"/>
            </a:lvl3pPr>
            <a:lvl4pPr lvl="3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57" name="Google Shape;57;p13"/>
          <p:cNvSpPr txBox="1">
            <a:spLocks noGrp="1"/>
          </p:cNvSpPr>
          <p:nvPr>
            <p:ph type="title"/>
          </p:nvPr>
        </p:nvSpPr>
        <p:spPr>
          <a:xfrm>
            <a:off x="551941" y="3764041"/>
            <a:ext cx="10698400" cy="6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Sora"/>
              <a:buNone/>
              <a:defRPr sz="4400"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grpSp>
        <p:nvGrpSpPr>
          <p:cNvPr id="58" name="Google Shape;58;p13"/>
          <p:cNvGrpSpPr/>
          <p:nvPr/>
        </p:nvGrpSpPr>
        <p:grpSpPr>
          <a:xfrm>
            <a:off x="577184" y="599765"/>
            <a:ext cx="2438400" cy="781051"/>
            <a:chOff x="577184" y="240949"/>
            <a:chExt cx="2438400" cy="781050"/>
          </a:xfrm>
        </p:grpSpPr>
        <p:pic>
          <p:nvPicPr>
            <p:cNvPr id="59" name="Google Shape;59;p1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77184" y="240949"/>
              <a:ext cx="950674" cy="7810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0" name="Google Shape;60;p13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480784" y="240949"/>
              <a:ext cx="1534800" cy="78105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93961653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efault">
  <p:cSld name="1_Defaul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4"/>
          <p:cNvSpPr/>
          <p:nvPr/>
        </p:nvSpPr>
        <p:spPr>
          <a:xfrm>
            <a:off x="0" y="0"/>
            <a:ext cx="12192000" cy="174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63" name="Google Shape;63;p14"/>
          <p:cNvSpPr txBox="1">
            <a:spLocks noGrp="1"/>
          </p:cNvSpPr>
          <p:nvPr>
            <p:ph type="subTitle" idx="1"/>
          </p:nvPr>
        </p:nvSpPr>
        <p:spPr>
          <a:xfrm>
            <a:off x="554736" y="1110295"/>
            <a:ext cx="11083200" cy="2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200"/>
              <a:buChar char="​"/>
              <a:defRPr b="0"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defRPr>
            </a:lvl1pPr>
            <a:lvl2pPr lvl="1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5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500"/>
              <a:buChar char="‒"/>
              <a:defRPr/>
            </a:lvl3pPr>
            <a:lvl4pPr lvl="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400"/>
              <a:buChar char="̶"/>
              <a:defRPr/>
            </a:lvl5pPr>
            <a:lvl6pPr lvl="5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6pPr>
            <a:lvl7pPr lvl="6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7pPr>
            <a:lvl8pPr lvl="7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8pPr>
            <a:lvl9pPr lvl="8" algn="l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dk1"/>
              </a:buClr>
              <a:buSzPts val="1400"/>
              <a:buChar char="▫"/>
              <a:defRPr/>
            </a:lvl9pPr>
          </a:lstStyle>
          <a:p>
            <a:endParaRPr/>
          </a:p>
        </p:txBody>
      </p:sp>
      <p:sp>
        <p:nvSpPr>
          <p:cNvPr id="64" name="Google Shape;64;p14"/>
          <p:cNvSpPr/>
          <p:nvPr/>
        </p:nvSpPr>
        <p:spPr>
          <a:xfrm>
            <a:off x="11312525" y="6514769"/>
            <a:ext cx="325600" cy="1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chemeClr val="dk1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2"/>
          </p:nvPr>
        </p:nvSpPr>
        <p:spPr>
          <a:xfrm>
            <a:off x="554735" y="41597"/>
            <a:ext cx="3843200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609585" lvl="0" indent="-355591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600"/>
              <a:buChar char="​"/>
              <a:defRPr sz="800" b="0"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defRPr>
            </a:lvl1pPr>
            <a:lvl2pPr marL="1219170" lvl="1" indent="-43178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500"/>
              <a:buChar char="•"/>
              <a:defRPr/>
            </a:lvl2pPr>
            <a:lvl3pPr marL="1828754" lvl="2" indent="-43178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500"/>
              <a:buChar char="‒"/>
              <a:defRPr/>
            </a:lvl3pPr>
            <a:lvl4pPr marL="2438339" lvl="3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400"/>
              <a:buChar char="̶"/>
              <a:defRPr/>
            </a:lvl5pPr>
            <a:lvl6pPr marL="3657509" lvl="5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6pPr>
            <a:lvl7pPr marL="4267093" lvl="6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7pPr>
            <a:lvl8pPr marL="4876678" lvl="7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8pPr>
            <a:lvl9pPr marL="5486263" lvl="8" indent="-423323" algn="l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dk1"/>
              </a:buClr>
              <a:buSzPts val="1400"/>
              <a:buChar char="▫"/>
              <a:defRPr/>
            </a:lvl9pPr>
          </a:lstStyle>
          <a:p>
            <a:endParaRPr/>
          </a:p>
        </p:txBody>
      </p:sp>
      <p:sp>
        <p:nvSpPr>
          <p:cNvPr id="66" name="Google Shape;66;p14"/>
          <p:cNvSpPr txBox="1">
            <a:spLocks noGrp="1"/>
          </p:cNvSpPr>
          <p:nvPr>
            <p:ph type="title"/>
          </p:nvPr>
        </p:nvSpPr>
        <p:spPr>
          <a:xfrm>
            <a:off x="554736" y="153252"/>
            <a:ext cx="10132400" cy="7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Sora"/>
              <a:buNone/>
              <a:defRPr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67" name="Google Shape;67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95182" y="200224"/>
            <a:ext cx="773399" cy="7059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2737649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-1">
  <p:cSld name="Divider-1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Google Shape;69;p15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1" y="-1621"/>
            <a:ext cx="12192004" cy="68612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670303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1">
  <p:cSld name="Blank 1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Google Shape;71;p1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286" y="-1"/>
            <a:ext cx="12181429" cy="68580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426524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 Cover">
  <p:cSld name="Back Cover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Google Shape;73;p1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1" y="-6483"/>
            <a:ext cx="12192004" cy="68709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4747404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1">
  <p:cSld name="2 Column 1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Google Shape;75;p18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286" y="-1"/>
            <a:ext cx="12181429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76" name="Google Shape;76;p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" y="2133600"/>
            <a:ext cx="12192004" cy="44410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7065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B3E147B5-D313-4C1A-A68C-8A2F58C5A3F5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61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E840329D-6237-4766-BBAD-19DF8580714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SlideLogoText">
            <a:extLst>
              <a:ext uri="{FF2B5EF4-FFF2-40B4-BE49-F238E27FC236}">
                <a16:creationId xmlns:a16="http://schemas.microsoft.com/office/drawing/2014/main" id="{CE759982-65BD-45C6-9F5F-67AD8CC39F4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BADD1B-C2B6-46E6-891B-FB7497BE529F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456" y="2912908"/>
            <a:ext cx="4712917" cy="103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C00B730E-81AE-4BCD-8441-6CFDD78018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179199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C00B730E-81AE-4BCD-8441-6CFDD7801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1191934-9D3E-4BCE-AD5D-2A3E3EE22ED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45" b="1" i="0" baseline="0" dirty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5153" y="234864"/>
            <a:ext cx="11192472" cy="345431"/>
          </a:xfrm>
        </p:spPr>
        <p:txBody>
          <a:bodyPr/>
          <a:lstStyle>
            <a:lvl1pPr>
              <a:defRPr sz="224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5" y="51833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6" eaLnBrk="1"/>
            <a:endParaRPr lang="en-U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0B1B111-F840-4A82-A57C-209F9B01AE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23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363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AEF9DE57-1405-4D82-A9ED-0EACD420D2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1941" y="2617296"/>
            <a:ext cx="5313150" cy="20313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Disclaimer-English (United States)">
            <a:extLst>
              <a:ext uri="{FF2B5EF4-FFF2-40B4-BE49-F238E27FC236}">
                <a16:creationId xmlns:a16="http://schemas.microsoft.com/office/drawing/2014/main" id="{176B7BBC-6927-4E5E-ADFA-89A409F5B0C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51943" y="6190488"/>
            <a:ext cx="30170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80486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E1E4A83A-7456-4039-9A31-6A81A39288A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gray">
          <a:xfrm>
            <a:off x="551943" y="5615068"/>
            <a:ext cx="53131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7BF4AF4-D626-46C5-BD91-F90A37E85249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551943" y="5101203"/>
            <a:ext cx="53131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E79354C-0766-4C79-A38C-241C3413E74E}"/>
              </a:ext>
            </a:extLst>
          </p:cNvPr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81" y="365875"/>
            <a:ext cx="2699257" cy="59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82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511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321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628A29A-7140-4215-AAD3-408E4038DE4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297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5B234232-A4C2-47B6-8806-916ADD0C18BF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6874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0DBB81CC-F849-4BD4-88CE-334EE9B3F27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11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978A8CD-047D-490F-98D5-36F9E9BD991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9673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0C296B58-AF91-49AF-AE35-151C07ADA47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99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BCD6AC10-5155-4024-A132-5D89A66014F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6178739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742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C36A9C0C-DA66-4674-9323-83DEFB4A0ECE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2719942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868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4C2FE976-3D2A-414C-9AC4-4E279E2274D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08058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715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B07A955C-5768-4F78-BCD2-EEC29CDF1A1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3050FA4E-931F-44C4-BAB6-319201BCD51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674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83E61E-A3D9-46A9-AE4D-7B9F5BDF9747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456" y="2912908"/>
            <a:ext cx="4712917" cy="103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7011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202848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836582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205925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>
                <a:solidFill>
                  <a:schemeClr val="tx1"/>
                </a:solidFill>
                <a:latin typeface="+mn-lt"/>
              </a:rPr>
            </a:br>
            <a:r>
              <a:rPr lang="en-US" sz="800">
                <a:solidFill>
                  <a:schemeClr val="tx1"/>
                </a:solidFill>
                <a:latin typeface="+mn-lt"/>
              </a:rPr>
              <a:t>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7" name="Partnership">
            <a:extLst>
              <a:ext uri="{FF2B5EF4-FFF2-40B4-BE49-F238E27FC236}">
                <a16:creationId xmlns:a16="http://schemas.microsoft.com/office/drawing/2014/main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1601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5002212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933548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908282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930167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679007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746479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93353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8672254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88303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886136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1266276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863342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24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471971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843191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0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>
                <a:solidFill>
                  <a:schemeClr val="tx1"/>
                </a:solidFill>
                <a:latin typeface="+mn-lt"/>
              </a:rPr>
            </a:br>
            <a:r>
              <a:rPr lang="en-US" sz="80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  <p:pic>
        <p:nvPicPr>
          <p:cNvPr id="5" name="Partnership">
            <a:extLst>
              <a:ext uri="{FF2B5EF4-FFF2-40B4-BE49-F238E27FC236}">
                <a16:creationId xmlns:a16="http://schemas.microsoft.com/office/drawing/2014/main" id="{A8772CBB-049B-42D8-B10E-A3ABB7480ED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659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377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>
            <a:extLst>
              <a:ext uri="{FF2B5EF4-FFF2-40B4-BE49-F238E27FC236}">
                <a16:creationId xmlns:a16="http://schemas.microsoft.com/office/drawing/2014/main" id="{9339B441-5073-C999-02D0-C6D7DB0AE37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5048" cy="685800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2"/>
                </a:solidFill>
              </a14:hiddenLine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495621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F59439-0FE5-F3C9-2198-006E5CB5C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024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F59439-0FE5-F3C9-2198-006E5CB5C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7980E98-6FCF-12AD-325A-9B0A7408B0D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5048" cy="685800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2"/>
                </a:solidFill>
              </a14:hiddenLine>
            </a:ext>
          </a:extLst>
        </p:spPr>
      </p:pic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EA8662BB-9F05-D562-2081-88B6FA2D58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3E03EA08-74CE-12BC-DC3F-DF1AC9DBC8BB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29416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FF0861B-E880-EB79-19D5-02E8A9326A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9667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FF0861B-E880-EB79-19D5-02E8A9326A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07304A62-8F01-0A54-6FDD-ADEBC6FCFB0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886"/>
            <a:ext cx="12195048" cy="685800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2"/>
                </a:solidFill>
              </a14:hiddenLine>
            </a:ext>
          </a:extLst>
        </p:spPr>
      </p:pic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6" name="SlideLogoText">
            <a:extLst>
              <a:ext uri="{FF2B5EF4-FFF2-40B4-BE49-F238E27FC236}">
                <a16:creationId xmlns:a16="http://schemas.microsoft.com/office/drawing/2014/main" id="{91C02CC4-EFEF-ABB7-4DF2-BD69A9D565E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CBE1B873-B034-B43E-9D20-61BA5611860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9617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1469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4D6B9356-160E-4A9D-3899-647B32784A7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5048" cy="685800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2"/>
                </a:solidFill>
              </a14:hiddenLine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33C1189D-56B9-4AAA-0D38-8E73E4A18B3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6097735-4980-3853-7214-9440B6DBE58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99374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8853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19F39C4-9186-4DEB-B608-2DF4A2B87D9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5048" cy="685800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2"/>
                </a:solidFill>
              </a14:hiddenLine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65061DBE-E876-BAEF-3944-8361A02ED00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C0CEE598-C894-27EA-4C3B-AC083268BFA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73735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88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492C339-7189-98BD-59DC-FB518E5F8B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8018"/>
          <a:stretch/>
        </p:blipFill>
        <p:spPr>
          <a:xfrm>
            <a:off x="3413760" y="834"/>
            <a:ext cx="8778240" cy="685800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2"/>
                </a:solidFill>
              </a14:hiddenLine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40379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0998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D3FDF5D-7BE4-8FBF-4A87-227063018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5816"/>
          <a:stretch/>
        </p:blipFill>
        <p:spPr>
          <a:xfrm>
            <a:off x="4364736" y="-13454"/>
            <a:ext cx="7827264" cy="7254226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2"/>
                </a:solidFill>
              </a14:hiddenLine>
            </a:ext>
          </a:extLst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42065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5956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BC03C98-9F7C-E183-3F75-3B31859D0F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9987"/>
          <a:stretch/>
        </p:blipFill>
        <p:spPr>
          <a:xfrm>
            <a:off x="6092952" y="-13454"/>
            <a:ext cx="6099048" cy="685800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2"/>
                </a:solidFill>
              </a14:hiddenLine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1571291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6345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DD8DE557-B85C-6C60-3665-AF5659A421D7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30312" y="0"/>
            <a:ext cx="4361688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5857888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1419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D14AEC6D-82C3-3641-EF98-68E84160C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234"/>
          <a:stretch/>
        </p:blipFill>
        <p:spPr>
          <a:xfrm>
            <a:off x="8781416" y="0"/>
            <a:ext cx="3410584" cy="685800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2"/>
                </a:solidFill>
              </a14:hiddenLine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189464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363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Dark">
            <a:extLst>
              <a:ext uri="{FF2B5EF4-FFF2-40B4-BE49-F238E27FC236}">
                <a16:creationId xmlns:a16="http://schemas.microsoft.com/office/drawing/2014/main" id="{E36ED56B-5E61-450D-A276-35115870C9B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955C8479-1411-4933-98BA-6E96292C038C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0858403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99891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0508761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423605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3259452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06359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5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257442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109F12A2-9074-48F5-93E9-3E245489D2B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209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247149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Layou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170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E7363C63-32DC-40A5-9167-EF7C56FF038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48" y="0"/>
            <a:ext cx="12195048" cy="6858000"/>
          </a:xfrm>
          <a:prstGeom prst="rect">
            <a:avLst/>
          </a:prstGeom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LogoText">
            <a:extLst>
              <a:ext uri="{FF2B5EF4-FFF2-40B4-BE49-F238E27FC236}">
                <a16:creationId xmlns:a16="http://schemas.microsoft.com/office/drawing/2014/main" id="{A99F87A5-4A36-B250-44A7-74118688972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2F281143-B282-CF34-DC21-313C99F8682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8035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869381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5885182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04527986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619225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369272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80093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71800173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5069505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CC59723C-6844-4221-8A4A-B84B177C9374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7295020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092267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37633433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rast Title">
  <p:cSld name="Contrast Title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oogle Shape;51;p13"/>
          <p:cNvGrpSpPr/>
          <p:nvPr/>
        </p:nvGrpSpPr>
        <p:grpSpPr>
          <a:xfrm>
            <a:off x="0" y="0"/>
            <a:ext cx="12192000" cy="6858000"/>
            <a:chOff x="0" y="0"/>
            <a:chExt cx="12192000" cy="6858001"/>
          </a:xfrm>
        </p:grpSpPr>
        <p:sp>
          <p:nvSpPr>
            <p:cNvPr id="52" name="Google Shape;52;p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gradFill>
              <a:gsLst>
                <a:gs pos="0">
                  <a:srgbClr val="060300"/>
                </a:gs>
                <a:gs pos="13000">
                  <a:srgbClr val="060300"/>
                </a:gs>
                <a:gs pos="100000">
                  <a:srgbClr val="502403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pic>
          <p:nvPicPr>
            <p:cNvPr id="53" name="Google Shape;53;p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0" y="0"/>
              <a:ext cx="12192000" cy="685800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4" name="Google Shape;54;p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gradFill>
              <a:gsLst>
                <a:gs pos="0">
                  <a:srgbClr val="060300">
                    <a:alpha val="56470"/>
                  </a:srgbClr>
                </a:gs>
                <a:gs pos="13000">
                  <a:srgbClr val="060300">
                    <a:alpha val="56470"/>
                  </a:srgbClr>
                </a:gs>
                <a:gs pos="100000">
                  <a:srgbClr val="502403">
                    <a:alpha val="56470"/>
                  </a:srgbClr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sp>
        <p:nvSpPr>
          <p:cNvPr id="55" name="Google Shape;55;p13"/>
          <p:cNvSpPr txBox="1">
            <a:spLocks noGrp="1"/>
          </p:cNvSpPr>
          <p:nvPr>
            <p:ph type="body" idx="1"/>
          </p:nvPr>
        </p:nvSpPr>
        <p:spPr>
          <a:xfrm>
            <a:off x="550800" y="5896356"/>
            <a:ext cx="10698400" cy="264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609585" lvl="0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None/>
              <a:defRPr sz="1467"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defRPr>
            </a:lvl1pPr>
            <a:lvl2pPr marL="1219170" lvl="1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300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300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6pPr>
            <a:lvl7pPr marL="4267093" lvl="6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7pPr>
            <a:lvl8pPr marL="4876678" lvl="7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8pPr>
            <a:lvl9pPr marL="5486263" lvl="8" indent="-423323" algn="l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dk1"/>
              </a:buClr>
              <a:buSzPts val="1400"/>
              <a:buChar char="▫"/>
              <a:defRPr/>
            </a:lvl9pPr>
          </a:lstStyle>
          <a:p>
            <a:endParaRPr/>
          </a:p>
        </p:txBody>
      </p:sp>
      <p:sp>
        <p:nvSpPr>
          <p:cNvPr id="56" name="Google Shape;56;p13"/>
          <p:cNvSpPr txBox="1">
            <a:spLocks noGrp="1"/>
          </p:cNvSpPr>
          <p:nvPr>
            <p:ph type="subTitle" idx="2"/>
          </p:nvPr>
        </p:nvSpPr>
        <p:spPr>
          <a:xfrm>
            <a:off x="551941" y="4562196"/>
            <a:ext cx="10698400" cy="346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defRPr>
            </a:lvl1pPr>
            <a:lvl2pPr lvl="1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7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500"/>
              <a:buNone/>
              <a:defRPr sz="1867"/>
            </a:lvl3pPr>
            <a:lvl4pPr lvl="3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57" name="Google Shape;57;p13"/>
          <p:cNvSpPr txBox="1">
            <a:spLocks noGrp="1"/>
          </p:cNvSpPr>
          <p:nvPr>
            <p:ph type="title"/>
          </p:nvPr>
        </p:nvSpPr>
        <p:spPr>
          <a:xfrm>
            <a:off x="551941" y="3764041"/>
            <a:ext cx="10698400" cy="6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Sora"/>
              <a:buNone/>
              <a:defRPr sz="4400"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grpSp>
        <p:nvGrpSpPr>
          <p:cNvPr id="58" name="Google Shape;58;p13"/>
          <p:cNvGrpSpPr/>
          <p:nvPr/>
        </p:nvGrpSpPr>
        <p:grpSpPr>
          <a:xfrm>
            <a:off x="577184" y="599765"/>
            <a:ext cx="2438400" cy="781051"/>
            <a:chOff x="577184" y="240949"/>
            <a:chExt cx="2438400" cy="781050"/>
          </a:xfrm>
        </p:grpSpPr>
        <p:pic>
          <p:nvPicPr>
            <p:cNvPr id="59" name="Google Shape;59;p1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77184" y="240949"/>
              <a:ext cx="950674" cy="7810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0" name="Google Shape;60;p13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480784" y="240949"/>
              <a:ext cx="1534800" cy="78105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55048349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efault">
  <p:cSld name="1_Defaul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4"/>
          <p:cNvSpPr/>
          <p:nvPr/>
        </p:nvSpPr>
        <p:spPr>
          <a:xfrm>
            <a:off x="0" y="0"/>
            <a:ext cx="12192000" cy="174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63" name="Google Shape;63;p14"/>
          <p:cNvSpPr txBox="1">
            <a:spLocks noGrp="1"/>
          </p:cNvSpPr>
          <p:nvPr>
            <p:ph type="subTitle" idx="1"/>
          </p:nvPr>
        </p:nvSpPr>
        <p:spPr>
          <a:xfrm>
            <a:off x="554736" y="1110295"/>
            <a:ext cx="11083200" cy="2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200"/>
              <a:buChar char="​"/>
              <a:defRPr b="0"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defRPr>
            </a:lvl1pPr>
            <a:lvl2pPr lvl="1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5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500"/>
              <a:buChar char="‒"/>
              <a:defRPr/>
            </a:lvl3pPr>
            <a:lvl4pPr lvl="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400"/>
              <a:buChar char="̶"/>
              <a:defRPr/>
            </a:lvl5pPr>
            <a:lvl6pPr lvl="5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6pPr>
            <a:lvl7pPr lvl="6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7pPr>
            <a:lvl8pPr lvl="7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8pPr>
            <a:lvl9pPr lvl="8" algn="l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dk1"/>
              </a:buClr>
              <a:buSzPts val="1400"/>
              <a:buChar char="▫"/>
              <a:defRPr/>
            </a:lvl9pPr>
          </a:lstStyle>
          <a:p>
            <a:endParaRPr/>
          </a:p>
        </p:txBody>
      </p:sp>
      <p:sp>
        <p:nvSpPr>
          <p:cNvPr id="64" name="Google Shape;64;p14"/>
          <p:cNvSpPr/>
          <p:nvPr/>
        </p:nvSpPr>
        <p:spPr>
          <a:xfrm>
            <a:off x="11312525" y="6514769"/>
            <a:ext cx="325600" cy="1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chemeClr val="dk1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2"/>
          </p:nvPr>
        </p:nvSpPr>
        <p:spPr>
          <a:xfrm>
            <a:off x="554735" y="41597"/>
            <a:ext cx="3843200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609585" lvl="0" indent="-355591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600"/>
              <a:buChar char="​"/>
              <a:defRPr sz="800" b="0"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defRPr>
            </a:lvl1pPr>
            <a:lvl2pPr marL="1219170" lvl="1" indent="-43178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500"/>
              <a:buChar char="•"/>
              <a:defRPr/>
            </a:lvl2pPr>
            <a:lvl3pPr marL="1828754" lvl="2" indent="-43178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500"/>
              <a:buChar char="‒"/>
              <a:defRPr/>
            </a:lvl3pPr>
            <a:lvl4pPr marL="2438339" lvl="3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400"/>
              <a:buChar char="̶"/>
              <a:defRPr/>
            </a:lvl5pPr>
            <a:lvl6pPr marL="3657509" lvl="5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6pPr>
            <a:lvl7pPr marL="4267093" lvl="6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7pPr>
            <a:lvl8pPr marL="4876678" lvl="7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8pPr>
            <a:lvl9pPr marL="5486263" lvl="8" indent="-423323" algn="l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dk1"/>
              </a:buClr>
              <a:buSzPts val="1400"/>
              <a:buChar char="▫"/>
              <a:defRPr/>
            </a:lvl9pPr>
          </a:lstStyle>
          <a:p>
            <a:endParaRPr/>
          </a:p>
        </p:txBody>
      </p:sp>
      <p:sp>
        <p:nvSpPr>
          <p:cNvPr id="66" name="Google Shape;66;p14"/>
          <p:cNvSpPr txBox="1">
            <a:spLocks noGrp="1"/>
          </p:cNvSpPr>
          <p:nvPr>
            <p:ph type="title"/>
          </p:nvPr>
        </p:nvSpPr>
        <p:spPr>
          <a:xfrm>
            <a:off x="554736" y="153252"/>
            <a:ext cx="10132400" cy="7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Sora"/>
              <a:buNone/>
              <a:defRPr>
                <a:solidFill>
                  <a:schemeClr val="dk1"/>
                </a:solidFill>
                <a:latin typeface="Sora"/>
                <a:ea typeface="Sora"/>
                <a:cs typeface="Sora"/>
                <a:sym typeface="Sor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67" name="Google Shape;67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95182" y="200224"/>
            <a:ext cx="773399" cy="7059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8539341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-1">
  <p:cSld name="Divider-1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Google Shape;69;p15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1" y="-1621"/>
            <a:ext cx="12192004" cy="68612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075420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1">
  <p:cSld name="Blank 1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Google Shape;71;p1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286" y="-1"/>
            <a:ext cx="12181429" cy="68580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18737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 Cover">
  <p:cSld name="Back Cover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Google Shape;73;p1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1" y="-6483"/>
            <a:ext cx="12192004" cy="68709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8413702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1">
  <p:cSld name="2 Column 1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Google Shape;75;p18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286" y="-1"/>
            <a:ext cx="12181429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76" name="Google Shape;76;p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" y="2133600"/>
            <a:ext cx="12192004" cy="44410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2080626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3591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4176DD9F-F8AA-4052-AB7D-4F492BC276D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79088117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3900055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84179979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81537658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30633081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78150809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7500291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96733265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80060169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660927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image" Target="../media/image1.emf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tags" Target="../tags/tag126.xml"/><Relationship Id="rId39" Type="http://schemas.openxmlformats.org/officeDocument/2006/relationships/tags" Target="../tags/tag139.xml"/><Relationship Id="rId21" Type="http://schemas.openxmlformats.org/officeDocument/2006/relationships/slideLayout" Target="../slideLayouts/slideLayout36.xml"/><Relationship Id="rId34" Type="http://schemas.openxmlformats.org/officeDocument/2006/relationships/tags" Target="../tags/tag134.xml"/><Relationship Id="rId42" Type="http://schemas.openxmlformats.org/officeDocument/2006/relationships/tags" Target="../tags/tag142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9" Type="http://schemas.openxmlformats.org/officeDocument/2006/relationships/tags" Target="../tags/tag129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124.xml"/><Relationship Id="rId32" Type="http://schemas.openxmlformats.org/officeDocument/2006/relationships/tags" Target="../tags/tag132.xml"/><Relationship Id="rId37" Type="http://schemas.openxmlformats.org/officeDocument/2006/relationships/tags" Target="../tags/tag137.xml"/><Relationship Id="rId40" Type="http://schemas.openxmlformats.org/officeDocument/2006/relationships/tags" Target="../tags/tag140.xml"/><Relationship Id="rId45" Type="http://schemas.openxmlformats.org/officeDocument/2006/relationships/oleObject" Target="../embeddings/oleObject17.bin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ags" Target="../tags/tag123.xml"/><Relationship Id="rId28" Type="http://schemas.openxmlformats.org/officeDocument/2006/relationships/tags" Target="../tags/tag128.xml"/><Relationship Id="rId36" Type="http://schemas.openxmlformats.org/officeDocument/2006/relationships/tags" Target="../tags/tag136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tags" Target="../tags/tag131.xml"/><Relationship Id="rId44" Type="http://schemas.openxmlformats.org/officeDocument/2006/relationships/tags" Target="../tags/tag14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theme" Target="../theme/theme2.xml"/><Relationship Id="rId27" Type="http://schemas.openxmlformats.org/officeDocument/2006/relationships/tags" Target="../tags/tag127.xml"/><Relationship Id="rId30" Type="http://schemas.openxmlformats.org/officeDocument/2006/relationships/tags" Target="../tags/tag130.xml"/><Relationship Id="rId35" Type="http://schemas.openxmlformats.org/officeDocument/2006/relationships/tags" Target="../tags/tag135.xml"/><Relationship Id="rId43" Type="http://schemas.openxmlformats.org/officeDocument/2006/relationships/tags" Target="../tags/tag143.xml"/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tags" Target="../tags/tag125.xml"/><Relationship Id="rId33" Type="http://schemas.openxmlformats.org/officeDocument/2006/relationships/tags" Target="../tags/tag133.xml"/><Relationship Id="rId38" Type="http://schemas.openxmlformats.org/officeDocument/2006/relationships/tags" Target="../tags/tag138.xml"/><Relationship Id="rId46" Type="http://schemas.openxmlformats.org/officeDocument/2006/relationships/image" Target="../media/image2.emf"/><Relationship Id="rId20" Type="http://schemas.openxmlformats.org/officeDocument/2006/relationships/slideLayout" Target="../slideLayouts/slideLayout35.xml"/><Relationship Id="rId41" Type="http://schemas.openxmlformats.org/officeDocument/2006/relationships/tags" Target="../tags/tag14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.xml"/><Relationship Id="rId18" Type="http://schemas.openxmlformats.org/officeDocument/2006/relationships/tags" Target="../tags/tag301.xml"/><Relationship Id="rId26" Type="http://schemas.openxmlformats.org/officeDocument/2006/relationships/tags" Target="../tags/tag309.xml"/><Relationship Id="rId39" Type="http://schemas.openxmlformats.org/officeDocument/2006/relationships/tags" Target="../tags/tag322.xml"/><Relationship Id="rId21" Type="http://schemas.openxmlformats.org/officeDocument/2006/relationships/tags" Target="../tags/tag304.xml"/><Relationship Id="rId34" Type="http://schemas.openxmlformats.org/officeDocument/2006/relationships/tags" Target="../tags/tag317.xml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6" Type="http://schemas.openxmlformats.org/officeDocument/2006/relationships/theme" Target="../theme/theme3.xml"/><Relationship Id="rId20" Type="http://schemas.openxmlformats.org/officeDocument/2006/relationships/tags" Target="../tags/tag303.xml"/><Relationship Id="rId29" Type="http://schemas.openxmlformats.org/officeDocument/2006/relationships/tags" Target="../tags/tag312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tags" Target="../tags/tag307.xml"/><Relationship Id="rId32" Type="http://schemas.openxmlformats.org/officeDocument/2006/relationships/tags" Target="../tags/tag315.xml"/><Relationship Id="rId37" Type="http://schemas.openxmlformats.org/officeDocument/2006/relationships/tags" Target="../tags/tag320.xml"/><Relationship Id="rId40" Type="http://schemas.openxmlformats.org/officeDocument/2006/relationships/oleObject" Target="../embeddings/oleObject37.bin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tags" Target="../tags/tag306.xml"/><Relationship Id="rId28" Type="http://schemas.openxmlformats.org/officeDocument/2006/relationships/tags" Target="../tags/tag311.xml"/><Relationship Id="rId36" Type="http://schemas.openxmlformats.org/officeDocument/2006/relationships/tags" Target="../tags/tag319.xml"/><Relationship Id="rId10" Type="http://schemas.openxmlformats.org/officeDocument/2006/relationships/slideLayout" Target="../slideLayouts/slideLayout46.xml"/><Relationship Id="rId19" Type="http://schemas.openxmlformats.org/officeDocument/2006/relationships/tags" Target="../tags/tag302.xml"/><Relationship Id="rId31" Type="http://schemas.openxmlformats.org/officeDocument/2006/relationships/tags" Target="../tags/tag314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tags" Target="../tags/tag305.xml"/><Relationship Id="rId27" Type="http://schemas.openxmlformats.org/officeDocument/2006/relationships/tags" Target="../tags/tag310.xml"/><Relationship Id="rId30" Type="http://schemas.openxmlformats.org/officeDocument/2006/relationships/tags" Target="../tags/tag313.xml"/><Relationship Id="rId35" Type="http://schemas.openxmlformats.org/officeDocument/2006/relationships/tags" Target="../tags/tag318.xml"/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8.xml"/><Relationship Id="rId17" Type="http://schemas.openxmlformats.org/officeDocument/2006/relationships/tags" Target="../tags/tag300.xml"/><Relationship Id="rId25" Type="http://schemas.openxmlformats.org/officeDocument/2006/relationships/tags" Target="../tags/tag308.xml"/><Relationship Id="rId33" Type="http://schemas.openxmlformats.org/officeDocument/2006/relationships/tags" Target="../tags/tag316.xml"/><Relationship Id="rId38" Type="http://schemas.openxmlformats.org/officeDocument/2006/relationships/tags" Target="../tags/tag321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tags" Target="../tags/tag452.xml"/><Relationship Id="rId39" Type="http://schemas.openxmlformats.org/officeDocument/2006/relationships/tags" Target="../tags/tag465.xml"/><Relationship Id="rId21" Type="http://schemas.openxmlformats.org/officeDocument/2006/relationships/tags" Target="../tags/tag447.xml"/><Relationship Id="rId34" Type="http://schemas.openxmlformats.org/officeDocument/2006/relationships/tags" Target="../tags/tag460.xml"/><Relationship Id="rId42" Type="http://schemas.openxmlformats.org/officeDocument/2006/relationships/oleObject" Target="../embeddings/oleObject47.bin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theme" Target="../theme/theme4.xml"/><Relationship Id="rId29" Type="http://schemas.openxmlformats.org/officeDocument/2006/relationships/tags" Target="../tags/tag455.xml"/><Relationship Id="rId41" Type="http://schemas.openxmlformats.org/officeDocument/2006/relationships/tags" Target="../tags/tag467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tags" Target="../tags/tag450.xml"/><Relationship Id="rId32" Type="http://schemas.openxmlformats.org/officeDocument/2006/relationships/tags" Target="../tags/tag458.xml"/><Relationship Id="rId37" Type="http://schemas.openxmlformats.org/officeDocument/2006/relationships/tags" Target="../tags/tag463.xml"/><Relationship Id="rId40" Type="http://schemas.openxmlformats.org/officeDocument/2006/relationships/tags" Target="../tags/tag466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tags" Target="../tags/tag449.xml"/><Relationship Id="rId28" Type="http://schemas.openxmlformats.org/officeDocument/2006/relationships/tags" Target="../tags/tag454.xml"/><Relationship Id="rId36" Type="http://schemas.openxmlformats.org/officeDocument/2006/relationships/tags" Target="../tags/tag462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31" Type="http://schemas.openxmlformats.org/officeDocument/2006/relationships/tags" Target="../tags/tag457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tags" Target="../tags/tag448.xml"/><Relationship Id="rId27" Type="http://schemas.openxmlformats.org/officeDocument/2006/relationships/tags" Target="../tags/tag453.xml"/><Relationship Id="rId30" Type="http://schemas.openxmlformats.org/officeDocument/2006/relationships/tags" Target="../tags/tag456.xml"/><Relationship Id="rId35" Type="http://schemas.openxmlformats.org/officeDocument/2006/relationships/tags" Target="../tags/tag461.xml"/><Relationship Id="rId43" Type="http://schemas.openxmlformats.org/officeDocument/2006/relationships/image" Target="../media/image7.emf"/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tags" Target="../tags/tag451.xml"/><Relationship Id="rId33" Type="http://schemas.openxmlformats.org/officeDocument/2006/relationships/tags" Target="../tags/tag459.xml"/><Relationship Id="rId38" Type="http://schemas.openxmlformats.org/officeDocument/2006/relationships/tags" Target="../tags/tag46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610.xml"/><Relationship Id="rId13" Type="http://schemas.openxmlformats.org/officeDocument/2006/relationships/tags" Target="../tags/tag615.xml"/><Relationship Id="rId18" Type="http://schemas.openxmlformats.org/officeDocument/2006/relationships/tags" Target="../tags/tag620.xml"/><Relationship Id="rId26" Type="http://schemas.openxmlformats.org/officeDocument/2006/relationships/image" Target="../media/image2.emf"/><Relationship Id="rId3" Type="http://schemas.openxmlformats.org/officeDocument/2006/relationships/tags" Target="../tags/tag605.xml"/><Relationship Id="rId21" Type="http://schemas.openxmlformats.org/officeDocument/2006/relationships/tags" Target="../tags/tag623.xml"/><Relationship Id="rId7" Type="http://schemas.openxmlformats.org/officeDocument/2006/relationships/tags" Target="../tags/tag609.xml"/><Relationship Id="rId12" Type="http://schemas.openxmlformats.org/officeDocument/2006/relationships/tags" Target="../tags/tag614.xml"/><Relationship Id="rId17" Type="http://schemas.openxmlformats.org/officeDocument/2006/relationships/tags" Target="../tags/tag619.xml"/><Relationship Id="rId25" Type="http://schemas.openxmlformats.org/officeDocument/2006/relationships/oleObject" Target="../embeddings/oleObject17.bin"/><Relationship Id="rId2" Type="http://schemas.openxmlformats.org/officeDocument/2006/relationships/theme" Target="../theme/theme5.xml"/><Relationship Id="rId16" Type="http://schemas.openxmlformats.org/officeDocument/2006/relationships/tags" Target="../tags/tag618.xml"/><Relationship Id="rId20" Type="http://schemas.openxmlformats.org/officeDocument/2006/relationships/tags" Target="../tags/tag622.xml"/><Relationship Id="rId1" Type="http://schemas.openxmlformats.org/officeDocument/2006/relationships/slideLayout" Target="../slideLayouts/slideLayout71.xml"/><Relationship Id="rId6" Type="http://schemas.openxmlformats.org/officeDocument/2006/relationships/tags" Target="../tags/tag608.xml"/><Relationship Id="rId11" Type="http://schemas.openxmlformats.org/officeDocument/2006/relationships/tags" Target="../tags/tag613.xml"/><Relationship Id="rId24" Type="http://schemas.openxmlformats.org/officeDocument/2006/relationships/tags" Target="../tags/tag626.xml"/><Relationship Id="rId5" Type="http://schemas.openxmlformats.org/officeDocument/2006/relationships/tags" Target="../tags/tag607.xml"/><Relationship Id="rId15" Type="http://schemas.openxmlformats.org/officeDocument/2006/relationships/tags" Target="../tags/tag617.xml"/><Relationship Id="rId23" Type="http://schemas.openxmlformats.org/officeDocument/2006/relationships/tags" Target="../tags/tag625.xml"/><Relationship Id="rId10" Type="http://schemas.openxmlformats.org/officeDocument/2006/relationships/tags" Target="../tags/tag612.xml"/><Relationship Id="rId19" Type="http://schemas.openxmlformats.org/officeDocument/2006/relationships/tags" Target="../tags/tag621.xml"/><Relationship Id="rId4" Type="http://schemas.openxmlformats.org/officeDocument/2006/relationships/tags" Target="../tags/tag606.xml"/><Relationship Id="rId9" Type="http://schemas.openxmlformats.org/officeDocument/2006/relationships/tags" Target="../tags/tag611.xml"/><Relationship Id="rId14" Type="http://schemas.openxmlformats.org/officeDocument/2006/relationships/tags" Target="../tags/tag616.xml"/><Relationship Id="rId22" Type="http://schemas.openxmlformats.org/officeDocument/2006/relationships/tags" Target="../tags/tag62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74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oleObject" Target="../embeddings/oleObject64.bin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19" Type="http://schemas.openxmlformats.org/officeDocument/2006/relationships/tags" Target="../tags/tag635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91.xml"/><Relationship Id="rId21" Type="http://schemas.openxmlformats.org/officeDocument/2006/relationships/image" Target="../media/image24.emf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oleObject" Target="../embeddings/oleObject65.bin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98.xml"/><Relationship Id="rId19" Type="http://schemas.openxmlformats.org/officeDocument/2006/relationships/tags" Target="../tags/tag636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4332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320440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5" y="2260021"/>
            <a:ext cx="460174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8" name="SlideLogoText">
            <a:extLst>
              <a:ext uri="{FF2B5EF4-FFF2-40B4-BE49-F238E27FC236}">
                <a16:creationId xmlns:a16="http://schemas.microsoft.com/office/drawing/2014/main" id="{8D574FFE-81A7-4651-A7DE-C7A84A035E00}"/>
              </a:ext>
            </a:extLst>
          </p:cNvPr>
          <p:cNvSpPr>
            <a:spLocks noChangeArrowheads="1"/>
          </p:cNvSpPr>
          <p:nvPr userDrawn="1">
            <p:custDataLst>
              <p:tags r:id="rId22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D97663A-F791-4E92-9365-CB813C9BC374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0EAE2240-C81D-4CA1-98E3-B35AEF921F9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6499D379-D492-44E0-845F-E875946CF4F5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0073C53-9F6F-4656-A656-DB736FB28327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2FB456E-2344-4E2D-B77B-3FC87625B5A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603980B9-14BF-4E57-87D9-56C880BB172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57A44DC-B2E5-4EAD-8BCE-531A7CFAF9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50C7AAA3-ABE1-4F29-B1E1-26A5AC82533E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3704209-C3C0-458F-86F0-8E40BBBE39B9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196E1F53-76CE-4F04-B7B8-2166FDA9AE4E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B83462F9-6A37-4CC1-8D94-01DFA338F692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94ADA2EA-D59D-42BA-8DCC-5C8283DCCCE5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7E5190C7-EB40-459A-A0BB-E468A1FA4F69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26DEBB72-75E8-463A-8350-806BB74E317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9CDBF45-8357-4CE6-B6AF-EF5A753A44A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4105C40B-856D-497D-A1B8-607FF1EA417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17215290-E193-4DCC-AD37-91F900FD8855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E65D5F43-792E-4FBA-97F8-038AC5303FA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8EAA3CDC-A24E-4F39-AD69-FC3F6454BE5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CBEB3BB3-87F9-41E3-8454-121AB7876E8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B1C07254-D4B4-4E36-A614-4B6C78BCB9E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BFE2879A-3A88-4D85-A9A6-0407D93373D8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AF11CAD8-4135-4CD9-85B3-6859BBB855A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3B7DDE4-7052-41EA-982A-F327D864DE1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D83CA23-B446-4B60-BEC7-045FEDD9FFF1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CC611DF-76ED-4B41-9279-99C0E3532FE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9C04C75E-81DE-4476-B7D8-0F11B682FAAE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3292F908-925C-43D7-AA92-BB8953F84B2D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7DAF2E18-689A-41D7-8318-A27B61E525E1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B9125C35-A045-4AEC-B260-A899D8FF21B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7C82C3C3-A5AE-45EB-8BF6-AE31CB394C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F85FCDFE-0AFF-43C2-938E-CCF101E4142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BD1FF62D-E7C4-47EF-86EA-F55A826E778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D3D42050-F435-4EA8-BAE4-BB1E1B5864A4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2B851ED3-A382-4DBB-8F7D-B32C906DC12F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84BA7900-FE12-4EF4-8CD7-590783C9BCFA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6F569B22-62E6-4578-BE99-DA245B2DD06C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E5C1773-5A91-4CCB-B5FE-D2C395026F65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5D40DD8-1473-4059-BEF5-5DB0F6B204FD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706" r:id="rId13"/>
    <p:sldLayoutId id="2147483718" r:id="rId14"/>
    <p:sldLayoutId id="2147483921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12064" indent="-28346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—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40664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»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3716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864046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592" imgH="591" progId="TCLayout.ActiveDocument.1">
                  <p:embed/>
                </p:oleObj>
              </mc:Choice>
              <mc:Fallback>
                <p:oleObj name="think-cell Slide" r:id="rId4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320440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144" name="SlideLogoText">
            <a:extLst>
              <a:ext uri="{FF2B5EF4-FFF2-40B4-BE49-F238E27FC236}">
                <a16:creationId xmlns:a16="http://schemas.microsoft.com/office/drawing/2014/main" id="{6079B92B-B06C-4258-9E1C-3881DC358B9B}"/>
              </a:ext>
            </a:extLst>
          </p:cNvPr>
          <p:cNvSpPr>
            <a:spLocks noChangeArrowheads="1"/>
          </p:cNvSpPr>
          <p:nvPr userDrawn="1">
            <p:custDataLst>
              <p:tags r:id="rId2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  <p:sp>
        <p:nvSpPr>
          <p:cNvPr id="146" name="Text Placeholder 4">
            <a:extLst>
              <a:ext uri="{FF2B5EF4-FFF2-40B4-BE49-F238E27FC236}">
                <a16:creationId xmlns:a16="http://schemas.microsoft.com/office/drawing/2014/main" id="{F22C0A1A-93A1-487B-8863-4F7560F9AA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5" y="2260021"/>
            <a:ext cx="460174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7" name="LegendBoxes" hidden="1">
            <a:extLst>
              <a:ext uri="{FF2B5EF4-FFF2-40B4-BE49-F238E27FC236}">
                <a16:creationId xmlns:a16="http://schemas.microsoft.com/office/drawing/2014/main" id="{2D73408D-CD62-41BB-B1DB-4E0F325E2C7C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554770" y="4322824"/>
            <a:chExt cx="922463" cy="1717282"/>
          </a:xfrm>
        </p:grpSpPr>
        <p:sp>
          <p:nvSpPr>
            <p:cNvPr id="148" name="RectangleLegend1" hidden="1">
              <a:extLst>
                <a:ext uri="{FF2B5EF4-FFF2-40B4-BE49-F238E27FC236}">
                  <a16:creationId xmlns:a16="http://schemas.microsoft.com/office/drawing/2014/main" id="{91D1BAB4-5F56-44D0-9783-8E18C01C9B96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2" hidden="1">
              <a:extLst>
                <a:ext uri="{FF2B5EF4-FFF2-40B4-BE49-F238E27FC236}">
                  <a16:creationId xmlns:a16="http://schemas.microsoft.com/office/drawing/2014/main" id="{951D7D13-1BCF-4D28-A57A-EDE3EA26BA4D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3" hidden="1">
              <a:extLst>
                <a:ext uri="{FF2B5EF4-FFF2-40B4-BE49-F238E27FC236}">
                  <a16:creationId xmlns:a16="http://schemas.microsoft.com/office/drawing/2014/main" id="{746AD11C-ACB1-46E1-84D9-40B90064FB75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4" hidden="1">
              <a:extLst>
                <a:ext uri="{FF2B5EF4-FFF2-40B4-BE49-F238E27FC236}">
                  <a16:creationId xmlns:a16="http://schemas.microsoft.com/office/drawing/2014/main" id="{8A066E9A-1B9B-4219-833A-B063F7B374FF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2" name="RectangleLegend5" hidden="1">
              <a:extLst>
                <a:ext uri="{FF2B5EF4-FFF2-40B4-BE49-F238E27FC236}">
                  <a16:creationId xmlns:a16="http://schemas.microsoft.com/office/drawing/2014/main" id="{E1858556-6678-4C8D-B559-3246911734DA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3" name="Legend1" hidden="1">
              <a:extLst>
                <a:ext uri="{FF2B5EF4-FFF2-40B4-BE49-F238E27FC236}">
                  <a16:creationId xmlns:a16="http://schemas.microsoft.com/office/drawing/2014/main" id="{2CC9EAA7-9731-487F-AB35-E7BAEF78C97F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4" name="Legend2" hidden="1">
              <a:extLst>
                <a:ext uri="{FF2B5EF4-FFF2-40B4-BE49-F238E27FC236}">
                  <a16:creationId xmlns:a16="http://schemas.microsoft.com/office/drawing/2014/main" id="{DD8C6EBD-A98D-4B2E-8677-D040F0E8F572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5" name="Legend3" hidden="1">
              <a:extLst>
                <a:ext uri="{FF2B5EF4-FFF2-40B4-BE49-F238E27FC236}">
                  <a16:creationId xmlns:a16="http://schemas.microsoft.com/office/drawing/2014/main" id="{887B4F41-0C72-4EFE-B3A6-F10A416C6717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4" hidden="1">
              <a:extLst>
                <a:ext uri="{FF2B5EF4-FFF2-40B4-BE49-F238E27FC236}">
                  <a16:creationId xmlns:a16="http://schemas.microsoft.com/office/drawing/2014/main" id="{6F884311-AA65-4C5D-B838-FAEE69C5AC71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5" hidden="1">
              <a:extLst>
                <a:ext uri="{FF2B5EF4-FFF2-40B4-BE49-F238E27FC236}">
                  <a16:creationId xmlns:a16="http://schemas.microsoft.com/office/drawing/2014/main" id="{60251D9D-8390-417F-A228-D48F7CA286FC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58" name="LegendLines" hidden="1">
            <a:extLst>
              <a:ext uri="{FF2B5EF4-FFF2-40B4-BE49-F238E27FC236}">
                <a16:creationId xmlns:a16="http://schemas.microsoft.com/office/drawing/2014/main" id="{55F75FBC-7267-4772-BC78-90BF014DBEB5}"/>
              </a:ext>
            </a:extLst>
          </p:cNvPr>
          <p:cNvGrpSpPr/>
          <p:nvPr userDrawn="1"/>
        </p:nvGrpSpPr>
        <p:grpSpPr>
          <a:xfrm>
            <a:off x="10317304" y="3150831"/>
            <a:ext cx="1319960" cy="958286"/>
            <a:chOff x="10162879" y="3243772"/>
            <a:chExt cx="1319960" cy="958286"/>
          </a:xfrm>
        </p:grpSpPr>
        <p:sp>
          <p:nvSpPr>
            <p:cNvPr id="159" name="Legend1" hidden="1">
              <a:extLst>
                <a:ext uri="{FF2B5EF4-FFF2-40B4-BE49-F238E27FC236}">
                  <a16:creationId xmlns:a16="http://schemas.microsoft.com/office/drawing/2014/main" id="{D6305ED8-A766-4C81-8A15-FD658D97AC9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0" name="Legend2" hidden="1">
              <a:extLst>
                <a:ext uri="{FF2B5EF4-FFF2-40B4-BE49-F238E27FC236}">
                  <a16:creationId xmlns:a16="http://schemas.microsoft.com/office/drawing/2014/main" id="{1D8E6026-B3DA-4A50-B7DE-FD30D0DD0C0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1" name="Legend3" hidden="1">
              <a:extLst>
                <a:ext uri="{FF2B5EF4-FFF2-40B4-BE49-F238E27FC236}">
                  <a16:creationId xmlns:a16="http://schemas.microsoft.com/office/drawing/2014/main" id="{C749015B-5DFD-44FB-A675-78E2BB7EA8E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2" name="LineLegend3" hidden="1">
              <a:extLst>
                <a:ext uri="{FF2B5EF4-FFF2-40B4-BE49-F238E27FC236}">
                  <a16:creationId xmlns:a16="http://schemas.microsoft.com/office/drawing/2014/main" id="{174A5F12-E1D5-424F-8639-AD3B66EEBF3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63" name="LineLegend2" hidden="1">
              <a:extLst>
                <a:ext uri="{FF2B5EF4-FFF2-40B4-BE49-F238E27FC236}">
                  <a16:creationId xmlns:a16="http://schemas.microsoft.com/office/drawing/2014/main" id="{8AB3C8E2-DAD7-49F4-8C97-7AB40B149D7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64" name="LineLegend1" hidden="1">
              <a:extLst>
                <a:ext uri="{FF2B5EF4-FFF2-40B4-BE49-F238E27FC236}">
                  <a16:creationId xmlns:a16="http://schemas.microsoft.com/office/drawing/2014/main" id="{D23BC853-5B82-4896-A8E7-29830F873AE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</p:grpSp>
      <p:grpSp>
        <p:nvGrpSpPr>
          <p:cNvPr id="165" name="LegendMoons" hidden="1">
            <a:extLst>
              <a:ext uri="{FF2B5EF4-FFF2-40B4-BE49-F238E27FC236}">
                <a16:creationId xmlns:a16="http://schemas.microsoft.com/office/drawing/2014/main" id="{2A8E9DC7-471C-4B9D-B1C3-71E691C37CE4}"/>
              </a:ext>
            </a:extLst>
          </p:cNvPr>
          <p:cNvGrpSpPr/>
          <p:nvPr userDrawn="1"/>
        </p:nvGrpSpPr>
        <p:grpSpPr>
          <a:xfrm>
            <a:off x="10684859" y="1146588"/>
            <a:ext cx="948949" cy="1731859"/>
            <a:chOff x="7716535" y="2630582"/>
            <a:chExt cx="948949" cy="1731859"/>
          </a:xfrm>
        </p:grpSpPr>
        <p:sp>
          <p:nvSpPr>
            <p:cNvPr id="166" name="Legend1" hidden="1">
              <a:extLst>
                <a:ext uri="{FF2B5EF4-FFF2-40B4-BE49-F238E27FC236}">
                  <a16:creationId xmlns:a16="http://schemas.microsoft.com/office/drawing/2014/main" id="{6057A30C-C617-4C3E-9CC2-33E2D4B9BAB3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7" name="Legend2" hidden="1">
              <a:extLst>
                <a:ext uri="{FF2B5EF4-FFF2-40B4-BE49-F238E27FC236}">
                  <a16:creationId xmlns:a16="http://schemas.microsoft.com/office/drawing/2014/main" id="{E4D21E66-6DBD-4F65-AB24-5986DE89550E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8" name="Legend3" hidden="1">
              <a:extLst>
                <a:ext uri="{FF2B5EF4-FFF2-40B4-BE49-F238E27FC236}">
                  <a16:creationId xmlns:a16="http://schemas.microsoft.com/office/drawing/2014/main" id="{E1EB3073-C123-46D2-8456-39107FBC7285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D877A7D0-CDF0-44DE-808D-30B87F5A6CA4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AAA6CD16-E6C1-4FD2-A146-9357B7B39913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2769EF04-22D2-41F0-9614-083A5C187B36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26F96AF0-C50A-4B8F-8347-7F8A7F3DDC89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FAD87140-0F25-456F-9677-A4DA2725BCFB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5CC0FEA5-9B05-48C2-908C-16FA6942B7F7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F75DA3E7-D454-4317-A593-750A2B666BC8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50A29B9C-29E7-4058-B465-A766A2F20C11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23FC380B-56F1-4D85-89D1-FB04604700F0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7AF2DBF5-6F29-43FC-812F-437D3205BA5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7AA9B50E-2514-4DA5-83A8-E09B982DD7EC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84259163-5803-47C2-B6DE-24D6055DCAE7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D3748736-9512-40C6-9C30-2848457455E5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DC56E157-BE6C-48BC-9763-F0CFFACE24F7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A33D987D-3003-45B0-BE77-253D62F0DC66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2B875629-C63F-4F2D-8B9E-0C3704F7C77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7F750322-50C4-48CC-AA09-E23390E4092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4" r:id="rId12"/>
    <p:sldLayoutId id="2147483895" r:id="rId13"/>
    <p:sldLayoutId id="2147483896" r:id="rId14"/>
    <p:sldLayoutId id="2147483893" r:id="rId15"/>
    <p:sldLayoutId id="2147483877" r:id="rId16"/>
    <p:sldLayoutId id="2147483878" r:id="rId17"/>
    <p:sldLayoutId id="2147483957" r:id="rId18"/>
    <p:sldLayoutId id="2147483977" r:id="rId19"/>
    <p:sldLayoutId id="2147484000" r:id="rId20"/>
    <p:sldLayoutId id="2147484001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2064" indent="-28346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0664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716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79725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4860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  <p:sldLayoutId id="2147483974" r:id="rId15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44" imgH="344" progId="TCLayout.ActiveDocument.1">
                  <p:embed/>
                </p:oleObj>
              </mc:Choice>
              <mc:Fallback>
                <p:oleObj name="think-cell Slide" r:id="rId4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7793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90" r:id="rId12"/>
    <p:sldLayoutId id="2147483991" r:id="rId13"/>
    <p:sldLayoutId id="2147483992" r:id="rId14"/>
    <p:sldLayoutId id="2147483993" r:id="rId15"/>
    <p:sldLayoutId id="2147483994" r:id="rId16"/>
    <p:sldLayoutId id="2147483995" r:id="rId17"/>
    <p:sldLayoutId id="2147483996" r:id="rId18"/>
    <p:sldLayoutId id="2147483997" r:id="rId19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64046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592" imgH="591" progId="TCLayout.ActiveDocument.1">
                  <p:embed/>
                </p:oleObj>
              </mc:Choice>
              <mc:Fallback>
                <p:oleObj name="think-cell Slide" r:id="rId2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320440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144" name="SlideLogoText">
            <a:extLst>
              <a:ext uri="{FF2B5EF4-FFF2-40B4-BE49-F238E27FC236}">
                <a16:creationId xmlns:a16="http://schemas.microsoft.com/office/drawing/2014/main" id="{6079B92B-B06C-4258-9E1C-3881DC358B9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  <p:sp>
        <p:nvSpPr>
          <p:cNvPr id="146" name="Text Placeholder 4">
            <a:extLst>
              <a:ext uri="{FF2B5EF4-FFF2-40B4-BE49-F238E27FC236}">
                <a16:creationId xmlns:a16="http://schemas.microsoft.com/office/drawing/2014/main" id="{F22C0A1A-93A1-487B-8863-4F7560F9AA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5" y="2260021"/>
            <a:ext cx="460174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7" name="LegendBoxes" hidden="1">
            <a:extLst>
              <a:ext uri="{FF2B5EF4-FFF2-40B4-BE49-F238E27FC236}">
                <a16:creationId xmlns:a16="http://schemas.microsoft.com/office/drawing/2014/main" id="{2D73408D-CD62-41BB-B1DB-4E0F325E2C7C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554770" y="4322824"/>
            <a:chExt cx="922463" cy="1717282"/>
          </a:xfrm>
        </p:grpSpPr>
        <p:sp>
          <p:nvSpPr>
            <p:cNvPr id="148" name="RectangleLegend1" hidden="1">
              <a:extLst>
                <a:ext uri="{FF2B5EF4-FFF2-40B4-BE49-F238E27FC236}">
                  <a16:creationId xmlns:a16="http://schemas.microsoft.com/office/drawing/2014/main" id="{91D1BAB4-5F56-44D0-9783-8E18C01C9B96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2" hidden="1">
              <a:extLst>
                <a:ext uri="{FF2B5EF4-FFF2-40B4-BE49-F238E27FC236}">
                  <a16:creationId xmlns:a16="http://schemas.microsoft.com/office/drawing/2014/main" id="{951D7D13-1BCF-4D28-A57A-EDE3EA26BA4D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3" hidden="1">
              <a:extLst>
                <a:ext uri="{FF2B5EF4-FFF2-40B4-BE49-F238E27FC236}">
                  <a16:creationId xmlns:a16="http://schemas.microsoft.com/office/drawing/2014/main" id="{746AD11C-ACB1-46E1-84D9-40B90064FB75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4" hidden="1">
              <a:extLst>
                <a:ext uri="{FF2B5EF4-FFF2-40B4-BE49-F238E27FC236}">
                  <a16:creationId xmlns:a16="http://schemas.microsoft.com/office/drawing/2014/main" id="{8A066E9A-1B9B-4219-833A-B063F7B374FF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2" name="RectangleLegend5" hidden="1">
              <a:extLst>
                <a:ext uri="{FF2B5EF4-FFF2-40B4-BE49-F238E27FC236}">
                  <a16:creationId xmlns:a16="http://schemas.microsoft.com/office/drawing/2014/main" id="{E1858556-6678-4C8D-B559-3246911734DA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3" name="Legend1" hidden="1">
              <a:extLst>
                <a:ext uri="{FF2B5EF4-FFF2-40B4-BE49-F238E27FC236}">
                  <a16:creationId xmlns:a16="http://schemas.microsoft.com/office/drawing/2014/main" id="{2CC9EAA7-9731-487F-AB35-E7BAEF78C97F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4" name="Legend2" hidden="1">
              <a:extLst>
                <a:ext uri="{FF2B5EF4-FFF2-40B4-BE49-F238E27FC236}">
                  <a16:creationId xmlns:a16="http://schemas.microsoft.com/office/drawing/2014/main" id="{DD8C6EBD-A98D-4B2E-8677-D040F0E8F572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5" name="Legend3" hidden="1">
              <a:extLst>
                <a:ext uri="{FF2B5EF4-FFF2-40B4-BE49-F238E27FC236}">
                  <a16:creationId xmlns:a16="http://schemas.microsoft.com/office/drawing/2014/main" id="{887B4F41-0C72-4EFE-B3A6-F10A416C6717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4" hidden="1">
              <a:extLst>
                <a:ext uri="{FF2B5EF4-FFF2-40B4-BE49-F238E27FC236}">
                  <a16:creationId xmlns:a16="http://schemas.microsoft.com/office/drawing/2014/main" id="{6F884311-AA65-4C5D-B838-FAEE69C5AC71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5" hidden="1">
              <a:extLst>
                <a:ext uri="{FF2B5EF4-FFF2-40B4-BE49-F238E27FC236}">
                  <a16:creationId xmlns:a16="http://schemas.microsoft.com/office/drawing/2014/main" id="{60251D9D-8390-417F-A228-D48F7CA286FC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58" name="LegendLines" hidden="1">
            <a:extLst>
              <a:ext uri="{FF2B5EF4-FFF2-40B4-BE49-F238E27FC236}">
                <a16:creationId xmlns:a16="http://schemas.microsoft.com/office/drawing/2014/main" id="{55F75FBC-7267-4772-BC78-90BF014DBEB5}"/>
              </a:ext>
            </a:extLst>
          </p:cNvPr>
          <p:cNvGrpSpPr/>
          <p:nvPr userDrawn="1"/>
        </p:nvGrpSpPr>
        <p:grpSpPr>
          <a:xfrm>
            <a:off x="10317304" y="3150831"/>
            <a:ext cx="1319960" cy="958286"/>
            <a:chOff x="10162879" y="3243772"/>
            <a:chExt cx="1319960" cy="958286"/>
          </a:xfrm>
        </p:grpSpPr>
        <p:sp>
          <p:nvSpPr>
            <p:cNvPr id="159" name="Legend1" hidden="1">
              <a:extLst>
                <a:ext uri="{FF2B5EF4-FFF2-40B4-BE49-F238E27FC236}">
                  <a16:creationId xmlns:a16="http://schemas.microsoft.com/office/drawing/2014/main" id="{D6305ED8-A766-4C81-8A15-FD658D97AC9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0" name="Legend2" hidden="1">
              <a:extLst>
                <a:ext uri="{FF2B5EF4-FFF2-40B4-BE49-F238E27FC236}">
                  <a16:creationId xmlns:a16="http://schemas.microsoft.com/office/drawing/2014/main" id="{1D8E6026-B3DA-4A50-B7DE-FD30D0DD0C0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1" name="Legend3" hidden="1">
              <a:extLst>
                <a:ext uri="{FF2B5EF4-FFF2-40B4-BE49-F238E27FC236}">
                  <a16:creationId xmlns:a16="http://schemas.microsoft.com/office/drawing/2014/main" id="{C749015B-5DFD-44FB-A675-78E2BB7EA8E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2" name="LineLegend3" hidden="1">
              <a:extLst>
                <a:ext uri="{FF2B5EF4-FFF2-40B4-BE49-F238E27FC236}">
                  <a16:creationId xmlns:a16="http://schemas.microsoft.com/office/drawing/2014/main" id="{174A5F12-E1D5-424F-8639-AD3B66EEBF3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63" name="LineLegend2" hidden="1">
              <a:extLst>
                <a:ext uri="{FF2B5EF4-FFF2-40B4-BE49-F238E27FC236}">
                  <a16:creationId xmlns:a16="http://schemas.microsoft.com/office/drawing/2014/main" id="{8AB3C8E2-DAD7-49F4-8C97-7AB40B149D7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64" name="LineLegend1" hidden="1">
              <a:extLst>
                <a:ext uri="{FF2B5EF4-FFF2-40B4-BE49-F238E27FC236}">
                  <a16:creationId xmlns:a16="http://schemas.microsoft.com/office/drawing/2014/main" id="{D23BC853-5B82-4896-A8E7-29830F873AE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</p:grpSp>
      <p:grpSp>
        <p:nvGrpSpPr>
          <p:cNvPr id="165" name="LegendMoons" hidden="1">
            <a:extLst>
              <a:ext uri="{FF2B5EF4-FFF2-40B4-BE49-F238E27FC236}">
                <a16:creationId xmlns:a16="http://schemas.microsoft.com/office/drawing/2014/main" id="{2A8E9DC7-471C-4B9D-B1C3-71E691C37CE4}"/>
              </a:ext>
            </a:extLst>
          </p:cNvPr>
          <p:cNvGrpSpPr/>
          <p:nvPr userDrawn="1"/>
        </p:nvGrpSpPr>
        <p:grpSpPr>
          <a:xfrm>
            <a:off x="10684859" y="1146588"/>
            <a:ext cx="948949" cy="1731859"/>
            <a:chOff x="7716535" y="2630582"/>
            <a:chExt cx="948949" cy="1731859"/>
          </a:xfrm>
        </p:grpSpPr>
        <p:sp>
          <p:nvSpPr>
            <p:cNvPr id="166" name="Legend1" hidden="1">
              <a:extLst>
                <a:ext uri="{FF2B5EF4-FFF2-40B4-BE49-F238E27FC236}">
                  <a16:creationId xmlns:a16="http://schemas.microsoft.com/office/drawing/2014/main" id="{6057A30C-C617-4C3E-9CC2-33E2D4B9BAB3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7" name="Legend2" hidden="1">
              <a:extLst>
                <a:ext uri="{FF2B5EF4-FFF2-40B4-BE49-F238E27FC236}">
                  <a16:creationId xmlns:a16="http://schemas.microsoft.com/office/drawing/2014/main" id="{E4D21E66-6DBD-4F65-AB24-5986DE89550E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8" name="Legend3" hidden="1">
              <a:extLst>
                <a:ext uri="{FF2B5EF4-FFF2-40B4-BE49-F238E27FC236}">
                  <a16:creationId xmlns:a16="http://schemas.microsoft.com/office/drawing/2014/main" id="{E1EB3073-C123-46D2-8456-39107FBC7285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D877A7D0-CDF0-44DE-808D-30B87F5A6CA4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AAA6CD16-E6C1-4FD2-A146-9357B7B39913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2769EF04-22D2-41F0-9614-083A5C187B36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26F96AF0-C50A-4B8F-8347-7F8A7F3DDC89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FAD87140-0F25-456F-9677-A4DA2725BCFB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5CC0FEA5-9B05-48C2-908C-16FA6942B7F7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F75DA3E7-D454-4317-A593-750A2B666BC8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50A29B9C-29E7-4058-B465-A766A2F20C11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23FC380B-56F1-4D85-89D1-FB04604700F0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7AF2DBF5-6F29-43FC-812F-437D3205BA55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7AA9B50E-2514-4DA5-83A8-E09B982DD7EC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84259163-5803-47C2-B6DE-24D6055DCAE7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D3748736-9512-40C6-9C30-2848457455E5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DC56E157-BE6C-48BC-9763-F0CFFACE24F7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A33D987D-3003-45B0-BE77-253D62F0DC66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2B875629-C63F-4F2D-8B9E-0C3704F7C77D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7F750322-50C4-48CC-AA09-E23390E40920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67444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2064" indent="-28346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0664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716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5FAA128-D208-4747-4C93-BE7272936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6940469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7772400" imgH="10058400" progId="TCLayout.ActiveDocument.1">
                  <p:embed/>
                </p:oleObj>
              </mc:Choice>
              <mc:Fallback>
                <p:oleObj name="think-cell Slide" r:id="rId2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32751436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  <p:sldLayoutId id="2147484010" r:id="rId8"/>
    <p:sldLayoutId id="2147484011" r:id="rId9"/>
    <p:sldLayoutId id="2147484012" r:id="rId10"/>
    <p:sldLayoutId id="2147484013" r:id="rId11"/>
    <p:sldLayoutId id="2147484014" r:id="rId12"/>
    <p:sldLayoutId id="2147484015" r:id="rId13"/>
    <p:sldLayoutId id="2147484016" r:id="rId14"/>
    <p:sldLayoutId id="2147484017" r:id="rId15"/>
    <p:sldLayoutId id="2147484018" r:id="rId16"/>
    <p:sldLayoutId id="2147484019" r:id="rId1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B892B43-9213-7837-A95A-355A02BC44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217804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7772400" imgH="10058400" progId="TCLayout.ActiveDocument.1">
                  <p:embed/>
                </p:oleObj>
              </mc:Choice>
              <mc:Fallback>
                <p:oleObj name="think-cell Slide" r:id="rId2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7036093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  <p:sldLayoutId id="2147484036" r:id="rId16"/>
    <p:sldLayoutId id="2147484037" r:id="rId1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microsoft.com/office/2007/relationships/hdphoto" Target="../media/hdphoto1.wdp"/><Relationship Id="rId3" Type="http://schemas.openxmlformats.org/officeDocument/2006/relationships/tags" Target="../tags/tag639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26.png"/><Relationship Id="rId2" Type="http://schemas.openxmlformats.org/officeDocument/2006/relationships/tags" Target="../tags/tag638.xml"/><Relationship Id="rId1" Type="http://schemas.openxmlformats.org/officeDocument/2006/relationships/tags" Target="../tags/tag637.xml"/><Relationship Id="rId6" Type="http://schemas.openxmlformats.org/officeDocument/2006/relationships/tags" Target="../tags/tag642.xml"/><Relationship Id="rId11" Type="http://schemas.openxmlformats.org/officeDocument/2006/relationships/image" Target="../media/image25.jpeg"/><Relationship Id="rId5" Type="http://schemas.openxmlformats.org/officeDocument/2006/relationships/tags" Target="../tags/tag641.xml"/><Relationship Id="rId10" Type="http://schemas.openxmlformats.org/officeDocument/2006/relationships/image" Target="../media/image2.emf"/><Relationship Id="rId4" Type="http://schemas.openxmlformats.org/officeDocument/2006/relationships/tags" Target="../tags/tag640.xml"/><Relationship Id="rId9" Type="http://schemas.openxmlformats.org/officeDocument/2006/relationships/oleObject" Target="../embeddings/oleObject66.bin"/><Relationship Id="rId14" Type="http://schemas.openxmlformats.org/officeDocument/2006/relationships/image" Target="../media/image2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0.xml"/><Relationship Id="rId4" Type="http://schemas.openxmlformats.org/officeDocument/2006/relationships/image" Target="../media/image29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g"/><Relationship Id="rId13" Type="http://schemas.openxmlformats.org/officeDocument/2006/relationships/image" Target="../media/image88.png"/><Relationship Id="rId3" Type="http://schemas.openxmlformats.org/officeDocument/2006/relationships/image" Target="../media/image21.png"/><Relationship Id="rId7" Type="http://schemas.openxmlformats.org/officeDocument/2006/relationships/image" Target="../media/image82.png"/><Relationship Id="rId12" Type="http://schemas.openxmlformats.org/officeDocument/2006/relationships/image" Target="../media/image87.png"/><Relationship Id="rId17" Type="http://schemas.openxmlformats.org/officeDocument/2006/relationships/image" Target="../media/image92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91.png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81.jpg"/><Relationship Id="rId11" Type="http://schemas.openxmlformats.org/officeDocument/2006/relationships/image" Target="../media/image86.png"/><Relationship Id="rId5" Type="http://schemas.openxmlformats.org/officeDocument/2006/relationships/image" Target="../media/image80.jpg"/><Relationship Id="rId15" Type="http://schemas.openxmlformats.org/officeDocument/2006/relationships/image" Target="../media/image90.png"/><Relationship Id="rId10" Type="http://schemas.openxmlformats.org/officeDocument/2006/relationships/image" Target="../media/image85.jpg"/><Relationship Id="rId4" Type="http://schemas.openxmlformats.org/officeDocument/2006/relationships/image" Target="../media/image79.jpg"/><Relationship Id="rId9" Type="http://schemas.openxmlformats.org/officeDocument/2006/relationships/image" Target="../media/image84.png"/><Relationship Id="rId14" Type="http://schemas.openxmlformats.org/officeDocument/2006/relationships/image" Target="../media/image8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9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8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8.xml"/><Relationship Id="rId5" Type="http://schemas.openxmlformats.org/officeDocument/2006/relationships/image" Target="../media/image96.png"/><Relationship Id="rId4" Type="http://schemas.openxmlformats.org/officeDocument/2006/relationships/hyperlink" Target="https://chat.mistral.ai/chat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97.png"/><Relationship Id="rId7" Type="http://schemas.openxmlformats.org/officeDocument/2006/relationships/image" Target="../media/image88.png"/><Relationship Id="rId12" Type="http://schemas.openxmlformats.org/officeDocument/2006/relationships/image" Target="../media/image10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3.xml"/><Relationship Id="rId6" Type="http://schemas.openxmlformats.org/officeDocument/2006/relationships/image" Target="../media/image87.png"/><Relationship Id="rId11" Type="http://schemas.openxmlformats.org/officeDocument/2006/relationships/image" Target="../media/image102.png"/><Relationship Id="rId5" Type="http://schemas.openxmlformats.org/officeDocument/2006/relationships/image" Target="../media/image99.jpg"/><Relationship Id="rId10" Type="http://schemas.openxmlformats.org/officeDocument/2006/relationships/image" Target="../media/image101.png"/><Relationship Id="rId4" Type="http://schemas.openxmlformats.org/officeDocument/2006/relationships/image" Target="../media/image98.jpg"/><Relationship Id="rId9" Type="http://schemas.openxmlformats.org/officeDocument/2006/relationships/image" Target="../media/image10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1.xml"/><Relationship Id="rId4" Type="http://schemas.openxmlformats.org/officeDocument/2006/relationships/image" Target="../media/image29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759.xml"/><Relationship Id="rId13" Type="http://schemas.openxmlformats.org/officeDocument/2006/relationships/notesSlide" Target="../notesSlides/notesSlide10.xml"/><Relationship Id="rId3" Type="http://schemas.openxmlformats.org/officeDocument/2006/relationships/tags" Target="../tags/tag754.xml"/><Relationship Id="rId7" Type="http://schemas.openxmlformats.org/officeDocument/2006/relationships/tags" Target="../tags/tag758.xml"/><Relationship Id="rId12" Type="http://schemas.openxmlformats.org/officeDocument/2006/relationships/slideLayout" Target="../slideLayouts/slideLayout17.xml"/><Relationship Id="rId2" Type="http://schemas.openxmlformats.org/officeDocument/2006/relationships/tags" Target="../tags/tag753.xml"/><Relationship Id="rId16" Type="http://schemas.openxmlformats.org/officeDocument/2006/relationships/chart" Target="../charts/chart1.xml"/><Relationship Id="rId1" Type="http://schemas.openxmlformats.org/officeDocument/2006/relationships/tags" Target="../tags/tag752.xml"/><Relationship Id="rId6" Type="http://schemas.openxmlformats.org/officeDocument/2006/relationships/tags" Target="../tags/tag757.xml"/><Relationship Id="rId11" Type="http://schemas.openxmlformats.org/officeDocument/2006/relationships/tags" Target="../tags/tag762.xml"/><Relationship Id="rId5" Type="http://schemas.openxmlformats.org/officeDocument/2006/relationships/tags" Target="../tags/tag756.xml"/><Relationship Id="rId15" Type="http://schemas.openxmlformats.org/officeDocument/2006/relationships/image" Target="../media/image104.emf"/><Relationship Id="rId10" Type="http://schemas.openxmlformats.org/officeDocument/2006/relationships/tags" Target="../tags/tag761.xml"/><Relationship Id="rId4" Type="http://schemas.openxmlformats.org/officeDocument/2006/relationships/tags" Target="../tags/tag755.xml"/><Relationship Id="rId9" Type="http://schemas.openxmlformats.org/officeDocument/2006/relationships/tags" Target="../tags/tag760.xml"/><Relationship Id="rId14" Type="http://schemas.openxmlformats.org/officeDocument/2006/relationships/oleObject" Target="../embeddings/oleObject76.bin"/></Relationships>
</file>

<file path=ppt/slides/_rels/slide17.xml.rels><?xml version="1.0" encoding="UTF-8" standalone="yes"?>
<Relationships xmlns="http://schemas.openxmlformats.org/package/2006/relationships"><Relationship Id="rId26" Type="http://schemas.openxmlformats.org/officeDocument/2006/relationships/tags" Target="../tags/tag788.xml"/><Relationship Id="rId21" Type="http://schemas.openxmlformats.org/officeDocument/2006/relationships/tags" Target="../tags/tag783.xml"/><Relationship Id="rId42" Type="http://schemas.openxmlformats.org/officeDocument/2006/relationships/tags" Target="../tags/tag804.xml"/><Relationship Id="rId47" Type="http://schemas.openxmlformats.org/officeDocument/2006/relationships/tags" Target="../tags/tag809.xml"/><Relationship Id="rId63" Type="http://schemas.openxmlformats.org/officeDocument/2006/relationships/image" Target="../media/image110.svg"/><Relationship Id="rId68" Type="http://schemas.openxmlformats.org/officeDocument/2006/relationships/image" Target="../media/image115.png"/><Relationship Id="rId84" Type="http://schemas.openxmlformats.org/officeDocument/2006/relationships/image" Target="../media/image130.svg"/><Relationship Id="rId89" Type="http://schemas.openxmlformats.org/officeDocument/2006/relationships/image" Target="../media/image135.png"/><Relationship Id="rId16" Type="http://schemas.openxmlformats.org/officeDocument/2006/relationships/tags" Target="../tags/tag778.xml"/><Relationship Id="rId11" Type="http://schemas.openxmlformats.org/officeDocument/2006/relationships/tags" Target="../tags/tag773.xml"/><Relationship Id="rId32" Type="http://schemas.openxmlformats.org/officeDocument/2006/relationships/tags" Target="../tags/tag794.xml"/><Relationship Id="rId37" Type="http://schemas.openxmlformats.org/officeDocument/2006/relationships/tags" Target="../tags/tag799.xml"/><Relationship Id="rId53" Type="http://schemas.openxmlformats.org/officeDocument/2006/relationships/tags" Target="../tags/tag815.xml"/><Relationship Id="rId58" Type="http://schemas.openxmlformats.org/officeDocument/2006/relationships/image" Target="../media/image105.png"/><Relationship Id="rId74" Type="http://schemas.openxmlformats.org/officeDocument/2006/relationships/image" Target="../media/image121.png"/><Relationship Id="rId79" Type="http://schemas.openxmlformats.org/officeDocument/2006/relationships/image" Target="../media/image126.svg"/><Relationship Id="rId5" Type="http://schemas.openxmlformats.org/officeDocument/2006/relationships/tags" Target="../tags/tag767.xml"/><Relationship Id="rId90" Type="http://schemas.openxmlformats.org/officeDocument/2006/relationships/image" Target="../media/image136.svg"/><Relationship Id="rId95" Type="http://schemas.openxmlformats.org/officeDocument/2006/relationships/image" Target="../media/image141.png"/><Relationship Id="rId22" Type="http://schemas.openxmlformats.org/officeDocument/2006/relationships/tags" Target="../tags/tag784.xml"/><Relationship Id="rId27" Type="http://schemas.openxmlformats.org/officeDocument/2006/relationships/tags" Target="../tags/tag789.xml"/><Relationship Id="rId43" Type="http://schemas.openxmlformats.org/officeDocument/2006/relationships/tags" Target="../tags/tag805.xml"/><Relationship Id="rId48" Type="http://schemas.openxmlformats.org/officeDocument/2006/relationships/tags" Target="../tags/tag810.xml"/><Relationship Id="rId64" Type="http://schemas.openxmlformats.org/officeDocument/2006/relationships/image" Target="../media/image111.png"/><Relationship Id="rId69" Type="http://schemas.openxmlformats.org/officeDocument/2006/relationships/image" Target="../media/image116.svg"/><Relationship Id="rId80" Type="http://schemas.openxmlformats.org/officeDocument/2006/relationships/chart" Target="../charts/chart2.xml"/><Relationship Id="rId85" Type="http://schemas.openxmlformats.org/officeDocument/2006/relationships/image" Target="../media/image131.png"/><Relationship Id="rId3" Type="http://schemas.openxmlformats.org/officeDocument/2006/relationships/tags" Target="../tags/tag765.xml"/><Relationship Id="rId12" Type="http://schemas.openxmlformats.org/officeDocument/2006/relationships/tags" Target="../tags/tag774.xml"/><Relationship Id="rId17" Type="http://schemas.openxmlformats.org/officeDocument/2006/relationships/tags" Target="../tags/tag779.xml"/><Relationship Id="rId25" Type="http://schemas.openxmlformats.org/officeDocument/2006/relationships/tags" Target="../tags/tag787.xml"/><Relationship Id="rId33" Type="http://schemas.openxmlformats.org/officeDocument/2006/relationships/tags" Target="../tags/tag795.xml"/><Relationship Id="rId38" Type="http://schemas.openxmlformats.org/officeDocument/2006/relationships/tags" Target="../tags/tag800.xml"/><Relationship Id="rId46" Type="http://schemas.openxmlformats.org/officeDocument/2006/relationships/tags" Target="../tags/tag808.xml"/><Relationship Id="rId59" Type="http://schemas.openxmlformats.org/officeDocument/2006/relationships/image" Target="../media/image106.svg"/><Relationship Id="rId67" Type="http://schemas.openxmlformats.org/officeDocument/2006/relationships/image" Target="../media/image114.svg"/><Relationship Id="rId20" Type="http://schemas.openxmlformats.org/officeDocument/2006/relationships/tags" Target="../tags/tag782.xml"/><Relationship Id="rId41" Type="http://schemas.openxmlformats.org/officeDocument/2006/relationships/tags" Target="../tags/tag803.xml"/><Relationship Id="rId54" Type="http://schemas.openxmlformats.org/officeDocument/2006/relationships/slideLayout" Target="../slideLayouts/slideLayout17.xml"/><Relationship Id="rId62" Type="http://schemas.openxmlformats.org/officeDocument/2006/relationships/image" Target="../media/image109.png"/><Relationship Id="rId70" Type="http://schemas.openxmlformats.org/officeDocument/2006/relationships/image" Target="../media/image117.png"/><Relationship Id="rId75" Type="http://schemas.openxmlformats.org/officeDocument/2006/relationships/image" Target="../media/image122.svg"/><Relationship Id="rId83" Type="http://schemas.openxmlformats.org/officeDocument/2006/relationships/image" Target="../media/image129.png"/><Relationship Id="rId88" Type="http://schemas.openxmlformats.org/officeDocument/2006/relationships/image" Target="../media/image134.svg"/><Relationship Id="rId91" Type="http://schemas.openxmlformats.org/officeDocument/2006/relationships/image" Target="../media/image137.png"/><Relationship Id="rId96" Type="http://schemas.openxmlformats.org/officeDocument/2006/relationships/image" Target="../media/image142.svg"/><Relationship Id="rId1" Type="http://schemas.openxmlformats.org/officeDocument/2006/relationships/tags" Target="../tags/tag763.xml"/><Relationship Id="rId6" Type="http://schemas.openxmlformats.org/officeDocument/2006/relationships/tags" Target="../tags/tag768.xml"/><Relationship Id="rId15" Type="http://schemas.openxmlformats.org/officeDocument/2006/relationships/tags" Target="../tags/tag777.xml"/><Relationship Id="rId23" Type="http://schemas.openxmlformats.org/officeDocument/2006/relationships/tags" Target="../tags/tag785.xml"/><Relationship Id="rId28" Type="http://schemas.openxmlformats.org/officeDocument/2006/relationships/tags" Target="../tags/tag790.xml"/><Relationship Id="rId36" Type="http://schemas.openxmlformats.org/officeDocument/2006/relationships/tags" Target="../tags/tag798.xml"/><Relationship Id="rId49" Type="http://schemas.openxmlformats.org/officeDocument/2006/relationships/tags" Target="../tags/tag811.xml"/><Relationship Id="rId57" Type="http://schemas.openxmlformats.org/officeDocument/2006/relationships/image" Target="../media/image9.emf"/><Relationship Id="rId10" Type="http://schemas.openxmlformats.org/officeDocument/2006/relationships/tags" Target="../tags/tag772.xml"/><Relationship Id="rId31" Type="http://schemas.openxmlformats.org/officeDocument/2006/relationships/tags" Target="../tags/tag793.xml"/><Relationship Id="rId44" Type="http://schemas.openxmlformats.org/officeDocument/2006/relationships/tags" Target="../tags/tag806.xml"/><Relationship Id="rId52" Type="http://schemas.openxmlformats.org/officeDocument/2006/relationships/tags" Target="../tags/tag814.xml"/><Relationship Id="rId60" Type="http://schemas.openxmlformats.org/officeDocument/2006/relationships/image" Target="../media/image107.png"/><Relationship Id="rId65" Type="http://schemas.openxmlformats.org/officeDocument/2006/relationships/image" Target="../media/image112.svg"/><Relationship Id="rId73" Type="http://schemas.openxmlformats.org/officeDocument/2006/relationships/image" Target="../media/image120.svg"/><Relationship Id="rId78" Type="http://schemas.openxmlformats.org/officeDocument/2006/relationships/image" Target="../media/image125.png"/><Relationship Id="rId81" Type="http://schemas.openxmlformats.org/officeDocument/2006/relationships/image" Target="../media/image127.png"/><Relationship Id="rId86" Type="http://schemas.openxmlformats.org/officeDocument/2006/relationships/image" Target="../media/image132.svg"/><Relationship Id="rId94" Type="http://schemas.openxmlformats.org/officeDocument/2006/relationships/image" Target="../media/image140.svg"/><Relationship Id="rId99" Type="http://schemas.openxmlformats.org/officeDocument/2006/relationships/image" Target="../media/image145.png"/><Relationship Id="rId4" Type="http://schemas.openxmlformats.org/officeDocument/2006/relationships/tags" Target="../tags/tag766.xml"/><Relationship Id="rId9" Type="http://schemas.openxmlformats.org/officeDocument/2006/relationships/tags" Target="../tags/tag771.xml"/><Relationship Id="rId13" Type="http://schemas.openxmlformats.org/officeDocument/2006/relationships/tags" Target="../tags/tag775.xml"/><Relationship Id="rId18" Type="http://schemas.openxmlformats.org/officeDocument/2006/relationships/tags" Target="../tags/tag780.xml"/><Relationship Id="rId39" Type="http://schemas.openxmlformats.org/officeDocument/2006/relationships/tags" Target="../tags/tag801.xml"/><Relationship Id="rId34" Type="http://schemas.openxmlformats.org/officeDocument/2006/relationships/tags" Target="../tags/tag796.xml"/><Relationship Id="rId50" Type="http://schemas.openxmlformats.org/officeDocument/2006/relationships/tags" Target="../tags/tag812.xml"/><Relationship Id="rId55" Type="http://schemas.openxmlformats.org/officeDocument/2006/relationships/notesSlide" Target="../notesSlides/notesSlide11.xml"/><Relationship Id="rId76" Type="http://schemas.openxmlformats.org/officeDocument/2006/relationships/image" Target="../media/image123.png"/><Relationship Id="rId97" Type="http://schemas.openxmlformats.org/officeDocument/2006/relationships/image" Target="../media/image143.png"/><Relationship Id="rId7" Type="http://schemas.openxmlformats.org/officeDocument/2006/relationships/tags" Target="../tags/tag769.xml"/><Relationship Id="rId71" Type="http://schemas.openxmlformats.org/officeDocument/2006/relationships/image" Target="../media/image118.svg"/><Relationship Id="rId92" Type="http://schemas.openxmlformats.org/officeDocument/2006/relationships/image" Target="../media/image138.svg"/><Relationship Id="rId2" Type="http://schemas.openxmlformats.org/officeDocument/2006/relationships/tags" Target="../tags/tag764.xml"/><Relationship Id="rId29" Type="http://schemas.openxmlformats.org/officeDocument/2006/relationships/tags" Target="../tags/tag791.xml"/><Relationship Id="rId24" Type="http://schemas.openxmlformats.org/officeDocument/2006/relationships/tags" Target="../tags/tag786.xml"/><Relationship Id="rId40" Type="http://schemas.openxmlformats.org/officeDocument/2006/relationships/tags" Target="../tags/tag802.xml"/><Relationship Id="rId45" Type="http://schemas.openxmlformats.org/officeDocument/2006/relationships/tags" Target="../tags/tag807.xml"/><Relationship Id="rId66" Type="http://schemas.openxmlformats.org/officeDocument/2006/relationships/image" Target="../media/image113.png"/><Relationship Id="rId87" Type="http://schemas.openxmlformats.org/officeDocument/2006/relationships/image" Target="../media/image133.png"/><Relationship Id="rId61" Type="http://schemas.openxmlformats.org/officeDocument/2006/relationships/image" Target="../media/image108.svg"/><Relationship Id="rId82" Type="http://schemas.openxmlformats.org/officeDocument/2006/relationships/image" Target="../media/image128.svg"/><Relationship Id="rId19" Type="http://schemas.openxmlformats.org/officeDocument/2006/relationships/tags" Target="../tags/tag781.xml"/><Relationship Id="rId14" Type="http://schemas.openxmlformats.org/officeDocument/2006/relationships/tags" Target="../tags/tag776.xml"/><Relationship Id="rId30" Type="http://schemas.openxmlformats.org/officeDocument/2006/relationships/tags" Target="../tags/tag792.xml"/><Relationship Id="rId35" Type="http://schemas.openxmlformats.org/officeDocument/2006/relationships/tags" Target="../tags/tag797.xml"/><Relationship Id="rId56" Type="http://schemas.openxmlformats.org/officeDocument/2006/relationships/oleObject" Target="../embeddings/oleObject77.bin"/><Relationship Id="rId77" Type="http://schemas.openxmlformats.org/officeDocument/2006/relationships/image" Target="../media/image124.svg"/><Relationship Id="rId100" Type="http://schemas.openxmlformats.org/officeDocument/2006/relationships/image" Target="../media/image146.svg"/><Relationship Id="rId8" Type="http://schemas.openxmlformats.org/officeDocument/2006/relationships/tags" Target="../tags/tag770.xml"/><Relationship Id="rId51" Type="http://schemas.openxmlformats.org/officeDocument/2006/relationships/tags" Target="../tags/tag813.xml"/><Relationship Id="rId72" Type="http://schemas.openxmlformats.org/officeDocument/2006/relationships/image" Target="../media/image119.png"/><Relationship Id="rId93" Type="http://schemas.openxmlformats.org/officeDocument/2006/relationships/image" Target="../media/image139.png"/><Relationship Id="rId98" Type="http://schemas.openxmlformats.org/officeDocument/2006/relationships/image" Target="../media/image144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23.xml"/><Relationship Id="rId13" Type="http://schemas.openxmlformats.org/officeDocument/2006/relationships/tags" Target="../tags/tag828.xml"/><Relationship Id="rId3" Type="http://schemas.openxmlformats.org/officeDocument/2006/relationships/tags" Target="../tags/tag818.xml"/><Relationship Id="rId7" Type="http://schemas.openxmlformats.org/officeDocument/2006/relationships/tags" Target="../tags/tag822.xml"/><Relationship Id="rId12" Type="http://schemas.openxmlformats.org/officeDocument/2006/relationships/tags" Target="../tags/tag827.xml"/><Relationship Id="rId17" Type="http://schemas.openxmlformats.org/officeDocument/2006/relationships/image" Target="../media/image62.emf"/><Relationship Id="rId2" Type="http://schemas.openxmlformats.org/officeDocument/2006/relationships/tags" Target="../tags/tag817.xml"/><Relationship Id="rId16" Type="http://schemas.openxmlformats.org/officeDocument/2006/relationships/oleObject" Target="../embeddings/oleObject78.bin"/><Relationship Id="rId1" Type="http://schemas.openxmlformats.org/officeDocument/2006/relationships/tags" Target="../tags/tag816.xml"/><Relationship Id="rId6" Type="http://schemas.openxmlformats.org/officeDocument/2006/relationships/tags" Target="../tags/tag821.xml"/><Relationship Id="rId11" Type="http://schemas.openxmlformats.org/officeDocument/2006/relationships/tags" Target="../tags/tag826.xml"/><Relationship Id="rId5" Type="http://schemas.openxmlformats.org/officeDocument/2006/relationships/tags" Target="../tags/tag820.xml"/><Relationship Id="rId15" Type="http://schemas.openxmlformats.org/officeDocument/2006/relationships/notesSlide" Target="../notesSlides/notesSlide12.xml"/><Relationship Id="rId10" Type="http://schemas.openxmlformats.org/officeDocument/2006/relationships/tags" Target="../tags/tag825.xml"/><Relationship Id="rId4" Type="http://schemas.openxmlformats.org/officeDocument/2006/relationships/tags" Target="../tags/tag819.xml"/><Relationship Id="rId9" Type="http://schemas.openxmlformats.org/officeDocument/2006/relationships/tags" Target="../tags/tag824.xml"/><Relationship Id="rId14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836.xml"/><Relationship Id="rId3" Type="http://schemas.openxmlformats.org/officeDocument/2006/relationships/tags" Target="../tags/tag831.xml"/><Relationship Id="rId7" Type="http://schemas.openxmlformats.org/officeDocument/2006/relationships/tags" Target="../tags/tag835.xml"/><Relationship Id="rId12" Type="http://schemas.openxmlformats.org/officeDocument/2006/relationships/image" Target="../media/image9.emf"/><Relationship Id="rId2" Type="http://schemas.openxmlformats.org/officeDocument/2006/relationships/tags" Target="../tags/tag830.xml"/><Relationship Id="rId1" Type="http://schemas.openxmlformats.org/officeDocument/2006/relationships/tags" Target="../tags/tag829.xml"/><Relationship Id="rId6" Type="http://schemas.openxmlformats.org/officeDocument/2006/relationships/tags" Target="../tags/tag834.xml"/><Relationship Id="rId11" Type="http://schemas.openxmlformats.org/officeDocument/2006/relationships/oleObject" Target="../embeddings/oleObject79.bin"/><Relationship Id="rId5" Type="http://schemas.openxmlformats.org/officeDocument/2006/relationships/tags" Target="../tags/tag833.xml"/><Relationship Id="rId10" Type="http://schemas.openxmlformats.org/officeDocument/2006/relationships/notesSlide" Target="../notesSlides/notesSlide13.xml"/><Relationship Id="rId4" Type="http://schemas.openxmlformats.org/officeDocument/2006/relationships/tags" Target="../tags/tag832.xml"/><Relationship Id="rId9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655.xml"/><Relationship Id="rId18" Type="http://schemas.openxmlformats.org/officeDocument/2006/relationships/tags" Target="../tags/tag660.xml"/><Relationship Id="rId26" Type="http://schemas.openxmlformats.org/officeDocument/2006/relationships/tags" Target="../tags/tag668.xml"/><Relationship Id="rId39" Type="http://schemas.openxmlformats.org/officeDocument/2006/relationships/tags" Target="../tags/tag681.xml"/><Relationship Id="rId21" Type="http://schemas.openxmlformats.org/officeDocument/2006/relationships/tags" Target="../tags/tag663.xml"/><Relationship Id="rId34" Type="http://schemas.openxmlformats.org/officeDocument/2006/relationships/tags" Target="../tags/tag676.xml"/><Relationship Id="rId42" Type="http://schemas.openxmlformats.org/officeDocument/2006/relationships/tags" Target="../tags/tag684.xml"/><Relationship Id="rId47" Type="http://schemas.openxmlformats.org/officeDocument/2006/relationships/slideLayout" Target="../slideLayouts/slideLayout17.xml"/><Relationship Id="rId50" Type="http://schemas.openxmlformats.org/officeDocument/2006/relationships/image" Target="../media/image9.emf"/><Relationship Id="rId7" Type="http://schemas.openxmlformats.org/officeDocument/2006/relationships/tags" Target="../tags/tag649.xml"/><Relationship Id="rId2" Type="http://schemas.openxmlformats.org/officeDocument/2006/relationships/tags" Target="../tags/tag644.xml"/><Relationship Id="rId16" Type="http://schemas.openxmlformats.org/officeDocument/2006/relationships/tags" Target="../tags/tag658.xml"/><Relationship Id="rId29" Type="http://schemas.openxmlformats.org/officeDocument/2006/relationships/tags" Target="../tags/tag671.xml"/><Relationship Id="rId11" Type="http://schemas.openxmlformats.org/officeDocument/2006/relationships/tags" Target="../tags/tag653.xml"/><Relationship Id="rId24" Type="http://schemas.openxmlformats.org/officeDocument/2006/relationships/tags" Target="../tags/tag666.xml"/><Relationship Id="rId32" Type="http://schemas.openxmlformats.org/officeDocument/2006/relationships/tags" Target="../tags/tag674.xml"/><Relationship Id="rId37" Type="http://schemas.openxmlformats.org/officeDocument/2006/relationships/tags" Target="../tags/tag679.xml"/><Relationship Id="rId40" Type="http://schemas.openxmlformats.org/officeDocument/2006/relationships/tags" Target="../tags/tag682.xml"/><Relationship Id="rId45" Type="http://schemas.openxmlformats.org/officeDocument/2006/relationships/tags" Target="../tags/tag687.xml"/><Relationship Id="rId5" Type="http://schemas.openxmlformats.org/officeDocument/2006/relationships/tags" Target="../tags/tag647.xml"/><Relationship Id="rId15" Type="http://schemas.openxmlformats.org/officeDocument/2006/relationships/tags" Target="../tags/tag657.xml"/><Relationship Id="rId23" Type="http://schemas.openxmlformats.org/officeDocument/2006/relationships/tags" Target="../tags/tag665.xml"/><Relationship Id="rId28" Type="http://schemas.openxmlformats.org/officeDocument/2006/relationships/tags" Target="../tags/tag670.xml"/><Relationship Id="rId36" Type="http://schemas.openxmlformats.org/officeDocument/2006/relationships/tags" Target="../tags/tag678.xml"/><Relationship Id="rId49" Type="http://schemas.openxmlformats.org/officeDocument/2006/relationships/oleObject" Target="../embeddings/oleObject67.bin"/><Relationship Id="rId10" Type="http://schemas.openxmlformats.org/officeDocument/2006/relationships/tags" Target="../tags/tag652.xml"/><Relationship Id="rId19" Type="http://schemas.openxmlformats.org/officeDocument/2006/relationships/tags" Target="../tags/tag661.xml"/><Relationship Id="rId31" Type="http://schemas.openxmlformats.org/officeDocument/2006/relationships/tags" Target="../tags/tag673.xml"/><Relationship Id="rId44" Type="http://schemas.openxmlformats.org/officeDocument/2006/relationships/tags" Target="../tags/tag686.xml"/><Relationship Id="rId4" Type="http://schemas.openxmlformats.org/officeDocument/2006/relationships/tags" Target="../tags/tag646.xml"/><Relationship Id="rId9" Type="http://schemas.openxmlformats.org/officeDocument/2006/relationships/tags" Target="../tags/tag651.xml"/><Relationship Id="rId14" Type="http://schemas.openxmlformats.org/officeDocument/2006/relationships/tags" Target="../tags/tag656.xml"/><Relationship Id="rId22" Type="http://schemas.openxmlformats.org/officeDocument/2006/relationships/tags" Target="../tags/tag664.xml"/><Relationship Id="rId27" Type="http://schemas.openxmlformats.org/officeDocument/2006/relationships/tags" Target="../tags/tag669.xml"/><Relationship Id="rId30" Type="http://schemas.openxmlformats.org/officeDocument/2006/relationships/tags" Target="../tags/tag672.xml"/><Relationship Id="rId35" Type="http://schemas.openxmlformats.org/officeDocument/2006/relationships/tags" Target="../tags/tag677.xml"/><Relationship Id="rId43" Type="http://schemas.openxmlformats.org/officeDocument/2006/relationships/tags" Target="../tags/tag685.xml"/><Relationship Id="rId48" Type="http://schemas.openxmlformats.org/officeDocument/2006/relationships/notesSlide" Target="../notesSlides/notesSlide2.xml"/><Relationship Id="rId8" Type="http://schemas.openxmlformats.org/officeDocument/2006/relationships/tags" Target="../tags/tag650.xml"/><Relationship Id="rId51" Type="http://schemas.openxmlformats.org/officeDocument/2006/relationships/image" Target="../media/image28.jpeg"/><Relationship Id="rId3" Type="http://schemas.openxmlformats.org/officeDocument/2006/relationships/tags" Target="../tags/tag645.xml"/><Relationship Id="rId12" Type="http://schemas.openxmlformats.org/officeDocument/2006/relationships/tags" Target="../tags/tag654.xml"/><Relationship Id="rId17" Type="http://schemas.openxmlformats.org/officeDocument/2006/relationships/tags" Target="../tags/tag659.xml"/><Relationship Id="rId25" Type="http://schemas.openxmlformats.org/officeDocument/2006/relationships/tags" Target="../tags/tag667.xml"/><Relationship Id="rId33" Type="http://schemas.openxmlformats.org/officeDocument/2006/relationships/tags" Target="../tags/tag675.xml"/><Relationship Id="rId38" Type="http://schemas.openxmlformats.org/officeDocument/2006/relationships/tags" Target="../tags/tag680.xml"/><Relationship Id="rId46" Type="http://schemas.openxmlformats.org/officeDocument/2006/relationships/tags" Target="../tags/tag688.xml"/><Relationship Id="rId20" Type="http://schemas.openxmlformats.org/officeDocument/2006/relationships/tags" Target="../tags/tag662.xml"/><Relationship Id="rId41" Type="http://schemas.openxmlformats.org/officeDocument/2006/relationships/tags" Target="../tags/tag683.xml"/><Relationship Id="rId1" Type="http://schemas.openxmlformats.org/officeDocument/2006/relationships/tags" Target="../tags/tag643.xml"/><Relationship Id="rId6" Type="http://schemas.openxmlformats.org/officeDocument/2006/relationships/tags" Target="../tags/tag648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849.xml"/><Relationship Id="rId18" Type="http://schemas.openxmlformats.org/officeDocument/2006/relationships/tags" Target="../tags/tag854.xml"/><Relationship Id="rId26" Type="http://schemas.openxmlformats.org/officeDocument/2006/relationships/image" Target="../media/image147.emf"/><Relationship Id="rId39" Type="http://schemas.openxmlformats.org/officeDocument/2006/relationships/image" Target="../media/image160.png"/><Relationship Id="rId21" Type="http://schemas.openxmlformats.org/officeDocument/2006/relationships/tags" Target="../tags/tag857.xml"/><Relationship Id="rId34" Type="http://schemas.openxmlformats.org/officeDocument/2006/relationships/image" Target="../media/image155.svg"/><Relationship Id="rId42" Type="http://schemas.openxmlformats.org/officeDocument/2006/relationships/image" Target="../media/image163.svg"/><Relationship Id="rId7" Type="http://schemas.openxmlformats.org/officeDocument/2006/relationships/tags" Target="../tags/tag843.xml"/><Relationship Id="rId2" Type="http://schemas.openxmlformats.org/officeDocument/2006/relationships/tags" Target="../tags/tag838.xml"/><Relationship Id="rId16" Type="http://schemas.openxmlformats.org/officeDocument/2006/relationships/tags" Target="../tags/tag852.xml"/><Relationship Id="rId20" Type="http://schemas.openxmlformats.org/officeDocument/2006/relationships/tags" Target="../tags/tag856.xml"/><Relationship Id="rId29" Type="http://schemas.openxmlformats.org/officeDocument/2006/relationships/image" Target="../media/image150.png"/><Relationship Id="rId41" Type="http://schemas.openxmlformats.org/officeDocument/2006/relationships/image" Target="../media/image162.png"/><Relationship Id="rId1" Type="http://schemas.openxmlformats.org/officeDocument/2006/relationships/tags" Target="../tags/tag837.xml"/><Relationship Id="rId6" Type="http://schemas.openxmlformats.org/officeDocument/2006/relationships/tags" Target="../tags/tag842.xml"/><Relationship Id="rId11" Type="http://schemas.openxmlformats.org/officeDocument/2006/relationships/tags" Target="../tags/tag847.xml"/><Relationship Id="rId24" Type="http://schemas.openxmlformats.org/officeDocument/2006/relationships/slideLayout" Target="../slideLayouts/slideLayout36.xml"/><Relationship Id="rId32" Type="http://schemas.openxmlformats.org/officeDocument/2006/relationships/image" Target="../media/image153.svg"/><Relationship Id="rId37" Type="http://schemas.openxmlformats.org/officeDocument/2006/relationships/image" Target="../media/image158.png"/><Relationship Id="rId40" Type="http://schemas.openxmlformats.org/officeDocument/2006/relationships/image" Target="../media/image161.svg"/><Relationship Id="rId5" Type="http://schemas.openxmlformats.org/officeDocument/2006/relationships/tags" Target="../tags/tag841.xml"/><Relationship Id="rId15" Type="http://schemas.openxmlformats.org/officeDocument/2006/relationships/tags" Target="../tags/tag851.xml"/><Relationship Id="rId23" Type="http://schemas.openxmlformats.org/officeDocument/2006/relationships/tags" Target="../tags/tag859.xml"/><Relationship Id="rId28" Type="http://schemas.openxmlformats.org/officeDocument/2006/relationships/image" Target="../media/image149.svg"/><Relationship Id="rId36" Type="http://schemas.openxmlformats.org/officeDocument/2006/relationships/image" Target="../media/image157.svg"/><Relationship Id="rId10" Type="http://schemas.openxmlformats.org/officeDocument/2006/relationships/tags" Target="../tags/tag846.xml"/><Relationship Id="rId19" Type="http://schemas.openxmlformats.org/officeDocument/2006/relationships/tags" Target="../tags/tag855.xml"/><Relationship Id="rId31" Type="http://schemas.openxmlformats.org/officeDocument/2006/relationships/image" Target="../media/image152.png"/><Relationship Id="rId4" Type="http://schemas.openxmlformats.org/officeDocument/2006/relationships/tags" Target="../tags/tag840.xml"/><Relationship Id="rId9" Type="http://schemas.openxmlformats.org/officeDocument/2006/relationships/tags" Target="../tags/tag845.xml"/><Relationship Id="rId14" Type="http://schemas.openxmlformats.org/officeDocument/2006/relationships/tags" Target="../tags/tag850.xml"/><Relationship Id="rId22" Type="http://schemas.openxmlformats.org/officeDocument/2006/relationships/tags" Target="../tags/tag858.xml"/><Relationship Id="rId27" Type="http://schemas.openxmlformats.org/officeDocument/2006/relationships/image" Target="../media/image148.png"/><Relationship Id="rId30" Type="http://schemas.openxmlformats.org/officeDocument/2006/relationships/image" Target="../media/image151.svg"/><Relationship Id="rId35" Type="http://schemas.openxmlformats.org/officeDocument/2006/relationships/image" Target="../media/image156.png"/><Relationship Id="rId8" Type="http://schemas.openxmlformats.org/officeDocument/2006/relationships/tags" Target="../tags/tag844.xml"/><Relationship Id="rId3" Type="http://schemas.openxmlformats.org/officeDocument/2006/relationships/tags" Target="../tags/tag839.xml"/><Relationship Id="rId12" Type="http://schemas.openxmlformats.org/officeDocument/2006/relationships/tags" Target="../tags/tag848.xml"/><Relationship Id="rId17" Type="http://schemas.openxmlformats.org/officeDocument/2006/relationships/tags" Target="../tags/tag853.xml"/><Relationship Id="rId25" Type="http://schemas.openxmlformats.org/officeDocument/2006/relationships/oleObject" Target="../embeddings/oleObject80.bin"/><Relationship Id="rId33" Type="http://schemas.openxmlformats.org/officeDocument/2006/relationships/image" Target="../media/image154.png"/><Relationship Id="rId38" Type="http://schemas.openxmlformats.org/officeDocument/2006/relationships/image" Target="../media/image159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1.bin"/><Relationship Id="rId3" Type="http://schemas.openxmlformats.org/officeDocument/2006/relationships/tags" Target="../tags/tag862.xml"/><Relationship Id="rId7" Type="http://schemas.openxmlformats.org/officeDocument/2006/relationships/slideLayout" Target="../slideLayouts/slideLayout28.xml"/><Relationship Id="rId12" Type="http://schemas.openxmlformats.org/officeDocument/2006/relationships/image" Target="../media/image167.svg"/><Relationship Id="rId2" Type="http://schemas.openxmlformats.org/officeDocument/2006/relationships/tags" Target="../tags/tag861.xml"/><Relationship Id="rId1" Type="http://schemas.openxmlformats.org/officeDocument/2006/relationships/tags" Target="../tags/tag860.xml"/><Relationship Id="rId6" Type="http://schemas.openxmlformats.org/officeDocument/2006/relationships/tags" Target="../tags/tag865.xml"/><Relationship Id="rId11" Type="http://schemas.openxmlformats.org/officeDocument/2006/relationships/image" Target="../media/image166.png"/><Relationship Id="rId5" Type="http://schemas.openxmlformats.org/officeDocument/2006/relationships/tags" Target="../tags/tag864.xml"/><Relationship Id="rId10" Type="http://schemas.openxmlformats.org/officeDocument/2006/relationships/image" Target="../media/image165.png"/><Relationship Id="rId4" Type="http://schemas.openxmlformats.org/officeDocument/2006/relationships/tags" Target="../tags/tag863.xml"/><Relationship Id="rId9" Type="http://schemas.openxmlformats.org/officeDocument/2006/relationships/image" Target="../media/image164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2.bin"/><Relationship Id="rId13" Type="http://schemas.openxmlformats.org/officeDocument/2006/relationships/image" Target="../media/image171.svg"/><Relationship Id="rId18" Type="http://schemas.openxmlformats.org/officeDocument/2006/relationships/image" Target="../media/image176.png"/><Relationship Id="rId3" Type="http://schemas.openxmlformats.org/officeDocument/2006/relationships/tags" Target="../tags/tag868.xml"/><Relationship Id="rId21" Type="http://schemas.openxmlformats.org/officeDocument/2006/relationships/image" Target="../media/image179.svg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170.png"/><Relationship Id="rId17" Type="http://schemas.openxmlformats.org/officeDocument/2006/relationships/image" Target="../media/image175.svg"/><Relationship Id="rId25" Type="http://schemas.openxmlformats.org/officeDocument/2006/relationships/image" Target="../media/image183.svg"/><Relationship Id="rId2" Type="http://schemas.openxmlformats.org/officeDocument/2006/relationships/tags" Target="../tags/tag867.xml"/><Relationship Id="rId16" Type="http://schemas.openxmlformats.org/officeDocument/2006/relationships/image" Target="../media/image174.png"/><Relationship Id="rId20" Type="http://schemas.openxmlformats.org/officeDocument/2006/relationships/image" Target="../media/image178.png"/><Relationship Id="rId1" Type="http://schemas.openxmlformats.org/officeDocument/2006/relationships/tags" Target="../tags/tag866.xml"/><Relationship Id="rId6" Type="http://schemas.openxmlformats.org/officeDocument/2006/relationships/tags" Target="../tags/tag871.xml"/><Relationship Id="rId11" Type="http://schemas.openxmlformats.org/officeDocument/2006/relationships/image" Target="../media/image169.svg"/><Relationship Id="rId24" Type="http://schemas.openxmlformats.org/officeDocument/2006/relationships/image" Target="../media/image182.png"/><Relationship Id="rId5" Type="http://schemas.openxmlformats.org/officeDocument/2006/relationships/tags" Target="../tags/tag870.xml"/><Relationship Id="rId15" Type="http://schemas.openxmlformats.org/officeDocument/2006/relationships/image" Target="../media/image173.svg"/><Relationship Id="rId23" Type="http://schemas.openxmlformats.org/officeDocument/2006/relationships/image" Target="../media/image181.svg"/><Relationship Id="rId10" Type="http://schemas.openxmlformats.org/officeDocument/2006/relationships/image" Target="../media/image168.png"/><Relationship Id="rId19" Type="http://schemas.openxmlformats.org/officeDocument/2006/relationships/image" Target="../media/image177.svg"/><Relationship Id="rId4" Type="http://schemas.openxmlformats.org/officeDocument/2006/relationships/tags" Target="../tags/tag869.xml"/><Relationship Id="rId9" Type="http://schemas.openxmlformats.org/officeDocument/2006/relationships/image" Target="../media/image164.emf"/><Relationship Id="rId14" Type="http://schemas.openxmlformats.org/officeDocument/2006/relationships/image" Target="../media/image172.png"/><Relationship Id="rId22" Type="http://schemas.openxmlformats.org/officeDocument/2006/relationships/image" Target="../media/image18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image" Target="../media/image187.png"/><Relationship Id="rId3" Type="http://schemas.openxmlformats.org/officeDocument/2006/relationships/tags" Target="../tags/tag874.xml"/><Relationship Id="rId7" Type="http://schemas.openxmlformats.org/officeDocument/2006/relationships/oleObject" Target="../embeddings/oleObject83.bin"/><Relationship Id="rId12" Type="http://schemas.openxmlformats.org/officeDocument/2006/relationships/image" Target="../media/image186.svg"/><Relationship Id="rId2" Type="http://schemas.openxmlformats.org/officeDocument/2006/relationships/tags" Target="../tags/tag873.xml"/><Relationship Id="rId1" Type="http://schemas.openxmlformats.org/officeDocument/2006/relationships/tags" Target="../tags/tag872.xml"/><Relationship Id="rId6" Type="http://schemas.openxmlformats.org/officeDocument/2006/relationships/notesSlide" Target="../notesSlides/notesSlide14.xml"/><Relationship Id="rId11" Type="http://schemas.openxmlformats.org/officeDocument/2006/relationships/image" Target="../media/image185.png"/><Relationship Id="rId5" Type="http://schemas.openxmlformats.org/officeDocument/2006/relationships/slideLayout" Target="../slideLayouts/slideLayout23.xml"/><Relationship Id="rId10" Type="http://schemas.microsoft.com/office/2007/relationships/hdphoto" Target="../media/hdphoto4.wdp"/><Relationship Id="rId4" Type="http://schemas.openxmlformats.org/officeDocument/2006/relationships/tags" Target="../tags/tag875.xml"/><Relationship Id="rId9" Type="http://schemas.openxmlformats.org/officeDocument/2006/relationships/image" Target="../media/image184.png"/><Relationship Id="rId14" Type="http://schemas.openxmlformats.org/officeDocument/2006/relationships/image" Target="../media/image188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883.xml"/><Relationship Id="rId13" Type="http://schemas.openxmlformats.org/officeDocument/2006/relationships/tags" Target="../tags/tag888.xml"/><Relationship Id="rId18" Type="http://schemas.openxmlformats.org/officeDocument/2006/relationships/tags" Target="../tags/tag893.xml"/><Relationship Id="rId26" Type="http://schemas.openxmlformats.org/officeDocument/2006/relationships/oleObject" Target="../embeddings/oleObject84.bin"/><Relationship Id="rId3" Type="http://schemas.openxmlformats.org/officeDocument/2006/relationships/tags" Target="../tags/tag878.xml"/><Relationship Id="rId21" Type="http://schemas.openxmlformats.org/officeDocument/2006/relationships/tags" Target="../tags/tag896.xml"/><Relationship Id="rId7" Type="http://schemas.openxmlformats.org/officeDocument/2006/relationships/tags" Target="../tags/tag882.xml"/><Relationship Id="rId12" Type="http://schemas.openxmlformats.org/officeDocument/2006/relationships/tags" Target="../tags/tag887.xml"/><Relationship Id="rId17" Type="http://schemas.openxmlformats.org/officeDocument/2006/relationships/tags" Target="../tags/tag892.xml"/><Relationship Id="rId25" Type="http://schemas.openxmlformats.org/officeDocument/2006/relationships/notesSlide" Target="../notesSlides/notesSlide15.xml"/><Relationship Id="rId2" Type="http://schemas.openxmlformats.org/officeDocument/2006/relationships/tags" Target="../tags/tag877.xml"/><Relationship Id="rId16" Type="http://schemas.openxmlformats.org/officeDocument/2006/relationships/tags" Target="../tags/tag891.xml"/><Relationship Id="rId20" Type="http://schemas.openxmlformats.org/officeDocument/2006/relationships/tags" Target="../tags/tag895.xml"/><Relationship Id="rId1" Type="http://schemas.openxmlformats.org/officeDocument/2006/relationships/tags" Target="../tags/tag876.xml"/><Relationship Id="rId6" Type="http://schemas.openxmlformats.org/officeDocument/2006/relationships/tags" Target="../tags/tag881.xml"/><Relationship Id="rId11" Type="http://schemas.openxmlformats.org/officeDocument/2006/relationships/tags" Target="../tags/tag886.xml"/><Relationship Id="rId24" Type="http://schemas.openxmlformats.org/officeDocument/2006/relationships/slideLayout" Target="../slideLayouts/slideLayout17.xml"/><Relationship Id="rId5" Type="http://schemas.openxmlformats.org/officeDocument/2006/relationships/tags" Target="../tags/tag880.xml"/><Relationship Id="rId15" Type="http://schemas.openxmlformats.org/officeDocument/2006/relationships/tags" Target="../tags/tag890.xml"/><Relationship Id="rId23" Type="http://schemas.openxmlformats.org/officeDocument/2006/relationships/tags" Target="../tags/tag898.xml"/><Relationship Id="rId10" Type="http://schemas.openxmlformats.org/officeDocument/2006/relationships/tags" Target="../tags/tag885.xml"/><Relationship Id="rId19" Type="http://schemas.openxmlformats.org/officeDocument/2006/relationships/tags" Target="../tags/tag894.xml"/><Relationship Id="rId4" Type="http://schemas.openxmlformats.org/officeDocument/2006/relationships/tags" Target="../tags/tag879.xml"/><Relationship Id="rId9" Type="http://schemas.openxmlformats.org/officeDocument/2006/relationships/tags" Target="../tags/tag884.xml"/><Relationship Id="rId14" Type="http://schemas.openxmlformats.org/officeDocument/2006/relationships/tags" Target="../tags/tag889.xml"/><Relationship Id="rId22" Type="http://schemas.openxmlformats.org/officeDocument/2006/relationships/tags" Target="../tags/tag897.xml"/><Relationship Id="rId27" Type="http://schemas.openxmlformats.org/officeDocument/2006/relationships/image" Target="../media/image9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01.xml"/><Relationship Id="rId7" Type="http://schemas.openxmlformats.org/officeDocument/2006/relationships/image" Target="../media/image9.emf"/><Relationship Id="rId2" Type="http://schemas.openxmlformats.org/officeDocument/2006/relationships/tags" Target="../tags/tag900.xml"/><Relationship Id="rId1" Type="http://schemas.openxmlformats.org/officeDocument/2006/relationships/tags" Target="../tags/tag899.xml"/><Relationship Id="rId6" Type="http://schemas.openxmlformats.org/officeDocument/2006/relationships/oleObject" Target="../embeddings/oleObject84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902.xml"/><Relationship Id="rId4" Type="http://schemas.openxmlformats.org/officeDocument/2006/relationships/image" Target="../media/image29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97.png"/><Relationship Id="rId7" Type="http://schemas.openxmlformats.org/officeDocument/2006/relationships/image" Target="../media/image88.png"/><Relationship Id="rId12" Type="http://schemas.openxmlformats.org/officeDocument/2006/relationships/image" Target="../media/image10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87.png"/><Relationship Id="rId11" Type="http://schemas.openxmlformats.org/officeDocument/2006/relationships/image" Target="../media/image102.png"/><Relationship Id="rId5" Type="http://schemas.openxmlformats.org/officeDocument/2006/relationships/image" Target="../media/image99.jpg"/><Relationship Id="rId10" Type="http://schemas.openxmlformats.org/officeDocument/2006/relationships/image" Target="../media/image101.png"/><Relationship Id="rId4" Type="http://schemas.openxmlformats.org/officeDocument/2006/relationships/image" Target="../media/image98.jpg"/><Relationship Id="rId9" Type="http://schemas.openxmlformats.org/officeDocument/2006/relationships/image" Target="../media/image100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9.xml"/><Relationship Id="rId4" Type="http://schemas.openxmlformats.org/officeDocument/2006/relationships/image" Target="../media/image29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6.xml"/><Relationship Id="rId4" Type="http://schemas.openxmlformats.org/officeDocument/2006/relationships/hyperlink" Target="https://artificialanalysis.ai/models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6.xml"/><Relationship Id="rId4" Type="http://schemas.openxmlformats.org/officeDocument/2006/relationships/hyperlink" Target="https://artificialanalysis.ai/models" TargetMode="Externa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92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195.png"/><Relationship Id="rId4" Type="http://schemas.openxmlformats.org/officeDocument/2006/relationships/image" Target="../media/image19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97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istralai/mistral-finetune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93.png"/><Relationship Id="rId4" Type="http://schemas.openxmlformats.org/officeDocument/2006/relationships/image" Target="../media/image198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702.xml"/><Relationship Id="rId18" Type="http://schemas.openxmlformats.org/officeDocument/2006/relationships/tags" Target="../tags/tag707.xml"/><Relationship Id="rId26" Type="http://schemas.openxmlformats.org/officeDocument/2006/relationships/slideLayout" Target="../slideLayouts/slideLayout53.xml"/><Relationship Id="rId39" Type="http://schemas.openxmlformats.org/officeDocument/2006/relationships/image" Target="../media/image38.jpeg"/><Relationship Id="rId21" Type="http://schemas.openxmlformats.org/officeDocument/2006/relationships/tags" Target="../tags/tag710.xml"/><Relationship Id="rId34" Type="http://schemas.openxmlformats.org/officeDocument/2006/relationships/image" Target="../media/image34.svg"/><Relationship Id="rId42" Type="http://schemas.microsoft.com/office/2007/relationships/hdphoto" Target="../media/hdphoto3.wdp"/><Relationship Id="rId7" Type="http://schemas.openxmlformats.org/officeDocument/2006/relationships/tags" Target="../tags/tag696.xml"/><Relationship Id="rId2" Type="http://schemas.openxmlformats.org/officeDocument/2006/relationships/tags" Target="../tags/tag691.xml"/><Relationship Id="rId16" Type="http://schemas.openxmlformats.org/officeDocument/2006/relationships/tags" Target="../tags/tag705.xml"/><Relationship Id="rId20" Type="http://schemas.openxmlformats.org/officeDocument/2006/relationships/tags" Target="../tags/tag709.xml"/><Relationship Id="rId29" Type="http://schemas.openxmlformats.org/officeDocument/2006/relationships/image" Target="../media/image2.emf"/><Relationship Id="rId41" Type="http://schemas.openxmlformats.org/officeDocument/2006/relationships/image" Target="../media/image40.png"/><Relationship Id="rId1" Type="http://schemas.openxmlformats.org/officeDocument/2006/relationships/tags" Target="../tags/tag690.xml"/><Relationship Id="rId6" Type="http://schemas.openxmlformats.org/officeDocument/2006/relationships/tags" Target="../tags/tag695.xml"/><Relationship Id="rId11" Type="http://schemas.openxmlformats.org/officeDocument/2006/relationships/tags" Target="../tags/tag700.xml"/><Relationship Id="rId24" Type="http://schemas.openxmlformats.org/officeDocument/2006/relationships/tags" Target="../tags/tag713.xml"/><Relationship Id="rId32" Type="http://schemas.openxmlformats.org/officeDocument/2006/relationships/image" Target="../media/image32.svg"/><Relationship Id="rId37" Type="http://schemas.openxmlformats.org/officeDocument/2006/relationships/image" Target="../media/image37.png"/><Relationship Id="rId40" Type="http://schemas.openxmlformats.org/officeDocument/2006/relationships/image" Target="../media/image39.jpeg"/><Relationship Id="rId5" Type="http://schemas.openxmlformats.org/officeDocument/2006/relationships/tags" Target="../tags/tag694.xml"/><Relationship Id="rId15" Type="http://schemas.openxmlformats.org/officeDocument/2006/relationships/tags" Target="../tags/tag704.xml"/><Relationship Id="rId23" Type="http://schemas.openxmlformats.org/officeDocument/2006/relationships/tags" Target="../tags/tag712.xml"/><Relationship Id="rId28" Type="http://schemas.openxmlformats.org/officeDocument/2006/relationships/oleObject" Target="../embeddings/oleObject69.bin"/><Relationship Id="rId36" Type="http://schemas.openxmlformats.org/officeDocument/2006/relationships/image" Target="../media/image36.jpeg"/><Relationship Id="rId10" Type="http://schemas.openxmlformats.org/officeDocument/2006/relationships/tags" Target="../tags/tag699.xml"/><Relationship Id="rId19" Type="http://schemas.openxmlformats.org/officeDocument/2006/relationships/tags" Target="../tags/tag708.xml"/><Relationship Id="rId31" Type="http://schemas.openxmlformats.org/officeDocument/2006/relationships/image" Target="../media/image31.png"/><Relationship Id="rId4" Type="http://schemas.openxmlformats.org/officeDocument/2006/relationships/tags" Target="../tags/tag693.xml"/><Relationship Id="rId9" Type="http://schemas.openxmlformats.org/officeDocument/2006/relationships/tags" Target="../tags/tag698.xml"/><Relationship Id="rId14" Type="http://schemas.openxmlformats.org/officeDocument/2006/relationships/tags" Target="../tags/tag703.xml"/><Relationship Id="rId22" Type="http://schemas.openxmlformats.org/officeDocument/2006/relationships/tags" Target="../tags/tag711.xml"/><Relationship Id="rId27" Type="http://schemas.openxmlformats.org/officeDocument/2006/relationships/notesSlide" Target="../notesSlides/notesSlide3.xml"/><Relationship Id="rId30" Type="http://schemas.openxmlformats.org/officeDocument/2006/relationships/image" Target="../media/image30.jpeg"/><Relationship Id="rId35" Type="http://schemas.openxmlformats.org/officeDocument/2006/relationships/image" Target="../media/image35.png"/><Relationship Id="rId43" Type="http://schemas.openxmlformats.org/officeDocument/2006/relationships/image" Target="../media/image41.png"/><Relationship Id="rId8" Type="http://schemas.openxmlformats.org/officeDocument/2006/relationships/tags" Target="../tags/tag697.xml"/><Relationship Id="rId3" Type="http://schemas.openxmlformats.org/officeDocument/2006/relationships/tags" Target="../tags/tag692.xml"/><Relationship Id="rId12" Type="http://schemas.openxmlformats.org/officeDocument/2006/relationships/tags" Target="../tags/tag701.xml"/><Relationship Id="rId17" Type="http://schemas.openxmlformats.org/officeDocument/2006/relationships/tags" Target="../tags/tag706.xml"/><Relationship Id="rId25" Type="http://schemas.openxmlformats.org/officeDocument/2006/relationships/tags" Target="../tags/tag714.xml"/><Relationship Id="rId33" Type="http://schemas.openxmlformats.org/officeDocument/2006/relationships/image" Target="../media/image33.png"/><Relationship Id="rId38" Type="http://schemas.microsoft.com/office/2007/relationships/hdphoto" Target="../media/hdphoto2.wdp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3.png"/><Relationship Id="rId3" Type="http://schemas.openxmlformats.org/officeDocument/2006/relationships/image" Target="../media/image21.png"/><Relationship Id="rId7" Type="http://schemas.openxmlformats.org/officeDocument/2006/relationships/image" Target="../media/image20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201.png"/><Relationship Id="rId5" Type="http://schemas.openxmlformats.org/officeDocument/2006/relationships/image" Target="../media/image200.png"/><Relationship Id="rId10" Type="http://schemas.openxmlformats.org/officeDocument/2006/relationships/image" Target="../media/image205.png"/><Relationship Id="rId4" Type="http://schemas.openxmlformats.org/officeDocument/2006/relationships/image" Target="../media/image199.png"/><Relationship Id="rId9" Type="http://schemas.openxmlformats.org/officeDocument/2006/relationships/image" Target="../media/image20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22.xml"/><Relationship Id="rId13" Type="http://schemas.openxmlformats.org/officeDocument/2006/relationships/oleObject" Target="../embeddings/oleObject70.bin"/><Relationship Id="rId18" Type="http://schemas.openxmlformats.org/officeDocument/2006/relationships/image" Target="../media/image45.png"/><Relationship Id="rId3" Type="http://schemas.openxmlformats.org/officeDocument/2006/relationships/tags" Target="../tags/tag717.xml"/><Relationship Id="rId21" Type="http://schemas.openxmlformats.org/officeDocument/2006/relationships/image" Target="../media/image48.svg"/><Relationship Id="rId7" Type="http://schemas.openxmlformats.org/officeDocument/2006/relationships/tags" Target="../tags/tag721.xml"/><Relationship Id="rId12" Type="http://schemas.openxmlformats.org/officeDocument/2006/relationships/slideLayout" Target="../slideLayouts/slideLayout33.xml"/><Relationship Id="rId17" Type="http://schemas.openxmlformats.org/officeDocument/2006/relationships/image" Target="../media/image44.svg"/><Relationship Id="rId2" Type="http://schemas.openxmlformats.org/officeDocument/2006/relationships/tags" Target="../tags/tag716.xml"/><Relationship Id="rId16" Type="http://schemas.openxmlformats.org/officeDocument/2006/relationships/image" Target="../media/image43.png"/><Relationship Id="rId20" Type="http://schemas.openxmlformats.org/officeDocument/2006/relationships/image" Target="../media/image47.png"/><Relationship Id="rId1" Type="http://schemas.openxmlformats.org/officeDocument/2006/relationships/tags" Target="../tags/tag715.xml"/><Relationship Id="rId6" Type="http://schemas.openxmlformats.org/officeDocument/2006/relationships/tags" Target="../tags/tag720.xml"/><Relationship Id="rId11" Type="http://schemas.openxmlformats.org/officeDocument/2006/relationships/tags" Target="../tags/tag725.xml"/><Relationship Id="rId5" Type="http://schemas.openxmlformats.org/officeDocument/2006/relationships/tags" Target="../tags/tag719.xml"/><Relationship Id="rId15" Type="http://schemas.openxmlformats.org/officeDocument/2006/relationships/image" Target="../media/image42.png"/><Relationship Id="rId23" Type="http://schemas.openxmlformats.org/officeDocument/2006/relationships/image" Target="../media/image50.svg"/><Relationship Id="rId10" Type="http://schemas.openxmlformats.org/officeDocument/2006/relationships/tags" Target="../tags/tag724.xml"/><Relationship Id="rId19" Type="http://schemas.openxmlformats.org/officeDocument/2006/relationships/image" Target="../media/image46.svg"/><Relationship Id="rId4" Type="http://schemas.openxmlformats.org/officeDocument/2006/relationships/tags" Target="../tags/tag718.xml"/><Relationship Id="rId9" Type="http://schemas.openxmlformats.org/officeDocument/2006/relationships/tags" Target="../tags/tag723.xml"/><Relationship Id="rId14" Type="http://schemas.openxmlformats.org/officeDocument/2006/relationships/image" Target="../media/image9.emf"/><Relationship Id="rId22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image" Target="../media/image52.png"/><Relationship Id="rId18" Type="http://schemas.openxmlformats.org/officeDocument/2006/relationships/image" Target="../media/image57.png"/><Relationship Id="rId3" Type="http://schemas.openxmlformats.org/officeDocument/2006/relationships/tags" Target="../tags/tag728.xml"/><Relationship Id="rId21" Type="http://schemas.openxmlformats.org/officeDocument/2006/relationships/image" Target="../media/image60.png"/><Relationship Id="rId7" Type="http://schemas.openxmlformats.org/officeDocument/2006/relationships/tags" Target="../tags/tag732.xml"/><Relationship Id="rId12" Type="http://schemas.openxmlformats.org/officeDocument/2006/relationships/image" Target="../media/image51.png"/><Relationship Id="rId17" Type="http://schemas.openxmlformats.org/officeDocument/2006/relationships/image" Target="../media/image56.png"/><Relationship Id="rId2" Type="http://schemas.openxmlformats.org/officeDocument/2006/relationships/tags" Target="../tags/tag727.xml"/><Relationship Id="rId16" Type="http://schemas.openxmlformats.org/officeDocument/2006/relationships/image" Target="../media/image55.png"/><Relationship Id="rId20" Type="http://schemas.openxmlformats.org/officeDocument/2006/relationships/image" Target="../media/image59.png"/><Relationship Id="rId1" Type="http://schemas.openxmlformats.org/officeDocument/2006/relationships/tags" Target="../tags/tag726.xml"/><Relationship Id="rId6" Type="http://schemas.openxmlformats.org/officeDocument/2006/relationships/tags" Target="../tags/tag731.xml"/><Relationship Id="rId11" Type="http://schemas.openxmlformats.org/officeDocument/2006/relationships/image" Target="../media/image9.emf"/><Relationship Id="rId5" Type="http://schemas.openxmlformats.org/officeDocument/2006/relationships/tags" Target="../tags/tag730.xml"/><Relationship Id="rId15" Type="http://schemas.openxmlformats.org/officeDocument/2006/relationships/image" Target="../media/image54.png"/><Relationship Id="rId10" Type="http://schemas.openxmlformats.org/officeDocument/2006/relationships/oleObject" Target="../embeddings/oleObject71.bin"/><Relationship Id="rId19" Type="http://schemas.openxmlformats.org/officeDocument/2006/relationships/image" Target="../media/image58.png"/><Relationship Id="rId4" Type="http://schemas.openxmlformats.org/officeDocument/2006/relationships/tags" Target="../tags/tag729.xml"/><Relationship Id="rId9" Type="http://schemas.openxmlformats.org/officeDocument/2006/relationships/notesSlide" Target="../notesSlides/notesSlide4.xml"/><Relationship Id="rId14" Type="http://schemas.openxmlformats.org/officeDocument/2006/relationships/image" Target="../media/image53.png"/><Relationship Id="rId22" Type="http://schemas.openxmlformats.org/officeDocument/2006/relationships/image" Target="../media/image61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40.xml"/><Relationship Id="rId13" Type="http://schemas.openxmlformats.org/officeDocument/2006/relationships/image" Target="../media/image64.png"/><Relationship Id="rId18" Type="http://schemas.openxmlformats.org/officeDocument/2006/relationships/image" Target="../media/image69.png"/><Relationship Id="rId3" Type="http://schemas.openxmlformats.org/officeDocument/2006/relationships/tags" Target="../tags/tag735.xml"/><Relationship Id="rId21" Type="http://schemas.openxmlformats.org/officeDocument/2006/relationships/image" Target="../media/image72.png"/><Relationship Id="rId7" Type="http://schemas.openxmlformats.org/officeDocument/2006/relationships/tags" Target="../tags/tag739.xml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" Type="http://schemas.openxmlformats.org/officeDocument/2006/relationships/tags" Target="../tags/tag734.xml"/><Relationship Id="rId16" Type="http://schemas.openxmlformats.org/officeDocument/2006/relationships/image" Target="../media/image67.png"/><Relationship Id="rId20" Type="http://schemas.openxmlformats.org/officeDocument/2006/relationships/image" Target="../media/image71.png"/><Relationship Id="rId1" Type="http://schemas.openxmlformats.org/officeDocument/2006/relationships/tags" Target="../tags/tag733.xml"/><Relationship Id="rId6" Type="http://schemas.openxmlformats.org/officeDocument/2006/relationships/tags" Target="../tags/tag738.xml"/><Relationship Id="rId11" Type="http://schemas.openxmlformats.org/officeDocument/2006/relationships/image" Target="../media/image62.emf"/><Relationship Id="rId24" Type="http://schemas.openxmlformats.org/officeDocument/2006/relationships/image" Target="../media/image75.png"/><Relationship Id="rId5" Type="http://schemas.openxmlformats.org/officeDocument/2006/relationships/tags" Target="../tags/tag737.xml"/><Relationship Id="rId15" Type="http://schemas.openxmlformats.org/officeDocument/2006/relationships/image" Target="../media/image66.png"/><Relationship Id="rId23" Type="http://schemas.openxmlformats.org/officeDocument/2006/relationships/image" Target="../media/image74.png"/><Relationship Id="rId10" Type="http://schemas.openxmlformats.org/officeDocument/2006/relationships/oleObject" Target="../embeddings/oleObject71.bin"/><Relationship Id="rId19" Type="http://schemas.openxmlformats.org/officeDocument/2006/relationships/image" Target="../media/image70.png"/><Relationship Id="rId4" Type="http://schemas.openxmlformats.org/officeDocument/2006/relationships/tags" Target="../tags/tag736.xml"/><Relationship Id="rId9" Type="http://schemas.openxmlformats.org/officeDocument/2006/relationships/slideLayout" Target="../slideLayouts/slideLayout71.xml"/><Relationship Id="rId14" Type="http://schemas.openxmlformats.org/officeDocument/2006/relationships/image" Target="../media/image65.png"/><Relationship Id="rId22" Type="http://schemas.openxmlformats.org/officeDocument/2006/relationships/image" Target="../media/image7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48.xml"/><Relationship Id="rId13" Type="http://schemas.openxmlformats.org/officeDocument/2006/relationships/image" Target="../media/image76.jpeg"/><Relationship Id="rId3" Type="http://schemas.openxmlformats.org/officeDocument/2006/relationships/tags" Target="../tags/tag743.xml"/><Relationship Id="rId7" Type="http://schemas.openxmlformats.org/officeDocument/2006/relationships/tags" Target="../tags/tag747.xml"/><Relationship Id="rId12" Type="http://schemas.openxmlformats.org/officeDocument/2006/relationships/image" Target="../media/image13.png"/><Relationship Id="rId2" Type="http://schemas.openxmlformats.org/officeDocument/2006/relationships/tags" Target="../tags/tag742.xml"/><Relationship Id="rId16" Type="http://schemas.openxmlformats.org/officeDocument/2006/relationships/image" Target="../media/image61.svg"/><Relationship Id="rId1" Type="http://schemas.openxmlformats.org/officeDocument/2006/relationships/tags" Target="../tags/tag741.xml"/><Relationship Id="rId6" Type="http://schemas.openxmlformats.org/officeDocument/2006/relationships/tags" Target="../tags/tag746.xml"/><Relationship Id="rId11" Type="http://schemas.openxmlformats.org/officeDocument/2006/relationships/image" Target="../media/image9.emf"/><Relationship Id="rId5" Type="http://schemas.openxmlformats.org/officeDocument/2006/relationships/tags" Target="../tags/tag745.xml"/><Relationship Id="rId15" Type="http://schemas.openxmlformats.org/officeDocument/2006/relationships/image" Target="../media/image60.png"/><Relationship Id="rId10" Type="http://schemas.openxmlformats.org/officeDocument/2006/relationships/oleObject" Target="../embeddings/oleObject72.bin"/><Relationship Id="rId4" Type="http://schemas.openxmlformats.org/officeDocument/2006/relationships/tags" Target="../tags/tag744.xml"/><Relationship Id="rId9" Type="http://schemas.openxmlformats.org/officeDocument/2006/relationships/slideLayout" Target="../slideLayouts/slideLayout17.xml"/><Relationship Id="rId14" Type="http://schemas.openxmlformats.org/officeDocument/2006/relationships/image" Target="../media/image7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78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49.xml"/><Relationship Id="rId6" Type="http://schemas.openxmlformats.org/officeDocument/2006/relationships/hyperlink" Target="https://www.mckinsey.com/capabilities/quantumblack/how-we-help-clients" TargetMode="Externa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947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854" name="Picture 14">
            <a:extLst>
              <a:ext uri="{FF2B5EF4-FFF2-40B4-BE49-F238E27FC236}">
                <a16:creationId xmlns:a16="http://schemas.microsoft.com/office/drawing/2014/main" id="{84062463-3E9C-494B-954C-A80BD1087D5D}"/>
              </a:ext>
            </a:extLst>
          </p:cNvPr>
          <p:cNvPicPr>
            <a:picLocks noChangeArrowheads="1"/>
          </p:cNvPicPr>
          <p:nvPr/>
        </p:nvPicPr>
        <p:blipFill>
          <a:blip r:embed="rId11"/>
          <a:srcRect/>
          <a:stretch/>
        </p:blipFill>
        <p:spPr bwMode="auto">
          <a:xfrm flipH="1">
            <a:off x="3176" y="894"/>
            <a:ext cx="12188823" cy="68562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0A30085-116B-499E-9AAC-22E4F454ADB6}"/>
              </a:ext>
            </a:extLst>
          </p:cNvPr>
          <p:cNvSpPr>
            <a:spLocks/>
          </p:cNvSpPr>
          <p:nvPr/>
        </p:nvSpPr>
        <p:spPr>
          <a:xfrm>
            <a:off x="3177" y="-894"/>
            <a:ext cx="12188823" cy="6858000"/>
          </a:xfrm>
          <a:prstGeom prst="rect">
            <a:avLst/>
          </a:prstGeom>
          <a:solidFill>
            <a:srgbClr val="04080A">
              <a:alpha val="66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06FD97B-691F-4513-92F7-37A1FAC29B8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3" y="4209423"/>
            <a:ext cx="10018088" cy="20313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pPr>
              <a:buClr>
                <a:schemeClr val="tx2"/>
              </a:buClr>
            </a:pPr>
            <a:r>
              <a:rPr lang="en-US" dirty="0" err="1"/>
              <a:t>GenAI</a:t>
            </a:r>
            <a:r>
              <a:rPr lang="en-US" dirty="0"/>
              <a:t> for retail: Agent for </a:t>
            </a:r>
            <a:r>
              <a:rPr lang="en-US"/>
              <a:t>seamless Onboarding </a:t>
            </a:r>
            <a:r>
              <a:rPr lang="en-US" dirty="0"/>
              <a:t>&amp; Smart sales</a:t>
            </a:r>
          </a:p>
        </p:txBody>
      </p:sp>
      <p:sp>
        <p:nvSpPr>
          <p:cNvPr id="2" name="Documenttype">
            <a:extLst>
              <a:ext uri="{FF2B5EF4-FFF2-40B4-BE49-F238E27FC236}">
                <a16:creationId xmlns:a16="http://schemas.microsoft.com/office/drawing/2014/main" id="{11D06D31-577C-468F-A315-4B1A48E07A2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551943" y="5744142"/>
            <a:ext cx="5313150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>
              <a:buClr>
                <a:schemeClr val="tx2"/>
              </a:buClr>
            </a:pPr>
            <a:r>
              <a:rPr lang="en-US" sz="1800" dirty="0"/>
              <a:t>November 23</a:t>
            </a:r>
            <a:r>
              <a:rPr lang="en-US" sz="1800" baseline="30000" dirty="0"/>
              <a:t>rd</a:t>
            </a:r>
            <a:r>
              <a:rPr lang="en-US" sz="1800" dirty="0"/>
              <a:t> 2024</a:t>
            </a:r>
          </a:p>
        </p:txBody>
      </p:sp>
      <p:sp>
        <p:nvSpPr>
          <p:cNvPr id="26" name="Title">
            <a:extLst>
              <a:ext uri="{FF2B5EF4-FFF2-40B4-BE49-F238E27FC236}">
                <a16:creationId xmlns:a16="http://schemas.microsoft.com/office/drawing/2014/main" id="{A8C7E261-2CEA-4586-910D-06880C0F6E5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51943" y="1480465"/>
            <a:ext cx="10018088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4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Hackathon X AI</a:t>
            </a:r>
            <a:endParaRPr lang="en-US" dirty="0">
              <a:solidFill>
                <a:srgbClr val="FFFFFF"/>
              </a:solidFill>
              <a:latin typeface="Georgi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Kick-off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F0DB19-CDD4-16E1-58A5-E199503121FD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contrast="-10000"/>
                    </a14:imgEffect>
                    <a14:imgEffect>
                      <a14:saturation sat="75000"/>
                    </a14:imgEffect>
                    <a14:imgEffect>
                      <a14:colorTemperature colorTemp="625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21264" y="158750"/>
            <a:ext cx="2786172" cy="677437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28C1BF0F-E944-0DC8-B565-3B703565F563}"/>
              </a:ext>
            </a:extLst>
          </p:cNvPr>
          <p:cNvGrpSpPr/>
          <p:nvPr/>
        </p:nvGrpSpPr>
        <p:grpSpPr>
          <a:xfrm>
            <a:off x="10335185" y="220469"/>
            <a:ext cx="1667671" cy="553998"/>
            <a:chOff x="9176945" y="926467"/>
            <a:chExt cx="1667671" cy="553998"/>
          </a:xfrm>
        </p:grpSpPr>
        <p:pic>
          <p:nvPicPr>
            <p:cNvPr id="8" name="Google Shape;539;p37">
              <a:extLst>
                <a:ext uri="{FF2B5EF4-FFF2-40B4-BE49-F238E27FC236}">
                  <a16:creationId xmlns:a16="http://schemas.microsoft.com/office/drawing/2014/main" id="{B5D85DF7-7FD3-3EE0-6870-40CEEA74CCC7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4">
              <a:alphaModFix/>
            </a:blip>
            <a:stretch>
              <a:fillRect/>
            </a:stretch>
          </p:blipFill>
          <p:spPr>
            <a:xfrm>
              <a:off x="9176945" y="926467"/>
              <a:ext cx="595002" cy="5539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7A78977-80A4-D15B-845A-5E7978C3D157}"/>
                </a:ext>
              </a:extLst>
            </p:cNvPr>
            <p:cNvSpPr txBox="1">
              <a:spLocks/>
            </p:cNvSpPr>
            <p:nvPr/>
          </p:nvSpPr>
          <p:spPr>
            <a:xfrm>
              <a:off x="9907436" y="926467"/>
              <a:ext cx="937180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600" dirty="0"/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lang="en-US" sz="1600" dirty="0"/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lang="en-US" sz="1600" dirty="0"/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solidFill>
                    <a:schemeClr val="tx1">
                      <a:lumMod val="75000"/>
                    </a:schemeClr>
                  </a:solidFill>
                  <a:latin typeface="INCONSOLATA FOR POWERLINE" panose="020B0609030003000000" pitchFamily="49" charset="0"/>
                </a:rPr>
                <a:t>MISTRAL AI_</a:t>
              </a:r>
              <a:endParaRPr lang="en-US" sz="1800" b="1" dirty="0">
                <a:solidFill>
                  <a:schemeClr val="tx1">
                    <a:lumMod val="75000"/>
                  </a:schemeClr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19217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A90283-52D6-8DFC-A395-2ADF4F3841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1B49960-DBD4-CE92-4957-ECD43B4BD1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03088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62FE0E1-6C2A-4D04-F70E-F623ACAC5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5ABA2D5-DA0A-994E-1B7A-840173C06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3044280"/>
            <a:ext cx="8433401" cy="769441"/>
          </a:xfrm>
        </p:spPr>
        <p:txBody>
          <a:bodyPr vert="horz"/>
          <a:lstStyle/>
          <a:p>
            <a:r>
              <a:rPr lang="en-US" sz="3600" dirty="0"/>
              <a:t>Introduction to Mistral A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A72A82-1BFF-55FA-C665-518441DD90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258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" name="Google Shape;91;p2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286" y="-1"/>
            <a:ext cx="12181429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92" name="Google Shape;92;p20"/>
          <p:cNvSpPr/>
          <p:nvPr/>
        </p:nvSpPr>
        <p:spPr>
          <a:xfrm>
            <a:off x="10038523" y="6301408"/>
            <a:ext cx="1928000" cy="198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200"/>
            </a:pPr>
            <a:endParaRPr sz="1600" kern="0">
              <a:solidFill>
                <a:srgbClr val="FFFFFF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93" name="Google Shape;93;p20"/>
          <p:cNvSpPr txBox="1">
            <a:spLocks noGrp="1"/>
          </p:cNvSpPr>
          <p:nvPr>
            <p:ph type="title"/>
          </p:nvPr>
        </p:nvSpPr>
        <p:spPr>
          <a:xfrm>
            <a:off x="554736" y="153252"/>
            <a:ext cx="10132400" cy="76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buClr>
                <a:schemeClr val="accent1"/>
              </a:buClr>
            </a:pPr>
            <a:r>
              <a:rPr lang="en" b="1">
                <a:solidFill>
                  <a:schemeClr val="accent1"/>
                </a:solidFill>
              </a:rPr>
              <a:t>Meet Mistral AI_ </a:t>
            </a:r>
            <a:r>
              <a:rPr lang="en" b="1"/>
              <a:t>We bring AI into everybody’s hands</a:t>
            </a:r>
            <a:endParaRPr/>
          </a:p>
        </p:txBody>
      </p:sp>
      <p:cxnSp>
        <p:nvCxnSpPr>
          <p:cNvPr id="94" name="Google Shape;94;p20"/>
          <p:cNvCxnSpPr/>
          <p:nvPr/>
        </p:nvCxnSpPr>
        <p:spPr>
          <a:xfrm>
            <a:off x="1446435" y="4305203"/>
            <a:ext cx="0" cy="2066800"/>
          </a:xfrm>
          <a:prstGeom prst="straightConnector1">
            <a:avLst/>
          </a:prstGeom>
          <a:noFill/>
          <a:ln w="9525" cap="flat" cmpd="sng">
            <a:solidFill>
              <a:srgbClr val="D0D0D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5" name="Google Shape;95;p20"/>
          <p:cNvCxnSpPr/>
          <p:nvPr/>
        </p:nvCxnSpPr>
        <p:spPr>
          <a:xfrm>
            <a:off x="3025451" y="4061861"/>
            <a:ext cx="0" cy="2567600"/>
          </a:xfrm>
          <a:prstGeom prst="straightConnector1">
            <a:avLst/>
          </a:prstGeom>
          <a:noFill/>
          <a:ln w="9525" cap="flat" cmpd="sng">
            <a:solidFill>
              <a:srgbClr val="D0D0D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6" name="Google Shape;96;p20"/>
          <p:cNvCxnSpPr/>
          <p:nvPr/>
        </p:nvCxnSpPr>
        <p:spPr>
          <a:xfrm>
            <a:off x="4810012" y="3847663"/>
            <a:ext cx="0" cy="2781600"/>
          </a:xfrm>
          <a:prstGeom prst="straightConnector1">
            <a:avLst/>
          </a:prstGeom>
          <a:noFill/>
          <a:ln w="9525" cap="flat" cmpd="sng">
            <a:solidFill>
              <a:srgbClr val="D0D0D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7" name="Google Shape;97;p20"/>
          <p:cNvCxnSpPr/>
          <p:nvPr/>
        </p:nvCxnSpPr>
        <p:spPr>
          <a:xfrm>
            <a:off x="7505355" y="3272589"/>
            <a:ext cx="0" cy="3356800"/>
          </a:xfrm>
          <a:prstGeom prst="straightConnector1">
            <a:avLst/>
          </a:prstGeom>
          <a:noFill/>
          <a:ln w="9525" cap="flat" cmpd="sng">
            <a:solidFill>
              <a:srgbClr val="D0D0D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" name="Google Shape;98;p20"/>
          <p:cNvSpPr/>
          <p:nvPr/>
        </p:nvSpPr>
        <p:spPr>
          <a:xfrm>
            <a:off x="-132521" y="321023"/>
            <a:ext cx="12948807" cy="3802213"/>
          </a:xfrm>
          <a:custGeom>
            <a:avLst/>
            <a:gdLst/>
            <a:ahLst/>
            <a:cxnLst/>
            <a:rect l="l" t="t" r="r" b="b"/>
            <a:pathLst>
              <a:path w="9076266" h="2768602" extrusionOk="0">
                <a:moveTo>
                  <a:pt x="0" y="2768602"/>
                </a:moveTo>
                <a:cubicBezTo>
                  <a:pt x="1848554" y="2751669"/>
                  <a:pt x="7066844" y="2472267"/>
                  <a:pt x="9076266" y="0"/>
                </a:cubicBezTo>
              </a:path>
            </a:pathLst>
          </a:custGeom>
          <a:noFill/>
          <a:ln w="381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defTabSz="1219170">
              <a:buClr>
                <a:srgbClr val="000000"/>
              </a:buClr>
              <a:buSzPts val="500"/>
            </a:pPr>
            <a:endParaRPr sz="667" kern="0">
              <a:solidFill>
                <a:srgbClr val="FFFFFF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99" name="Google Shape;99;p20"/>
          <p:cNvSpPr txBox="1"/>
          <p:nvPr/>
        </p:nvSpPr>
        <p:spPr>
          <a:xfrm>
            <a:off x="457719" y="6504604"/>
            <a:ext cx="727880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203195" indent="-203195" defTabSz="1219170">
              <a:buClr>
                <a:srgbClr val="000000"/>
              </a:buClr>
              <a:buSzPts val="600"/>
            </a:pPr>
            <a:r>
              <a:rPr lang="en" sz="8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1.	Sparse Mixture of Experts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Google Shape;100;p20"/>
          <p:cNvSpPr txBox="1"/>
          <p:nvPr/>
        </p:nvSpPr>
        <p:spPr>
          <a:xfrm>
            <a:off x="263584" y="4334068"/>
            <a:ext cx="1027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Founded</a:t>
            </a:r>
            <a:endParaRPr sz="1200" b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101" name="Google Shape;101;p20"/>
          <p:cNvSpPr txBox="1"/>
          <p:nvPr/>
        </p:nvSpPr>
        <p:spPr>
          <a:xfrm>
            <a:off x="256353" y="3352144"/>
            <a:ext cx="1042000" cy="45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 defTabSz="1219170">
              <a:spcBef>
                <a:spcPts val="667"/>
              </a:spcBef>
              <a:buClr>
                <a:srgbClr val="000000"/>
              </a:buClr>
              <a:buSzPts val="8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May </a:t>
            </a:r>
            <a:b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2023</a:t>
            </a:r>
            <a:endParaRPr sz="1600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grpSp>
        <p:nvGrpSpPr>
          <p:cNvPr id="102" name="Google Shape;102;p20"/>
          <p:cNvGrpSpPr/>
          <p:nvPr/>
        </p:nvGrpSpPr>
        <p:grpSpPr>
          <a:xfrm>
            <a:off x="629879" y="3953525"/>
            <a:ext cx="267300" cy="267300"/>
            <a:chOff x="928261" y="3904259"/>
            <a:chExt cx="267300" cy="267300"/>
          </a:xfrm>
        </p:grpSpPr>
        <p:sp>
          <p:nvSpPr>
            <p:cNvPr id="103" name="Google Shape;103;p20"/>
            <p:cNvSpPr/>
            <p:nvPr/>
          </p:nvSpPr>
          <p:spPr>
            <a:xfrm>
              <a:off x="928261" y="3904259"/>
              <a:ext cx="267300" cy="2673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104" name="Google Shape;104;p20"/>
            <p:cNvSpPr/>
            <p:nvPr/>
          </p:nvSpPr>
          <p:spPr>
            <a:xfrm>
              <a:off x="990885" y="3966883"/>
              <a:ext cx="142200" cy="1422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sp>
        <p:nvSpPr>
          <p:cNvPr id="105" name="Google Shape;105;p20"/>
          <p:cNvSpPr txBox="1"/>
          <p:nvPr/>
        </p:nvSpPr>
        <p:spPr>
          <a:xfrm>
            <a:off x="1565875" y="5566251"/>
            <a:ext cx="1253600" cy="4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8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&gt;7M 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  <a:buSzPts val="11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downloads</a:t>
            </a:r>
            <a:endParaRPr sz="667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106" name="Google Shape;106;p20"/>
          <p:cNvSpPr txBox="1"/>
          <p:nvPr/>
        </p:nvSpPr>
        <p:spPr>
          <a:xfrm>
            <a:off x="1739699" y="3266579"/>
            <a:ext cx="1042000" cy="45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 defTabSz="1219170">
              <a:spcBef>
                <a:spcPts val="667"/>
              </a:spcBef>
              <a:buClr>
                <a:srgbClr val="000000"/>
              </a:buClr>
              <a:buSzPts val="8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September </a:t>
            </a:r>
            <a:b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2023</a:t>
            </a:r>
            <a:endParaRPr sz="1600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pic>
        <p:nvPicPr>
          <p:cNvPr id="107" name="Google Shape;107;p2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953390" y="4774852"/>
            <a:ext cx="478476" cy="625712"/>
          </a:xfrm>
          <a:prstGeom prst="rect">
            <a:avLst/>
          </a:prstGeom>
          <a:noFill/>
          <a:ln>
            <a:noFill/>
          </a:ln>
        </p:spPr>
      </p:pic>
      <p:sp>
        <p:nvSpPr>
          <p:cNvPr id="108" name="Google Shape;108;p20"/>
          <p:cNvSpPr txBox="1"/>
          <p:nvPr/>
        </p:nvSpPr>
        <p:spPr>
          <a:xfrm>
            <a:off x="1623627" y="4149403"/>
            <a:ext cx="12536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First open-source model</a:t>
            </a:r>
            <a:endParaRPr sz="1200" b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grpSp>
        <p:nvGrpSpPr>
          <p:cNvPr id="109" name="Google Shape;109;p20"/>
          <p:cNvGrpSpPr/>
          <p:nvPr/>
        </p:nvGrpSpPr>
        <p:grpSpPr>
          <a:xfrm>
            <a:off x="2109682" y="3880638"/>
            <a:ext cx="267300" cy="267300"/>
            <a:chOff x="2379189" y="3769458"/>
            <a:chExt cx="267300" cy="267300"/>
          </a:xfrm>
        </p:grpSpPr>
        <p:sp>
          <p:nvSpPr>
            <p:cNvPr id="110" name="Google Shape;110;p20"/>
            <p:cNvSpPr/>
            <p:nvPr/>
          </p:nvSpPr>
          <p:spPr>
            <a:xfrm>
              <a:off x="2379189" y="3769458"/>
              <a:ext cx="267300" cy="2673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111" name="Google Shape;111;p20"/>
            <p:cNvSpPr/>
            <p:nvPr/>
          </p:nvSpPr>
          <p:spPr>
            <a:xfrm>
              <a:off x="2441813" y="3832082"/>
              <a:ext cx="142200" cy="1422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pic>
        <p:nvPicPr>
          <p:cNvPr id="112" name="Google Shape;112;p20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313954" y="4592331"/>
            <a:ext cx="1175317" cy="510627"/>
          </a:xfrm>
          <a:prstGeom prst="rect">
            <a:avLst/>
          </a:prstGeom>
          <a:noFill/>
          <a:ln>
            <a:noFill/>
          </a:ln>
        </p:spPr>
      </p:pic>
      <p:sp>
        <p:nvSpPr>
          <p:cNvPr id="113" name="Google Shape;113;p20"/>
          <p:cNvSpPr txBox="1"/>
          <p:nvPr/>
        </p:nvSpPr>
        <p:spPr>
          <a:xfrm>
            <a:off x="3380729" y="3066559"/>
            <a:ext cx="1042000" cy="45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 defTabSz="1219170">
              <a:spcBef>
                <a:spcPts val="667"/>
              </a:spcBef>
              <a:buClr>
                <a:srgbClr val="000000"/>
              </a:buClr>
              <a:buSzPts val="8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December </a:t>
            </a:r>
            <a:b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2023</a:t>
            </a:r>
            <a:endParaRPr sz="1600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114" name="Google Shape;114;p20"/>
          <p:cNvSpPr txBox="1"/>
          <p:nvPr/>
        </p:nvSpPr>
        <p:spPr>
          <a:xfrm>
            <a:off x="3056845" y="4006815"/>
            <a:ext cx="16896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First mainstream SMoE</a:t>
            </a:r>
            <a:r>
              <a:rPr lang="en" sz="1200" b="1" kern="0" baseline="3000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1</a:t>
            </a:r>
            <a: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 model  </a:t>
            </a:r>
            <a:endParaRPr sz="1200" b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grpSp>
        <p:nvGrpSpPr>
          <p:cNvPr id="115" name="Google Shape;115;p20"/>
          <p:cNvGrpSpPr/>
          <p:nvPr/>
        </p:nvGrpSpPr>
        <p:grpSpPr>
          <a:xfrm>
            <a:off x="3767931" y="3691845"/>
            <a:ext cx="267300" cy="267300"/>
            <a:chOff x="4337480" y="3447546"/>
            <a:chExt cx="267300" cy="267300"/>
          </a:xfrm>
        </p:grpSpPr>
        <p:sp>
          <p:nvSpPr>
            <p:cNvPr id="116" name="Google Shape;116;p20"/>
            <p:cNvSpPr/>
            <p:nvPr/>
          </p:nvSpPr>
          <p:spPr>
            <a:xfrm>
              <a:off x="4337480" y="3447546"/>
              <a:ext cx="267300" cy="2673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117" name="Google Shape;117;p20"/>
            <p:cNvSpPr/>
            <p:nvPr/>
          </p:nvSpPr>
          <p:spPr>
            <a:xfrm>
              <a:off x="4400104" y="3510170"/>
              <a:ext cx="142200" cy="1422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pic>
        <p:nvPicPr>
          <p:cNvPr id="118" name="Google Shape;118;p2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987210" y="4236276"/>
            <a:ext cx="535652" cy="143032"/>
          </a:xfrm>
          <a:custGeom>
            <a:avLst/>
            <a:gdLst/>
            <a:ahLst/>
            <a:cxnLst/>
            <a:rect l="l" t="t" r="r" b="b"/>
            <a:pathLst>
              <a:path w="1123745" h="297982" extrusionOk="0">
                <a:moveTo>
                  <a:pt x="784692" y="191188"/>
                </a:moveTo>
                <a:cubicBezTo>
                  <a:pt x="777492" y="193588"/>
                  <a:pt x="766093" y="196455"/>
                  <a:pt x="750494" y="199788"/>
                </a:cubicBezTo>
                <a:cubicBezTo>
                  <a:pt x="734895" y="203121"/>
                  <a:pt x="724695" y="206388"/>
                  <a:pt x="719896" y="209587"/>
                </a:cubicBezTo>
                <a:cubicBezTo>
                  <a:pt x="712563" y="214787"/>
                  <a:pt x="708896" y="221387"/>
                  <a:pt x="708896" y="229386"/>
                </a:cubicBezTo>
                <a:cubicBezTo>
                  <a:pt x="708896" y="237252"/>
                  <a:pt x="711829" y="244052"/>
                  <a:pt x="717696" y="249785"/>
                </a:cubicBezTo>
                <a:cubicBezTo>
                  <a:pt x="723562" y="255518"/>
                  <a:pt x="731028" y="258384"/>
                  <a:pt x="740094" y="258384"/>
                </a:cubicBezTo>
                <a:cubicBezTo>
                  <a:pt x="750227" y="258384"/>
                  <a:pt x="759893" y="255051"/>
                  <a:pt x="769093" y="248385"/>
                </a:cubicBezTo>
                <a:cubicBezTo>
                  <a:pt x="775892" y="243319"/>
                  <a:pt x="780359" y="237119"/>
                  <a:pt x="782492" y="229786"/>
                </a:cubicBezTo>
                <a:cubicBezTo>
                  <a:pt x="783958" y="224986"/>
                  <a:pt x="784692" y="215854"/>
                  <a:pt x="784692" y="202388"/>
                </a:cubicBezTo>
                <a:close/>
                <a:moveTo>
                  <a:pt x="750494" y="75995"/>
                </a:moveTo>
                <a:cubicBezTo>
                  <a:pt x="775559" y="75995"/>
                  <a:pt x="794224" y="78962"/>
                  <a:pt x="806490" y="84895"/>
                </a:cubicBezTo>
                <a:cubicBezTo>
                  <a:pt x="818756" y="90828"/>
                  <a:pt x="827389" y="98361"/>
                  <a:pt x="832389" y="107494"/>
                </a:cubicBezTo>
                <a:cubicBezTo>
                  <a:pt x="837389" y="116626"/>
                  <a:pt x="839888" y="133392"/>
                  <a:pt x="839888" y="157791"/>
                </a:cubicBezTo>
                <a:lnTo>
                  <a:pt x="839288" y="223386"/>
                </a:lnTo>
                <a:cubicBezTo>
                  <a:pt x="839288" y="242052"/>
                  <a:pt x="840188" y="255818"/>
                  <a:pt x="841988" y="264684"/>
                </a:cubicBezTo>
                <a:cubicBezTo>
                  <a:pt x="843788" y="273550"/>
                  <a:pt x="847155" y="283050"/>
                  <a:pt x="852088" y="293182"/>
                </a:cubicBezTo>
                <a:lnTo>
                  <a:pt x="796491" y="293182"/>
                </a:lnTo>
                <a:cubicBezTo>
                  <a:pt x="795024" y="289449"/>
                  <a:pt x="793224" y="283916"/>
                  <a:pt x="791091" y="276583"/>
                </a:cubicBezTo>
                <a:cubicBezTo>
                  <a:pt x="790158" y="273250"/>
                  <a:pt x="789491" y="271050"/>
                  <a:pt x="789091" y="269984"/>
                </a:cubicBezTo>
                <a:cubicBezTo>
                  <a:pt x="779492" y="279316"/>
                  <a:pt x="769226" y="286316"/>
                  <a:pt x="758293" y="290982"/>
                </a:cubicBezTo>
                <a:cubicBezTo>
                  <a:pt x="747361" y="295649"/>
                  <a:pt x="735695" y="297982"/>
                  <a:pt x="723295" y="297982"/>
                </a:cubicBezTo>
                <a:cubicBezTo>
                  <a:pt x="701430" y="297982"/>
                  <a:pt x="684198" y="292049"/>
                  <a:pt x="671599" y="280183"/>
                </a:cubicBezTo>
                <a:cubicBezTo>
                  <a:pt x="658999" y="268317"/>
                  <a:pt x="652700" y="253318"/>
                  <a:pt x="652700" y="235186"/>
                </a:cubicBezTo>
                <a:cubicBezTo>
                  <a:pt x="652700" y="223187"/>
                  <a:pt x="655566" y="212487"/>
                  <a:pt x="661299" y="203088"/>
                </a:cubicBezTo>
                <a:cubicBezTo>
                  <a:pt x="667032" y="193688"/>
                  <a:pt x="675065" y="186489"/>
                  <a:pt x="685398" y="181489"/>
                </a:cubicBezTo>
                <a:cubicBezTo>
                  <a:pt x="695730" y="176489"/>
                  <a:pt x="710630" y="172123"/>
                  <a:pt x="730095" y="168390"/>
                </a:cubicBezTo>
                <a:cubicBezTo>
                  <a:pt x="756360" y="163457"/>
                  <a:pt x="774559" y="158857"/>
                  <a:pt x="784692" y="154591"/>
                </a:cubicBezTo>
                <a:lnTo>
                  <a:pt x="784692" y="148991"/>
                </a:lnTo>
                <a:cubicBezTo>
                  <a:pt x="784692" y="138192"/>
                  <a:pt x="782025" y="130492"/>
                  <a:pt x="776692" y="125892"/>
                </a:cubicBezTo>
                <a:cubicBezTo>
                  <a:pt x="771359" y="121293"/>
                  <a:pt x="761293" y="118993"/>
                  <a:pt x="746494" y="118993"/>
                </a:cubicBezTo>
                <a:cubicBezTo>
                  <a:pt x="736495" y="118993"/>
                  <a:pt x="728695" y="120959"/>
                  <a:pt x="723095" y="124893"/>
                </a:cubicBezTo>
                <a:cubicBezTo>
                  <a:pt x="717496" y="128826"/>
                  <a:pt x="712963" y="135725"/>
                  <a:pt x="709496" y="145591"/>
                </a:cubicBezTo>
                <a:lnTo>
                  <a:pt x="658499" y="136392"/>
                </a:lnTo>
                <a:cubicBezTo>
                  <a:pt x="664232" y="115860"/>
                  <a:pt x="674098" y="100661"/>
                  <a:pt x="688098" y="90795"/>
                </a:cubicBezTo>
                <a:cubicBezTo>
                  <a:pt x="702097" y="80929"/>
                  <a:pt x="722896" y="75995"/>
                  <a:pt x="750494" y="75995"/>
                </a:cubicBezTo>
                <a:close/>
                <a:moveTo>
                  <a:pt x="390767" y="75995"/>
                </a:moveTo>
                <a:cubicBezTo>
                  <a:pt x="404366" y="75995"/>
                  <a:pt x="416165" y="78795"/>
                  <a:pt x="426165" y="84395"/>
                </a:cubicBezTo>
                <a:cubicBezTo>
                  <a:pt x="436164" y="89995"/>
                  <a:pt x="444364" y="98461"/>
                  <a:pt x="450763" y="109793"/>
                </a:cubicBezTo>
                <a:cubicBezTo>
                  <a:pt x="460096" y="98461"/>
                  <a:pt x="470162" y="89995"/>
                  <a:pt x="480961" y="84395"/>
                </a:cubicBezTo>
                <a:cubicBezTo>
                  <a:pt x="491761" y="78795"/>
                  <a:pt x="503293" y="75995"/>
                  <a:pt x="515559" y="75995"/>
                </a:cubicBezTo>
                <a:cubicBezTo>
                  <a:pt x="531158" y="75995"/>
                  <a:pt x="544357" y="79162"/>
                  <a:pt x="555157" y="85495"/>
                </a:cubicBezTo>
                <a:cubicBezTo>
                  <a:pt x="565956" y="91828"/>
                  <a:pt x="574022" y="101127"/>
                  <a:pt x="579355" y="113393"/>
                </a:cubicBezTo>
                <a:cubicBezTo>
                  <a:pt x="583222" y="122459"/>
                  <a:pt x="585155" y="137125"/>
                  <a:pt x="585155" y="157391"/>
                </a:cubicBezTo>
                <a:lnTo>
                  <a:pt x="585155" y="293182"/>
                </a:lnTo>
                <a:lnTo>
                  <a:pt x="528958" y="293182"/>
                </a:lnTo>
                <a:lnTo>
                  <a:pt x="528958" y="171790"/>
                </a:lnTo>
                <a:cubicBezTo>
                  <a:pt x="528958" y="150724"/>
                  <a:pt x="527025" y="137125"/>
                  <a:pt x="523159" y="130992"/>
                </a:cubicBezTo>
                <a:cubicBezTo>
                  <a:pt x="517959" y="122993"/>
                  <a:pt x="509960" y="118993"/>
                  <a:pt x="499160" y="118993"/>
                </a:cubicBezTo>
                <a:cubicBezTo>
                  <a:pt x="491294" y="118993"/>
                  <a:pt x="483895" y="121393"/>
                  <a:pt x="476962" y="126192"/>
                </a:cubicBezTo>
                <a:cubicBezTo>
                  <a:pt x="470029" y="130992"/>
                  <a:pt x="465029" y="138025"/>
                  <a:pt x="461963" y="147291"/>
                </a:cubicBezTo>
                <a:cubicBezTo>
                  <a:pt x="458896" y="156557"/>
                  <a:pt x="457363" y="171190"/>
                  <a:pt x="457363" y="191188"/>
                </a:cubicBezTo>
                <a:lnTo>
                  <a:pt x="457363" y="293182"/>
                </a:lnTo>
                <a:lnTo>
                  <a:pt x="401166" y="293182"/>
                </a:lnTo>
                <a:lnTo>
                  <a:pt x="401166" y="176789"/>
                </a:lnTo>
                <a:cubicBezTo>
                  <a:pt x="401166" y="156124"/>
                  <a:pt x="400166" y="142791"/>
                  <a:pt x="398166" y="136792"/>
                </a:cubicBezTo>
                <a:cubicBezTo>
                  <a:pt x="396167" y="130792"/>
                  <a:pt x="393067" y="126326"/>
                  <a:pt x="388867" y="123393"/>
                </a:cubicBezTo>
                <a:cubicBezTo>
                  <a:pt x="384667" y="120459"/>
                  <a:pt x="378968" y="118993"/>
                  <a:pt x="371768" y="118993"/>
                </a:cubicBezTo>
                <a:cubicBezTo>
                  <a:pt x="363102" y="118993"/>
                  <a:pt x="355302" y="121326"/>
                  <a:pt x="348370" y="125992"/>
                </a:cubicBezTo>
                <a:cubicBezTo>
                  <a:pt x="341437" y="130659"/>
                  <a:pt x="336470" y="137392"/>
                  <a:pt x="333470" y="146191"/>
                </a:cubicBezTo>
                <a:cubicBezTo>
                  <a:pt x="330471" y="154991"/>
                  <a:pt x="328971" y="169590"/>
                  <a:pt x="328971" y="189989"/>
                </a:cubicBezTo>
                <a:lnTo>
                  <a:pt x="328971" y="293182"/>
                </a:lnTo>
                <a:lnTo>
                  <a:pt x="272774" y="293182"/>
                </a:lnTo>
                <a:lnTo>
                  <a:pt x="272774" y="80795"/>
                </a:lnTo>
                <a:lnTo>
                  <a:pt x="324571" y="80795"/>
                </a:lnTo>
                <a:lnTo>
                  <a:pt x="324571" y="109793"/>
                </a:lnTo>
                <a:cubicBezTo>
                  <a:pt x="343103" y="87261"/>
                  <a:pt x="365168" y="75995"/>
                  <a:pt x="390767" y="75995"/>
                </a:cubicBezTo>
                <a:close/>
                <a:moveTo>
                  <a:pt x="97194" y="75995"/>
                </a:moveTo>
                <a:cubicBezTo>
                  <a:pt x="126259" y="75995"/>
                  <a:pt x="147858" y="80729"/>
                  <a:pt x="161990" y="90195"/>
                </a:cubicBezTo>
                <a:cubicBezTo>
                  <a:pt x="176123" y="99661"/>
                  <a:pt x="185855" y="113660"/>
                  <a:pt x="191188" y="132192"/>
                </a:cubicBezTo>
                <a:lnTo>
                  <a:pt x="138192" y="141991"/>
                </a:lnTo>
                <a:cubicBezTo>
                  <a:pt x="135925" y="133725"/>
                  <a:pt x="131625" y="127392"/>
                  <a:pt x="125292" y="122993"/>
                </a:cubicBezTo>
                <a:cubicBezTo>
                  <a:pt x="118959" y="118593"/>
                  <a:pt x="109927" y="116393"/>
                  <a:pt x="98194" y="116393"/>
                </a:cubicBezTo>
                <a:cubicBezTo>
                  <a:pt x="83395" y="116393"/>
                  <a:pt x="72796" y="118460"/>
                  <a:pt x="66396" y="122593"/>
                </a:cubicBezTo>
                <a:cubicBezTo>
                  <a:pt x="62130" y="125526"/>
                  <a:pt x="59996" y="129326"/>
                  <a:pt x="59996" y="133992"/>
                </a:cubicBezTo>
                <a:cubicBezTo>
                  <a:pt x="59996" y="137992"/>
                  <a:pt x="61863" y="141392"/>
                  <a:pt x="65596" y="144191"/>
                </a:cubicBezTo>
                <a:cubicBezTo>
                  <a:pt x="70662" y="147924"/>
                  <a:pt x="88161" y="153191"/>
                  <a:pt x="118093" y="159990"/>
                </a:cubicBezTo>
                <a:cubicBezTo>
                  <a:pt x="148024" y="166790"/>
                  <a:pt x="168923" y="175123"/>
                  <a:pt x="180789" y="184989"/>
                </a:cubicBezTo>
                <a:cubicBezTo>
                  <a:pt x="192522" y="194988"/>
                  <a:pt x="198388" y="208921"/>
                  <a:pt x="198388" y="226786"/>
                </a:cubicBezTo>
                <a:cubicBezTo>
                  <a:pt x="198388" y="246252"/>
                  <a:pt x="190255" y="262984"/>
                  <a:pt x="173989" y="276983"/>
                </a:cubicBezTo>
                <a:cubicBezTo>
                  <a:pt x="157724" y="290982"/>
                  <a:pt x="133659" y="297982"/>
                  <a:pt x="101794" y="297982"/>
                </a:cubicBezTo>
                <a:cubicBezTo>
                  <a:pt x="72862" y="297982"/>
                  <a:pt x="49964" y="292116"/>
                  <a:pt x="33098" y="280383"/>
                </a:cubicBezTo>
                <a:cubicBezTo>
                  <a:pt x="16232" y="268650"/>
                  <a:pt x="5200" y="252718"/>
                  <a:pt x="0" y="232586"/>
                </a:cubicBezTo>
                <a:lnTo>
                  <a:pt x="56397" y="223986"/>
                </a:lnTo>
                <a:cubicBezTo>
                  <a:pt x="58796" y="234919"/>
                  <a:pt x="63663" y="243219"/>
                  <a:pt x="70996" y="248885"/>
                </a:cubicBezTo>
                <a:cubicBezTo>
                  <a:pt x="78329" y="254551"/>
                  <a:pt x="88595" y="257384"/>
                  <a:pt x="101794" y="257384"/>
                </a:cubicBezTo>
                <a:cubicBezTo>
                  <a:pt x="116326" y="257384"/>
                  <a:pt x="127259" y="254718"/>
                  <a:pt x="134592" y="249385"/>
                </a:cubicBezTo>
                <a:cubicBezTo>
                  <a:pt x="139525" y="245652"/>
                  <a:pt x="141991" y="240652"/>
                  <a:pt x="141991" y="234386"/>
                </a:cubicBezTo>
                <a:cubicBezTo>
                  <a:pt x="141991" y="230119"/>
                  <a:pt x="140658" y="226586"/>
                  <a:pt x="137992" y="223786"/>
                </a:cubicBezTo>
                <a:cubicBezTo>
                  <a:pt x="135192" y="221120"/>
                  <a:pt x="128926" y="218653"/>
                  <a:pt x="119193" y="216387"/>
                </a:cubicBezTo>
                <a:cubicBezTo>
                  <a:pt x="73862" y="206388"/>
                  <a:pt x="45131" y="197255"/>
                  <a:pt x="32998" y="188989"/>
                </a:cubicBezTo>
                <a:cubicBezTo>
                  <a:pt x="16199" y="177523"/>
                  <a:pt x="7800" y="161590"/>
                  <a:pt x="7800" y="141192"/>
                </a:cubicBezTo>
                <a:cubicBezTo>
                  <a:pt x="7800" y="122793"/>
                  <a:pt x="15066" y="107327"/>
                  <a:pt x="29598" y="94794"/>
                </a:cubicBezTo>
                <a:cubicBezTo>
                  <a:pt x="44131" y="82262"/>
                  <a:pt x="66663" y="75995"/>
                  <a:pt x="97194" y="75995"/>
                </a:cubicBezTo>
                <a:close/>
                <a:moveTo>
                  <a:pt x="1067549" y="0"/>
                </a:moveTo>
                <a:lnTo>
                  <a:pt x="1123745" y="0"/>
                </a:lnTo>
                <a:lnTo>
                  <a:pt x="1123745" y="293182"/>
                </a:lnTo>
                <a:lnTo>
                  <a:pt x="1067549" y="293182"/>
                </a:lnTo>
                <a:close/>
                <a:moveTo>
                  <a:pt x="924674" y="0"/>
                </a:moveTo>
                <a:lnTo>
                  <a:pt x="980871" y="0"/>
                </a:lnTo>
                <a:lnTo>
                  <a:pt x="980871" y="293182"/>
                </a:lnTo>
                <a:lnTo>
                  <a:pt x="924674" y="293182"/>
                </a:lnTo>
                <a:close/>
              </a:path>
            </a:pathLst>
          </a:custGeom>
          <a:noFill/>
          <a:ln>
            <a:noFill/>
          </a:ln>
        </p:spPr>
      </p:pic>
      <p:pic>
        <p:nvPicPr>
          <p:cNvPr id="119" name="Google Shape;119;p20"/>
          <p:cNvPicPr preferRelativeResize="0"/>
          <p:nvPr/>
        </p:nvPicPr>
        <p:blipFill rotWithShape="1">
          <a:blip r:embed="rId7">
            <a:alphaModFix/>
          </a:blip>
          <a:srcRect l="15895" t="29121" b="35800"/>
          <a:stretch/>
        </p:blipFill>
        <p:spPr>
          <a:xfrm>
            <a:off x="6595245" y="4364242"/>
            <a:ext cx="790780" cy="1920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0" name="Google Shape;120;p20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5861785" y="4013178"/>
            <a:ext cx="795871" cy="296444"/>
          </a:xfrm>
          <a:custGeom>
            <a:avLst/>
            <a:gdLst/>
            <a:ahLst/>
            <a:cxnLst/>
            <a:rect l="l" t="t" r="r" b="b"/>
            <a:pathLst>
              <a:path w="1193806" h="423491" extrusionOk="0">
                <a:moveTo>
                  <a:pt x="292745" y="213420"/>
                </a:moveTo>
                <a:cubicBezTo>
                  <a:pt x="284708" y="216099"/>
                  <a:pt x="271983" y="219298"/>
                  <a:pt x="254570" y="223019"/>
                </a:cubicBezTo>
                <a:cubicBezTo>
                  <a:pt x="237157" y="226740"/>
                  <a:pt x="225772" y="230386"/>
                  <a:pt x="220414" y="233958"/>
                </a:cubicBezTo>
                <a:cubicBezTo>
                  <a:pt x="212229" y="239762"/>
                  <a:pt x="208136" y="247129"/>
                  <a:pt x="208136" y="256059"/>
                </a:cubicBezTo>
                <a:cubicBezTo>
                  <a:pt x="208136" y="264840"/>
                  <a:pt x="211410" y="272430"/>
                  <a:pt x="217958" y="278830"/>
                </a:cubicBezTo>
                <a:cubicBezTo>
                  <a:pt x="224507" y="285229"/>
                  <a:pt x="232841" y="288429"/>
                  <a:pt x="242962" y="288429"/>
                </a:cubicBezTo>
                <a:cubicBezTo>
                  <a:pt x="254272" y="288429"/>
                  <a:pt x="265063" y="284708"/>
                  <a:pt x="275332" y="277267"/>
                </a:cubicBezTo>
                <a:cubicBezTo>
                  <a:pt x="282922" y="271612"/>
                  <a:pt x="287908" y="264691"/>
                  <a:pt x="290289" y="256505"/>
                </a:cubicBezTo>
                <a:cubicBezTo>
                  <a:pt x="291926" y="251148"/>
                  <a:pt x="292745" y="240953"/>
                  <a:pt x="292745" y="225921"/>
                </a:cubicBezTo>
                <a:close/>
                <a:moveTo>
                  <a:pt x="1084808" y="132829"/>
                </a:moveTo>
                <a:cubicBezTo>
                  <a:pt x="1071116" y="132829"/>
                  <a:pt x="1059805" y="137815"/>
                  <a:pt x="1050875" y="147786"/>
                </a:cubicBezTo>
                <a:cubicBezTo>
                  <a:pt x="1041945" y="157758"/>
                  <a:pt x="1037555" y="171301"/>
                  <a:pt x="1037704" y="188417"/>
                </a:cubicBezTo>
                <a:lnTo>
                  <a:pt x="1131465" y="188417"/>
                </a:lnTo>
                <a:cubicBezTo>
                  <a:pt x="1131019" y="170259"/>
                  <a:pt x="1126331" y="156456"/>
                  <a:pt x="1117401" y="147005"/>
                </a:cubicBezTo>
                <a:cubicBezTo>
                  <a:pt x="1108471" y="137554"/>
                  <a:pt x="1097607" y="132829"/>
                  <a:pt x="1084808" y="132829"/>
                </a:cubicBezTo>
                <a:close/>
                <a:moveTo>
                  <a:pt x="778296" y="132829"/>
                </a:moveTo>
                <a:cubicBezTo>
                  <a:pt x="763265" y="132829"/>
                  <a:pt x="750875" y="138671"/>
                  <a:pt x="741126" y="150354"/>
                </a:cubicBezTo>
                <a:cubicBezTo>
                  <a:pt x="731378" y="162037"/>
                  <a:pt x="726504" y="179859"/>
                  <a:pt x="726504" y="203820"/>
                </a:cubicBezTo>
                <a:cubicBezTo>
                  <a:pt x="726504" y="228972"/>
                  <a:pt x="731378" y="247390"/>
                  <a:pt x="741126" y="259073"/>
                </a:cubicBezTo>
                <a:cubicBezTo>
                  <a:pt x="750875" y="270756"/>
                  <a:pt x="762893" y="276597"/>
                  <a:pt x="777180" y="276597"/>
                </a:cubicBezTo>
                <a:cubicBezTo>
                  <a:pt x="792509" y="276597"/>
                  <a:pt x="805457" y="270607"/>
                  <a:pt x="816024" y="258626"/>
                </a:cubicBezTo>
                <a:cubicBezTo>
                  <a:pt x="826591" y="246646"/>
                  <a:pt x="831874" y="228898"/>
                  <a:pt x="831874" y="205383"/>
                </a:cubicBezTo>
                <a:cubicBezTo>
                  <a:pt x="831874" y="180826"/>
                  <a:pt x="826814" y="162595"/>
                  <a:pt x="816694" y="150689"/>
                </a:cubicBezTo>
                <a:cubicBezTo>
                  <a:pt x="806574" y="138782"/>
                  <a:pt x="793774" y="132829"/>
                  <a:pt x="778296" y="132829"/>
                </a:cubicBezTo>
                <a:close/>
                <a:moveTo>
                  <a:pt x="1081013" y="84832"/>
                </a:moveTo>
                <a:cubicBezTo>
                  <a:pt x="1116285" y="84832"/>
                  <a:pt x="1144116" y="96478"/>
                  <a:pt x="1164505" y="119770"/>
                </a:cubicBezTo>
                <a:cubicBezTo>
                  <a:pt x="1184895" y="143061"/>
                  <a:pt x="1194643" y="178743"/>
                  <a:pt x="1193750" y="226814"/>
                </a:cubicBezTo>
                <a:lnTo>
                  <a:pt x="1036587" y="226814"/>
                </a:lnTo>
                <a:cubicBezTo>
                  <a:pt x="1037034" y="245418"/>
                  <a:pt x="1042094" y="259891"/>
                  <a:pt x="1051768" y="270235"/>
                </a:cubicBezTo>
                <a:cubicBezTo>
                  <a:pt x="1061442" y="280578"/>
                  <a:pt x="1073497" y="285750"/>
                  <a:pt x="1087933" y="285750"/>
                </a:cubicBezTo>
                <a:cubicBezTo>
                  <a:pt x="1097756" y="285750"/>
                  <a:pt x="1106016" y="283071"/>
                  <a:pt x="1112713" y="277713"/>
                </a:cubicBezTo>
                <a:cubicBezTo>
                  <a:pt x="1119410" y="272356"/>
                  <a:pt x="1124471" y="263724"/>
                  <a:pt x="1127893" y="251817"/>
                </a:cubicBezTo>
                <a:lnTo>
                  <a:pt x="1190401" y="262310"/>
                </a:lnTo>
                <a:cubicBezTo>
                  <a:pt x="1182365" y="285229"/>
                  <a:pt x="1169677" y="302679"/>
                  <a:pt x="1152339" y="314660"/>
                </a:cubicBezTo>
                <a:cubicBezTo>
                  <a:pt x="1135000" y="326641"/>
                  <a:pt x="1113308" y="332631"/>
                  <a:pt x="1087263" y="332631"/>
                </a:cubicBezTo>
                <a:cubicBezTo>
                  <a:pt x="1046038" y="332631"/>
                  <a:pt x="1015528" y="319162"/>
                  <a:pt x="995734" y="292224"/>
                </a:cubicBezTo>
                <a:cubicBezTo>
                  <a:pt x="980107" y="270644"/>
                  <a:pt x="972294" y="243409"/>
                  <a:pt x="972294" y="210518"/>
                </a:cubicBezTo>
                <a:cubicBezTo>
                  <a:pt x="972294" y="171227"/>
                  <a:pt x="982563" y="140457"/>
                  <a:pt x="1003101" y="118207"/>
                </a:cubicBezTo>
                <a:cubicBezTo>
                  <a:pt x="1023639" y="95957"/>
                  <a:pt x="1049610" y="84832"/>
                  <a:pt x="1081013" y="84832"/>
                </a:cubicBezTo>
                <a:close/>
                <a:moveTo>
                  <a:pt x="762223" y="84832"/>
                </a:moveTo>
                <a:cubicBezTo>
                  <a:pt x="791542" y="84832"/>
                  <a:pt x="815727" y="97706"/>
                  <a:pt x="834777" y="123453"/>
                </a:cubicBezTo>
                <a:lnTo>
                  <a:pt x="834777" y="90190"/>
                </a:lnTo>
                <a:lnTo>
                  <a:pt x="893489" y="90190"/>
                </a:lnTo>
                <a:lnTo>
                  <a:pt x="893489" y="302940"/>
                </a:lnTo>
                <a:cubicBezTo>
                  <a:pt x="893489" y="330920"/>
                  <a:pt x="891182" y="351830"/>
                  <a:pt x="886569" y="365671"/>
                </a:cubicBezTo>
                <a:cubicBezTo>
                  <a:pt x="881955" y="379512"/>
                  <a:pt x="875481" y="390376"/>
                  <a:pt x="867147" y="398264"/>
                </a:cubicBezTo>
                <a:cubicBezTo>
                  <a:pt x="858812" y="406152"/>
                  <a:pt x="847687" y="412328"/>
                  <a:pt x="833772" y="416793"/>
                </a:cubicBezTo>
                <a:cubicBezTo>
                  <a:pt x="819857" y="421258"/>
                  <a:pt x="802258" y="423491"/>
                  <a:pt x="780975" y="423491"/>
                </a:cubicBezTo>
                <a:cubicBezTo>
                  <a:pt x="740792" y="423491"/>
                  <a:pt x="712291" y="416607"/>
                  <a:pt x="695473" y="402841"/>
                </a:cubicBezTo>
                <a:cubicBezTo>
                  <a:pt x="678656" y="389074"/>
                  <a:pt x="670247" y="371624"/>
                  <a:pt x="670247" y="350490"/>
                </a:cubicBezTo>
                <a:cubicBezTo>
                  <a:pt x="670247" y="348407"/>
                  <a:pt x="670321" y="345877"/>
                  <a:pt x="670470" y="342900"/>
                </a:cubicBezTo>
                <a:lnTo>
                  <a:pt x="742131" y="351607"/>
                </a:lnTo>
                <a:cubicBezTo>
                  <a:pt x="743322" y="359941"/>
                  <a:pt x="746075" y="365671"/>
                  <a:pt x="750391" y="368796"/>
                </a:cubicBezTo>
                <a:cubicBezTo>
                  <a:pt x="756344" y="373261"/>
                  <a:pt x="765720" y="375494"/>
                  <a:pt x="778519" y="375494"/>
                </a:cubicBezTo>
                <a:cubicBezTo>
                  <a:pt x="794891" y="375494"/>
                  <a:pt x="807169" y="373038"/>
                  <a:pt x="815354" y="368127"/>
                </a:cubicBezTo>
                <a:cubicBezTo>
                  <a:pt x="820861" y="364852"/>
                  <a:pt x="825028" y="359569"/>
                  <a:pt x="827856" y="352276"/>
                </a:cubicBezTo>
                <a:cubicBezTo>
                  <a:pt x="829791" y="347067"/>
                  <a:pt x="830758" y="337468"/>
                  <a:pt x="830758" y="323478"/>
                </a:cubicBezTo>
                <a:lnTo>
                  <a:pt x="830758" y="288876"/>
                </a:lnTo>
                <a:cubicBezTo>
                  <a:pt x="812006" y="314474"/>
                  <a:pt x="788342" y="327273"/>
                  <a:pt x="759767" y="327273"/>
                </a:cubicBezTo>
                <a:cubicBezTo>
                  <a:pt x="727918" y="327273"/>
                  <a:pt x="702692" y="313804"/>
                  <a:pt x="684088" y="286866"/>
                </a:cubicBezTo>
                <a:cubicBezTo>
                  <a:pt x="669503" y="265584"/>
                  <a:pt x="662210" y="239093"/>
                  <a:pt x="662210" y="207392"/>
                </a:cubicBezTo>
                <a:cubicBezTo>
                  <a:pt x="662210" y="167655"/>
                  <a:pt x="671773" y="137294"/>
                  <a:pt x="690897" y="116309"/>
                </a:cubicBezTo>
                <a:cubicBezTo>
                  <a:pt x="710021" y="95325"/>
                  <a:pt x="733797" y="84832"/>
                  <a:pt x="762223" y="84832"/>
                </a:cubicBezTo>
                <a:close/>
                <a:moveTo>
                  <a:pt x="566811" y="84832"/>
                </a:moveTo>
                <a:cubicBezTo>
                  <a:pt x="581099" y="84832"/>
                  <a:pt x="594866" y="88776"/>
                  <a:pt x="608111" y="96664"/>
                </a:cubicBezTo>
                <a:lnTo>
                  <a:pt x="588689" y="151358"/>
                </a:lnTo>
                <a:cubicBezTo>
                  <a:pt x="578122" y="144512"/>
                  <a:pt x="568300" y="141089"/>
                  <a:pt x="559221" y="141089"/>
                </a:cubicBezTo>
                <a:cubicBezTo>
                  <a:pt x="550440" y="141089"/>
                  <a:pt x="542999" y="143508"/>
                  <a:pt x="536897" y="148345"/>
                </a:cubicBezTo>
                <a:cubicBezTo>
                  <a:pt x="530795" y="153181"/>
                  <a:pt x="525995" y="161925"/>
                  <a:pt x="522498" y="174576"/>
                </a:cubicBezTo>
                <a:cubicBezTo>
                  <a:pt x="519001" y="187226"/>
                  <a:pt x="517252" y="213717"/>
                  <a:pt x="517252" y="254050"/>
                </a:cubicBezTo>
                <a:lnTo>
                  <a:pt x="517252" y="327273"/>
                </a:lnTo>
                <a:lnTo>
                  <a:pt x="454521" y="327273"/>
                </a:lnTo>
                <a:lnTo>
                  <a:pt x="454521" y="90190"/>
                </a:lnTo>
                <a:lnTo>
                  <a:pt x="512787" y="90190"/>
                </a:lnTo>
                <a:lnTo>
                  <a:pt x="512787" y="123900"/>
                </a:lnTo>
                <a:cubicBezTo>
                  <a:pt x="522758" y="107975"/>
                  <a:pt x="531725" y="97483"/>
                  <a:pt x="539688" y="92422"/>
                </a:cubicBezTo>
                <a:cubicBezTo>
                  <a:pt x="547650" y="87362"/>
                  <a:pt x="556691" y="84832"/>
                  <a:pt x="566811" y="84832"/>
                </a:cubicBezTo>
                <a:close/>
                <a:moveTo>
                  <a:pt x="254570" y="84832"/>
                </a:moveTo>
                <a:cubicBezTo>
                  <a:pt x="282550" y="84832"/>
                  <a:pt x="303386" y="88144"/>
                  <a:pt x="317078" y="94766"/>
                </a:cubicBezTo>
                <a:cubicBezTo>
                  <a:pt x="330770" y="101389"/>
                  <a:pt x="340407" y="109798"/>
                  <a:pt x="345988" y="119993"/>
                </a:cubicBezTo>
                <a:cubicBezTo>
                  <a:pt x="351569" y="130187"/>
                  <a:pt x="354359" y="148903"/>
                  <a:pt x="354359" y="176138"/>
                </a:cubicBezTo>
                <a:lnTo>
                  <a:pt x="353690" y="249362"/>
                </a:lnTo>
                <a:cubicBezTo>
                  <a:pt x="353690" y="270198"/>
                  <a:pt x="354694" y="285564"/>
                  <a:pt x="356703" y="295461"/>
                </a:cubicBezTo>
                <a:cubicBezTo>
                  <a:pt x="358713" y="305358"/>
                  <a:pt x="362471" y="315962"/>
                  <a:pt x="367977" y="327273"/>
                </a:cubicBezTo>
                <a:lnTo>
                  <a:pt x="305916" y="327273"/>
                </a:lnTo>
                <a:cubicBezTo>
                  <a:pt x="304279" y="323106"/>
                  <a:pt x="302270" y="316930"/>
                  <a:pt x="299888" y="308744"/>
                </a:cubicBezTo>
                <a:cubicBezTo>
                  <a:pt x="298847" y="305023"/>
                  <a:pt x="298102" y="302568"/>
                  <a:pt x="297656" y="301377"/>
                </a:cubicBezTo>
                <a:cubicBezTo>
                  <a:pt x="286940" y="311795"/>
                  <a:pt x="275480" y="319609"/>
                  <a:pt x="263277" y="324818"/>
                </a:cubicBezTo>
                <a:cubicBezTo>
                  <a:pt x="251073" y="330027"/>
                  <a:pt x="238050" y="332631"/>
                  <a:pt x="224209" y="332631"/>
                </a:cubicBezTo>
                <a:cubicBezTo>
                  <a:pt x="199801" y="332631"/>
                  <a:pt x="180565" y="326008"/>
                  <a:pt x="166501" y="312762"/>
                </a:cubicBezTo>
                <a:cubicBezTo>
                  <a:pt x="152437" y="299517"/>
                  <a:pt x="145405" y="282774"/>
                  <a:pt x="145405" y="262533"/>
                </a:cubicBezTo>
                <a:cubicBezTo>
                  <a:pt x="145405" y="249138"/>
                  <a:pt x="148605" y="237195"/>
                  <a:pt x="155004" y="226703"/>
                </a:cubicBezTo>
                <a:cubicBezTo>
                  <a:pt x="161404" y="216210"/>
                  <a:pt x="170371" y="208174"/>
                  <a:pt x="181905" y="202592"/>
                </a:cubicBezTo>
                <a:cubicBezTo>
                  <a:pt x="193439" y="197011"/>
                  <a:pt x="210071" y="192137"/>
                  <a:pt x="231799" y="187970"/>
                </a:cubicBezTo>
                <a:cubicBezTo>
                  <a:pt x="261119" y="182463"/>
                  <a:pt x="281434" y="177329"/>
                  <a:pt x="292745" y="172566"/>
                </a:cubicBezTo>
                <a:lnTo>
                  <a:pt x="292745" y="166316"/>
                </a:lnTo>
                <a:cubicBezTo>
                  <a:pt x="292745" y="154260"/>
                  <a:pt x="289768" y="145666"/>
                  <a:pt x="283815" y="140531"/>
                </a:cubicBezTo>
                <a:cubicBezTo>
                  <a:pt x="277862" y="135396"/>
                  <a:pt x="266625" y="132829"/>
                  <a:pt x="250105" y="132829"/>
                </a:cubicBezTo>
                <a:cubicBezTo>
                  <a:pt x="238943" y="132829"/>
                  <a:pt x="230237" y="135024"/>
                  <a:pt x="223986" y="139415"/>
                </a:cubicBezTo>
                <a:cubicBezTo>
                  <a:pt x="217735" y="143805"/>
                  <a:pt x="212675" y="151507"/>
                  <a:pt x="208805" y="162520"/>
                </a:cubicBezTo>
                <a:lnTo>
                  <a:pt x="151879" y="152251"/>
                </a:lnTo>
                <a:cubicBezTo>
                  <a:pt x="158278" y="129332"/>
                  <a:pt x="169292" y="112365"/>
                  <a:pt x="184919" y="101352"/>
                </a:cubicBezTo>
                <a:cubicBezTo>
                  <a:pt x="200546" y="90339"/>
                  <a:pt x="223763" y="84832"/>
                  <a:pt x="254570" y="84832"/>
                </a:cubicBezTo>
                <a:close/>
                <a:moveTo>
                  <a:pt x="0" y="0"/>
                </a:moveTo>
                <a:lnTo>
                  <a:pt x="62731" y="0"/>
                </a:lnTo>
                <a:lnTo>
                  <a:pt x="62731" y="327273"/>
                </a:lnTo>
                <a:lnTo>
                  <a:pt x="0" y="327273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121" name="Google Shape;121;p20"/>
          <p:cNvSpPr txBox="1"/>
          <p:nvPr/>
        </p:nvSpPr>
        <p:spPr>
          <a:xfrm>
            <a:off x="5626427" y="2712924"/>
            <a:ext cx="1042000" cy="45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 defTabSz="1219170">
              <a:spcBef>
                <a:spcPts val="667"/>
              </a:spcBef>
              <a:buClr>
                <a:srgbClr val="000000"/>
              </a:buClr>
              <a:buSzPts val="8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February </a:t>
            </a:r>
            <a:b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2024</a:t>
            </a:r>
            <a:endParaRPr sz="1600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122" name="Google Shape;122;p20"/>
          <p:cNvSpPr txBox="1"/>
          <p:nvPr/>
        </p:nvSpPr>
        <p:spPr>
          <a:xfrm>
            <a:off x="5083248" y="3708847"/>
            <a:ext cx="2269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Optimized models</a:t>
            </a:r>
            <a:endParaRPr sz="1200" b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123" name="Google Shape;123;p20"/>
          <p:cNvSpPr txBox="1"/>
          <p:nvPr/>
        </p:nvSpPr>
        <p:spPr>
          <a:xfrm>
            <a:off x="6025073" y="4674047"/>
            <a:ext cx="14764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800" i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Our conversational </a:t>
            </a:r>
            <a:br>
              <a:rPr lang="en" sz="800" i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r>
              <a:rPr lang="en" sz="800" i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AI interface  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4" name="Google Shape;124;p20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4986187" y="4637453"/>
            <a:ext cx="942096" cy="28281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5" name="Google Shape;125;p20"/>
          <p:cNvCxnSpPr/>
          <p:nvPr/>
        </p:nvCxnSpPr>
        <p:spPr>
          <a:xfrm>
            <a:off x="4944707" y="5026381"/>
            <a:ext cx="2466800" cy="0"/>
          </a:xfrm>
          <a:prstGeom prst="straightConnector1">
            <a:avLst/>
          </a:prstGeom>
          <a:noFill/>
          <a:ln w="9525" cap="flat" cmpd="sng">
            <a:solidFill>
              <a:srgbClr val="D0D0D0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26" name="Google Shape;126;p20"/>
          <p:cNvGrpSpPr/>
          <p:nvPr/>
        </p:nvGrpSpPr>
        <p:grpSpPr>
          <a:xfrm>
            <a:off x="6034357" y="3341518"/>
            <a:ext cx="267300" cy="267300"/>
            <a:chOff x="6939130" y="2667712"/>
            <a:chExt cx="267300" cy="267300"/>
          </a:xfrm>
        </p:grpSpPr>
        <p:sp>
          <p:nvSpPr>
            <p:cNvPr id="127" name="Google Shape;127;p20"/>
            <p:cNvSpPr/>
            <p:nvPr/>
          </p:nvSpPr>
          <p:spPr>
            <a:xfrm>
              <a:off x="6939130" y="2667712"/>
              <a:ext cx="267300" cy="2673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128" name="Google Shape;128;p20"/>
            <p:cNvSpPr/>
            <p:nvPr/>
          </p:nvSpPr>
          <p:spPr>
            <a:xfrm>
              <a:off x="7001754" y="2730336"/>
              <a:ext cx="142200" cy="1422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sp>
        <p:nvSpPr>
          <p:cNvPr id="129" name="Google Shape;129;p20"/>
          <p:cNvSpPr txBox="1"/>
          <p:nvPr/>
        </p:nvSpPr>
        <p:spPr>
          <a:xfrm>
            <a:off x="7934017" y="2124711"/>
            <a:ext cx="1042000" cy="45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 defTabSz="1219170">
              <a:spcBef>
                <a:spcPts val="667"/>
              </a:spcBef>
              <a:buClr>
                <a:srgbClr val="000000"/>
              </a:buClr>
              <a:buSzPts val="8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April-May </a:t>
            </a:r>
            <a:b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2024</a:t>
            </a:r>
            <a:endParaRPr sz="1200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pic>
        <p:nvPicPr>
          <p:cNvPr id="130" name="Google Shape;130;p20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7889362" y="3711179"/>
            <a:ext cx="1246581" cy="467468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0"/>
          <p:cNvSpPr txBox="1"/>
          <p:nvPr/>
        </p:nvSpPr>
        <p:spPr>
          <a:xfrm>
            <a:off x="7624795" y="4447682"/>
            <a:ext cx="17756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First code model</a:t>
            </a:r>
            <a:endParaRPr sz="1200" b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132" name="Google Shape;132;p20"/>
          <p:cNvSpPr txBox="1"/>
          <p:nvPr/>
        </p:nvSpPr>
        <p:spPr>
          <a:xfrm>
            <a:off x="7624795" y="3147459"/>
            <a:ext cx="17756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World’s most powerful OS model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3" name="Google Shape;133;p20"/>
          <p:cNvCxnSpPr/>
          <p:nvPr/>
        </p:nvCxnSpPr>
        <p:spPr>
          <a:xfrm>
            <a:off x="7624795" y="4298931"/>
            <a:ext cx="1775600" cy="0"/>
          </a:xfrm>
          <a:prstGeom prst="straightConnector1">
            <a:avLst/>
          </a:prstGeom>
          <a:noFill/>
          <a:ln w="9525" cap="flat" cmpd="sng">
            <a:solidFill>
              <a:srgbClr val="D0D0D0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4" name="Google Shape;134;p20"/>
          <p:cNvGrpSpPr/>
          <p:nvPr/>
        </p:nvGrpSpPr>
        <p:grpSpPr>
          <a:xfrm>
            <a:off x="8321218" y="2753305"/>
            <a:ext cx="267300" cy="267300"/>
            <a:chOff x="9360741" y="1547706"/>
            <a:chExt cx="267300" cy="267300"/>
          </a:xfrm>
        </p:grpSpPr>
        <p:sp>
          <p:nvSpPr>
            <p:cNvPr id="135" name="Google Shape;135;p20"/>
            <p:cNvSpPr/>
            <p:nvPr/>
          </p:nvSpPr>
          <p:spPr>
            <a:xfrm>
              <a:off x="9360741" y="1547706"/>
              <a:ext cx="267300" cy="2673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424242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136" name="Google Shape;136;p20"/>
            <p:cNvSpPr/>
            <p:nvPr/>
          </p:nvSpPr>
          <p:spPr>
            <a:xfrm>
              <a:off x="9423365" y="1610330"/>
              <a:ext cx="142200" cy="1422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424242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sp>
        <p:nvSpPr>
          <p:cNvPr id="137" name="Google Shape;137;p20"/>
          <p:cNvSpPr txBox="1"/>
          <p:nvPr/>
        </p:nvSpPr>
        <p:spPr>
          <a:xfrm>
            <a:off x="562827" y="1360464"/>
            <a:ext cx="5778400" cy="574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18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On a mission to build the world’s </a:t>
            </a:r>
            <a:r>
              <a:rPr lang="en" sz="1867" b="1" kern="0">
                <a:solidFill>
                  <a:srgbClr val="4285F4"/>
                </a:solidFill>
                <a:latin typeface="Sora"/>
                <a:ea typeface="Sora"/>
                <a:cs typeface="Sora"/>
                <a:sym typeface="Sora"/>
              </a:rPr>
              <a:t>most efficient LLMs and tools </a:t>
            </a:r>
            <a:r>
              <a:rPr lang="en" sz="18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for </a:t>
            </a:r>
            <a:r>
              <a:rPr lang="en" sz="1867" b="1" kern="0">
                <a:solidFill>
                  <a:srgbClr val="4285F4"/>
                </a:solidFill>
                <a:latin typeface="Sora"/>
                <a:ea typeface="Sora"/>
                <a:cs typeface="Sora"/>
                <a:sym typeface="Sora"/>
              </a:rPr>
              <a:t>developers and businesses </a:t>
            </a:r>
            <a:r>
              <a:rPr lang="en" sz="18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all around_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" name="Google Shape;138;p20"/>
          <p:cNvSpPr txBox="1"/>
          <p:nvPr/>
        </p:nvSpPr>
        <p:spPr>
          <a:xfrm>
            <a:off x="10370945" y="1093548"/>
            <a:ext cx="1042000" cy="45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 defTabSz="1219170">
              <a:spcBef>
                <a:spcPts val="667"/>
              </a:spcBef>
              <a:buClr>
                <a:srgbClr val="000000"/>
              </a:buClr>
              <a:buSzPts val="8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July-Nov</a:t>
            </a:r>
            <a:b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2024</a:t>
            </a:r>
            <a:endParaRPr sz="1200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139" name="Google Shape;139;p20"/>
          <p:cNvSpPr txBox="1"/>
          <p:nvPr/>
        </p:nvSpPr>
        <p:spPr>
          <a:xfrm>
            <a:off x="9894215" y="3010475"/>
            <a:ext cx="20660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NeMo 12B</a:t>
            </a:r>
            <a:endParaRPr sz="1200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grpSp>
        <p:nvGrpSpPr>
          <p:cNvPr id="140" name="Google Shape;140;p20"/>
          <p:cNvGrpSpPr/>
          <p:nvPr/>
        </p:nvGrpSpPr>
        <p:grpSpPr>
          <a:xfrm>
            <a:off x="10767771" y="1722142"/>
            <a:ext cx="267300" cy="267300"/>
            <a:chOff x="9360741" y="1547706"/>
            <a:chExt cx="267300" cy="267300"/>
          </a:xfrm>
        </p:grpSpPr>
        <p:sp>
          <p:nvSpPr>
            <p:cNvPr id="141" name="Google Shape;141;p20"/>
            <p:cNvSpPr/>
            <p:nvPr/>
          </p:nvSpPr>
          <p:spPr>
            <a:xfrm>
              <a:off x="9360741" y="1547706"/>
              <a:ext cx="267300" cy="2673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424242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142" name="Google Shape;142;p20"/>
            <p:cNvSpPr/>
            <p:nvPr/>
          </p:nvSpPr>
          <p:spPr>
            <a:xfrm>
              <a:off x="9423365" y="1610330"/>
              <a:ext cx="142200" cy="1422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424242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cxnSp>
        <p:nvCxnSpPr>
          <p:cNvPr id="143" name="Google Shape;143;p20"/>
          <p:cNvCxnSpPr/>
          <p:nvPr/>
        </p:nvCxnSpPr>
        <p:spPr>
          <a:xfrm>
            <a:off x="9574787" y="2608447"/>
            <a:ext cx="0" cy="4020800"/>
          </a:xfrm>
          <a:prstGeom prst="straightConnector1">
            <a:avLst/>
          </a:prstGeom>
          <a:noFill/>
          <a:ln w="9525" cap="flat" cmpd="sng">
            <a:solidFill>
              <a:srgbClr val="D0D0D0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44" name="Google Shape;144;p20"/>
          <p:cNvPicPr preferRelativeResize="0"/>
          <p:nvPr/>
        </p:nvPicPr>
        <p:blipFill rotWithShape="1">
          <a:blip r:embed="rId11">
            <a:alphaModFix/>
          </a:blip>
          <a:srcRect l="27867" t="26978" r="27920" b="27465"/>
          <a:stretch/>
        </p:blipFill>
        <p:spPr>
          <a:xfrm>
            <a:off x="10149527" y="3217203"/>
            <a:ext cx="606607" cy="3368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45" name="Google Shape;145;p20"/>
          <p:cNvPicPr preferRelativeResize="0"/>
          <p:nvPr/>
        </p:nvPicPr>
        <p:blipFill rotWithShape="1">
          <a:blip r:embed="rId12">
            <a:alphaModFix/>
          </a:blip>
          <a:srcRect l="29525" t="11012" r="29500" b="11492"/>
          <a:stretch/>
        </p:blipFill>
        <p:spPr>
          <a:xfrm>
            <a:off x="10124501" y="5805592"/>
            <a:ext cx="324697" cy="330953"/>
          </a:xfrm>
          <a:prstGeom prst="rect">
            <a:avLst/>
          </a:prstGeom>
          <a:noFill/>
          <a:ln>
            <a:noFill/>
          </a:ln>
        </p:spPr>
      </p:pic>
      <p:pic>
        <p:nvPicPr>
          <p:cNvPr id="146" name="Google Shape;146;p20"/>
          <p:cNvPicPr preferRelativeResize="0"/>
          <p:nvPr/>
        </p:nvPicPr>
        <p:blipFill rotWithShape="1">
          <a:blip r:embed="rId13">
            <a:alphaModFix/>
          </a:blip>
          <a:srcRect l="27393" t="10865" r="26658" b="10905"/>
          <a:stretch/>
        </p:blipFill>
        <p:spPr>
          <a:xfrm>
            <a:off x="11093458" y="5809334"/>
            <a:ext cx="352532" cy="32345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7" name="Google Shape;147;p20"/>
          <p:cNvCxnSpPr/>
          <p:nvPr/>
        </p:nvCxnSpPr>
        <p:spPr>
          <a:xfrm>
            <a:off x="9740769" y="3649663"/>
            <a:ext cx="2108000" cy="0"/>
          </a:xfrm>
          <a:prstGeom prst="straightConnector1">
            <a:avLst/>
          </a:prstGeom>
          <a:noFill/>
          <a:ln w="9525" cap="flat" cmpd="sng">
            <a:solidFill>
              <a:srgbClr val="D0D0D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48" name="Google Shape;148;p20"/>
          <p:cNvCxnSpPr/>
          <p:nvPr/>
        </p:nvCxnSpPr>
        <p:spPr>
          <a:xfrm>
            <a:off x="9835744" y="5417167"/>
            <a:ext cx="1916400" cy="0"/>
          </a:xfrm>
          <a:prstGeom prst="straightConnector1">
            <a:avLst/>
          </a:prstGeom>
          <a:noFill/>
          <a:ln w="9525" cap="flat" cmpd="sng">
            <a:solidFill>
              <a:srgbClr val="D0D0D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" name="Google Shape;149;p20"/>
          <p:cNvSpPr txBox="1"/>
          <p:nvPr/>
        </p:nvSpPr>
        <p:spPr>
          <a:xfrm>
            <a:off x="9750395" y="5509116"/>
            <a:ext cx="2116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Models for research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0" name="Google Shape;150;p20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11115399" y="3220279"/>
            <a:ext cx="444499" cy="355600"/>
          </a:xfrm>
          <a:prstGeom prst="rect">
            <a:avLst/>
          </a:prstGeom>
          <a:noFill/>
          <a:ln>
            <a:noFill/>
          </a:ln>
        </p:spPr>
      </p:pic>
      <p:sp>
        <p:nvSpPr>
          <p:cNvPr id="151" name="Google Shape;151;p20"/>
          <p:cNvSpPr txBox="1"/>
          <p:nvPr/>
        </p:nvSpPr>
        <p:spPr>
          <a:xfrm>
            <a:off x="10893087" y="3282879"/>
            <a:ext cx="1476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16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X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2" name="Google Shape;152;p20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0264819" y="3685186"/>
            <a:ext cx="795871" cy="296444"/>
          </a:xfrm>
          <a:custGeom>
            <a:avLst/>
            <a:gdLst/>
            <a:ahLst/>
            <a:cxnLst/>
            <a:rect l="l" t="t" r="r" b="b"/>
            <a:pathLst>
              <a:path w="1193806" h="423491" extrusionOk="0">
                <a:moveTo>
                  <a:pt x="292745" y="213420"/>
                </a:moveTo>
                <a:cubicBezTo>
                  <a:pt x="284708" y="216099"/>
                  <a:pt x="271983" y="219298"/>
                  <a:pt x="254570" y="223019"/>
                </a:cubicBezTo>
                <a:cubicBezTo>
                  <a:pt x="237157" y="226740"/>
                  <a:pt x="225772" y="230386"/>
                  <a:pt x="220414" y="233958"/>
                </a:cubicBezTo>
                <a:cubicBezTo>
                  <a:pt x="212229" y="239762"/>
                  <a:pt x="208136" y="247129"/>
                  <a:pt x="208136" y="256059"/>
                </a:cubicBezTo>
                <a:cubicBezTo>
                  <a:pt x="208136" y="264840"/>
                  <a:pt x="211410" y="272430"/>
                  <a:pt x="217958" y="278830"/>
                </a:cubicBezTo>
                <a:cubicBezTo>
                  <a:pt x="224507" y="285229"/>
                  <a:pt x="232841" y="288429"/>
                  <a:pt x="242962" y="288429"/>
                </a:cubicBezTo>
                <a:cubicBezTo>
                  <a:pt x="254272" y="288429"/>
                  <a:pt x="265063" y="284708"/>
                  <a:pt x="275332" y="277267"/>
                </a:cubicBezTo>
                <a:cubicBezTo>
                  <a:pt x="282922" y="271612"/>
                  <a:pt x="287908" y="264691"/>
                  <a:pt x="290289" y="256505"/>
                </a:cubicBezTo>
                <a:cubicBezTo>
                  <a:pt x="291926" y="251148"/>
                  <a:pt x="292745" y="240953"/>
                  <a:pt x="292745" y="225921"/>
                </a:cubicBezTo>
                <a:close/>
                <a:moveTo>
                  <a:pt x="1084808" y="132829"/>
                </a:moveTo>
                <a:cubicBezTo>
                  <a:pt x="1071116" y="132829"/>
                  <a:pt x="1059805" y="137815"/>
                  <a:pt x="1050875" y="147786"/>
                </a:cubicBezTo>
                <a:cubicBezTo>
                  <a:pt x="1041945" y="157758"/>
                  <a:pt x="1037555" y="171301"/>
                  <a:pt x="1037704" y="188417"/>
                </a:cubicBezTo>
                <a:lnTo>
                  <a:pt x="1131465" y="188417"/>
                </a:lnTo>
                <a:cubicBezTo>
                  <a:pt x="1131019" y="170259"/>
                  <a:pt x="1126331" y="156456"/>
                  <a:pt x="1117401" y="147005"/>
                </a:cubicBezTo>
                <a:cubicBezTo>
                  <a:pt x="1108471" y="137554"/>
                  <a:pt x="1097607" y="132829"/>
                  <a:pt x="1084808" y="132829"/>
                </a:cubicBezTo>
                <a:close/>
                <a:moveTo>
                  <a:pt x="778296" y="132829"/>
                </a:moveTo>
                <a:cubicBezTo>
                  <a:pt x="763265" y="132829"/>
                  <a:pt x="750875" y="138671"/>
                  <a:pt x="741126" y="150354"/>
                </a:cubicBezTo>
                <a:cubicBezTo>
                  <a:pt x="731378" y="162037"/>
                  <a:pt x="726504" y="179859"/>
                  <a:pt x="726504" y="203820"/>
                </a:cubicBezTo>
                <a:cubicBezTo>
                  <a:pt x="726504" y="228972"/>
                  <a:pt x="731378" y="247390"/>
                  <a:pt x="741126" y="259073"/>
                </a:cubicBezTo>
                <a:cubicBezTo>
                  <a:pt x="750875" y="270756"/>
                  <a:pt x="762893" y="276597"/>
                  <a:pt x="777180" y="276597"/>
                </a:cubicBezTo>
                <a:cubicBezTo>
                  <a:pt x="792509" y="276597"/>
                  <a:pt x="805457" y="270607"/>
                  <a:pt x="816024" y="258626"/>
                </a:cubicBezTo>
                <a:cubicBezTo>
                  <a:pt x="826591" y="246646"/>
                  <a:pt x="831874" y="228898"/>
                  <a:pt x="831874" y="205383"/>
                </a:cubicBezTo>
                <a:cubicBezTo>
                  <a:pt x="831874" y="180826"/>
                  <a:pt x="826814" y="162595"/>
                  <a:pt x="816694" y="150689"/>
                </a:cubicBezTo>
                <a:cubicBezTo>
                  <a:pt x="806574" y="138782"/>
                  <a:pt x="793774" y="132829"/>
                  <a:pt x="778296" y="132829"/>
                </a:cubicBezTo>
                <a:close/>
                <a:moveTo>
                  <a:pt x="1081013" y="84832"/>
                </a:moveTo>
                <a:cubicBezTo>
                  <a:pt x="1116285" y="84832"/>
                  <a:pt x="1144116" y="96478"/>
                  <a:pt x="1164505" y="119770"/>
                </a:cubicBezTo>
                <a:cubicBezTo>
                  <a:pt x="1184895" y="143061"/>
                  <a:pt x="1194643" y="178743"/>
                  <a:pt x="1193750" y="226814"/>
                </a:cubicBezTo>
                <a:lnTo>
                  <a:pt x="1036587" y="226814"/>
                </a:lnTo>
                <a:cubicBezTo>
                  <a:pt x="1037034" y="245418"/>
                  <a:pt x="1042094" y="259891"/>
                  <a:pt x="1051768" y="270235"/>
                </a:cubicBezTo>
                <a:cubicBezTo>
                  <a:pt x="1061442" y="280578"/>
                  <a:pt x="1073497" y="285750"/>
                  <a:pt x="1087933" y="285750"/>
                </a:cubicBezTo>
                <a:cubicBezTo>
                  <a:pt x="1097756" y="285750"/>
                  <a:pt x="1106016" y="283071"/>
                  <a:pt x="1112713" y="277713"/>
                </a:cubicBezTo>
                <a:cubicBezTo>
                  <a:pt x="1119410" y="272356"/>
                  <a:pt x="1124471" y="263724"/>
                  <a:pt x="1127893" y="251817"/>
                </a:cubicBezTo>
                <a:lnTo>
                  <a:pt x="1190401" y="262310"/>
                </a:lnTo>
                <a:cubicBezTo>
                  <a:pt x="1182365" y="285229"/>
                  <a:pt x="1169677" y="302679"/>
                  <a:pt x="1152339" y="314660"/>
                </a:cubicBezTo>
                <a:cubicBezTo>
                  <a:pt x="1135000" y="326641"/>
                  <a:pt x="1113308" y="332631"/>
                  <a:pt x="1087263" y="332631"/>
                </a:cubicBezTo>
                <a:cubicBezTo>
                  <a:pt x="1046038" y="332631"/>
                  <a:pt x="1015528" y="319162"/>
                  <a:pt x="995734" y="292224"/>
                </a:cubicBezTo>
                <a:cubicBezTo>
                  <a:pt x="980107" y="270644"/>
                  <a:pt x="972294" y="243409"/>
                  <a:pt x="972294" y="210518"/>
                </a:cubicBezTo>
                <a:cubicBezTo>
                  <a:pt x="972294" y="171227"/>
                  <a:pt x="982563" y="140457"/>
                  <a:pt x="1003101" y="118207"/>
                </a:cubicBezTo>
                <a:cubicBezTo>
                  <a:pt x="1023639" y="95957"/>
                  <a:pt x="1049610" y="84832"/>
                  <a:pt x="1081013" y="84832"/>
                </a:cubicBezTo>
                <a:close/>
                <a:moveTo>
                  <a:pt x="762223" y="84832"/>
                </a:moveTo>
                <a:cubicBezTo>
                  <a:pt x="791542" y="84832"/>
                  <a:pt x="815727" y="97706"/>
                  <a:pt x="834777" y="123453"/>
                </a:cubicBezTo>
                <a:lnTo>
                  <a:pt x="834777" y="90190"/>
                </a:lnTo>
                <a:lnTo>
                  <a:pt x="893489" y="90190"/>
                </a:lnTo>
                <a:lnTo>
                  <a:pt x="893489" y="302940"/>
                </a:lnTo>
                <a:cubicBezTo>
                  <a:pt x="893489" y="330920"/>
                  <a:pt x="891182" y="351830"/>
                  <a:pt x="886569" y="365671"/>
                </a:cubicBezTo>
                <a:cubicBezTo>
                  <a:pt x="881955" y="379512"/>
                  <a:pt x="875481" y="390376"/>
                  <a:pt x="867147" y="398264"/>
                </a:cubicBezTo>
                <a:cubicBezTo>
                  <a:pt x="858812" y="406152"/>
                  <a:pt x="847687" y="412328"/>
                  <a:pt x="833772" y="416793"/>
                </a:cubicBezTo>
                <a:cubicBezTo>
                  <a:pt x="819857" y="421258"/>
                  <a:pt x="802258" y="423491"/>
                  <a:pt x="780975" y="423491"/>
                </a:cubicBezTo>
                <a:cubicBezTo>
                  <a:pt x="740792" y="423491"/>
                  <a:pt x="712291" y="416607"/>
                  <a:pt x="695473" y="402841"/>
                </a:cubicBezTo>
                <a:cubicBezTo>
                  <a:pt x="678656" y="389074"/>
                  <a:pt x="670247" y="371624"/>
                  <a:pt x="670247" y="350490"/>
                </a:cubicBezTo>
                <a:cubicBezTo>
                  <a:pt x="670247" y="348407"/>
                  <a:pt x="670321" y="345877"/>
                  <a:pt x="670470" y="342900"/>
                </a:cubicBezTo>
                <a:lnTo>
                  <a:pt x="742131" y="351607"/>
                </a:lnTo>
                <a:cubicBezTo>
                  <a:pt x="743322" y="359941"/>
                  <a:pt x="746075" y="365671"/>
                  <a:pt x="750391" y="368796"/>
                </a:cubicBezTo>
                <a:cubicBezTo>
                  <a:pt x="756344" y="373261"/>
                  <a:pt x="765720" y="375494"/>
                  <a:pt x="778519" y="375494"/>
                </a:cubicBezTo>
                <a:cubicBezTo>
                  <a:pt x="794891" y="375494"/>
                  <a:pt x="807169" y="373038"/>
                  <a:pt x="815354" y="368127"/>
                </a:cubicBezTo>
                <a:cubicBezTo>
                  <a:pt x="820861" y="364852"/>
                  <a:pt x="825028" y="359569"/>
                  <a:pt x="827856" y="352276"/>
                </a:cubicBezTo>
                <a:cubicBezTo>
                  <a:pt x="829791" y="347067"/>
                  <a:pt x="830758" y="337468"/>
                  <a:pt x="830758" y="323478"/>
                </a:cubicBezTo>
                <a:lnTo>
                  <a:pt x="830758" y="288876"/>
                </a:lnTo>
                <a:cubicBezTo>
                  <a:pt x="812006" y="314474"/>
                  <a:pt x="788342" y="327273"/>
                  <a:pt x="759767" y="327273"/>
                </a:cubicBezTo>
                <a:cubicBezTo>
                  <a:pt x="727918" y="327273"/>
                  <a:pt x="702692" y="313804"/>
                  <a:pt x="684088" y="286866"/>
                </a:cubicBezTo>
                <a:cubicBezTo>
                  <a:pt x="669503" y="265584"/>
                  <a:pt x="662210" y="239093"/>
                  <a:pt x="662210" y="207392"/>
                </a:cubicBezTo>
                <a:cubicBezTo>
                  <a:pt x="662210" y="167655"/>
                  <a:pt x="671773" y="137294"/>
                  <a:pt x="690897" y="116309"/>
                </a:cubicBezTo>
                <a:cubicBezTo>
                  <a:pt x="710021" y="95325"/>
                  <a:pt x="733797" y="84832"/>
                  <a:pt x="762223" y="84832"/>
                </a:cubicBezTo>
                <a:close/>
                <a:moveTo>
                  <a:pt x="566811" y="84832"/>
                </a:moveTo>
                <a:cubicBezTo>
                  <a:pt x="581099" y="84832"/>
                  <a:pt x="594866" y="88776"/>
                  <a:pt x="608111" y="96664"/>
                </a:cubicBezTo>
                <a:lnTo>
                  <a:pt x="588689" y="151358"/>
                </a:lnTo>
                <a:cubicBezTo>
                  <a:pt x="578122" y="144512"/>
                  <a:pt x="568300" y="141089"/>
                  <a:pt x="559221" y="141089"/>
                </a:cubicBezTo>
                <a:cubicBezTo>
                  <a:pt x="550440" y="141089"/>
                  <a:pt x="542999" y="143508"/>
                  <a:pt x="536897" y="148345"/>
                </a:cubicBezTo>
                <a:cubicBezTo>
                  <a:pt x="530795" y="153181"/>
                  <a:pt x="525995" y="161925"/>
                  <a:pt x="522498" y="174576"/>
                </a:cubicBezTo>
                <a:cubicBezTo>
                  <a:pt x="519001" y="187226"/>
                  <a:pt x="517252" y="213717"/>
                  <a:pt x="517252" y="254050"/>
                </a:cubicBezTo>
                <a:lnTo>
                  <a:pt x="517252" y="327273"/>
                </a:lnTo>
                <a:lnTo>
                  <a:pt x="454521" y="327273"/>
                </a:lnTo>
                <a:lnTo>
                  <a:pt x="454521" y="90190"/>
                </a:lnTo>
                <a:lnTo>
                  <a:pt x="512787" y="90190"/>
                </a:lnTo>
                <a:lnTo>
                  <a:pt x="512787" y="123900"/>
                </a:lnTo>
                <a:cubicBezTo>
                  <a:pt x="522758" y="107975"/>
                  <a:pt x="531725" y="97483"/>
                  <a:pt x="539688" y="92422"/>
                </a:cubicBezTo>
                <a:cubicBezTo>
                  <a:pt x="547650" y="87362"/>
                  <a:pt x="556691" y="84832"/>
                  <a:pt x="566811" y="84832"/>
                </a:cubicBezTo>
                <a:close/>
                <a:moveTo>
                  <a:pt x="254570" y="84832"/>
                </a:moveTo>
                <a:cubicBezTo>
                  <a:pt x="282550" y="84832"/>
                  <a:pt x="303386" y="88144"/>
                  <a:pt x="317078" y="94766"/>
                </a:cubicBezTo>
                <a:cubicBezTo>
                  <a:pt x="330770" y="101389"/>
                  <a:pt x="340407" y="109798"/>
                  <a:pt x="345988" y="119993"/>
                </a:cubicBezTo>
                <a:cubicBezTo>
                  <a:pt x="351569" y="130187"/>
                  <a:pt x="354359" y="148903"/>
                  <a:pt x="354359" y="176138"/>
                </a:cubicBezTo>
                <a:lnTo>
                  <a:pt x="353690" y="249362"/>
                </a:lnTo>
                <a:cubicBezTo>
                  <a:pt x="353690" y="270198"/>
                  <a:pt x="354694" y="285564"/>
                  <a:pt x="356703" y="295461"/>
                </a:cubicBezTo>
                <a:cubicBezTo>
                  <a:pt x="358713" y="305358"/>
                  <a:pt x="362471" y="315962"/>
                  <a:pt x="367977" y="327273"/>
                </a:cubicBezTo>
                <a:lnTo>
                  <a:pt x="305916" y="327273"/>
                </a:lnTo>
                <a:cubicBezTo>
                  <a:pt x="304279" y="323106"/>
                  <a:pt x="302270" y="316930"/>
                  <a:pt x="299888" y="308744"/>
                </a:cubicBezTo>
                <a:cubicBezTo>
                  <a:pt x="298847" y="305023"/>
                  <a:pt x="298102" y="302568"/>
                  <a:pt x="297656" y="301377"/>
                </a:cubicBezTo>
                <a:cubicBezTo>
                  <a:pt x="286940" y="311795"/>
                  <a:pt x="275480" y="319609"/>
                  <a:pt x="263277" y="324818"/>
                </a:cubicBezTo>
                <a:cubicBezTo>
                  <a:pt x="251073" y="330027"/>
                  <a:pt x="238050" y="332631"/>
                  <a:pt x="224209" y="332631"/>
                </a:cubicBezTo>
                <a:cubicBezTo>
                  <a:pt x="199801" y="332631"/>
                  <a:pt x="180565" y="326008"/>
                  <a:pt x="166501" y="312762"/>
                </a:cubicBezTo>
                <a:cubicBezTo>
                  <a:pt x="152437" y="299517"/>
                  <a:pt x="145405" y="282774"/>
                  <a:pt x="145405" y="262533"/>
                </a:cubicBezTo>
                <a:cubicBezTo>
                  <a:pt x="145405" y="249138"/>
                  <a:pt x="148605" y="237195"/>
                  <a:pt x="155004" y="226703"/>
                </a:cubicBezTo>
                <a:cubicBezTo>
                  <a:pt x="161404" y="216210"/>
                  <a:pt x="170371" y="208174"/>
                  <a:pt x="181905" y="202592"/>
                </a:cubicBezTo>
                <a:cubicBezTo>
                  <a:pt x="193439" y="197011"/>
                  <a:pt x="210071" y="192137"/>
                  <a:pt x="231799" y="187970"/>
                </a:cubicBezTo>
                <a:cubicBezTo>
                  <a:pt x="261119" y="182463"/>
                  <a:pt x="281434" y="177329"/>
                  <a:pt x="292745" y="172566"/>
                </a:cubicBezTo>
                <a:lnTo>
                  <a:pt x="292745" y="166316"/>
                </a:lnTo>
                <a:cubicBezTo>
                  <a:pt x="292745" y="154260"/>
                  <a:pt x="289768" y="145666"/>
                  <a:pt x="283815" y="140531"/>
                </a:cubicBezTo>
                <a:cubicBezTo>
                  <a:pt x="277862" y="135396"/>
                  <a:pt x="266625" y="132829"/>
                  <a:pt x="250105" y="132829"/>
                </a:cubicBezTo>
                <a:cubicBezTo>
                  <a:pt x="238943" y="132829"/>
                  <a:pt x="230237" y="135024"/>
                  <a:pt x="223986" y="139415"/>
                </a:cubicBezTo>
                <a:cubicBezTo>
                  <a:pt x="217735" y="143805"/>
                  <a:pt x="212675" y="151507"/>
                  <a:pt x="208805" y="162520"/>
                </a:cubicBezTo>
                <a:lnTo>
                  <a:pt x="151879" y="152251"/>
                </a:lnTo>
                <a:cubicBezTo>
                  <a:pt x="158278" y="129332"/>
                  <a:pt x="169292" y="112365"/>
                  <a:pt x="184919" y="101352"/>
                </a:cubicBezTo>
                <a:cubicBezTo>
                  <a:pt x="200546" y="90339"/>
                  <a:pt x="223763" y="84832"/>
                  <a:pt x="254570" y="84832"/>
                </a:cubicBezTo>
                <a:close/>
                <a:moveTo>
                  <a:pt x="0" y="0"/>
                </a:moveTo>
                <a:lnTo>
                  <a:pt x="62731" y="0"/>
                </a:lnTo>
                <a:lnTo>
                  <a:pt x="62731" y="327273"/>
                </a:lnTo>
                <a:lnTo>
                  <a:pt x="0" y="327273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153" name="Google Shape;153;p20"/>
          <p:cNvSpPr txBox="1"/>
          <p:nvPr/>
        </p:nvSpPr>
        <p:spPr>
          <a:xfrm>
            <a:off x="11149849" y="3739527"/>
            <a:ext cx="4488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1600" b="1" kern="0">
                <a:solidFill>
                  <a:srgbClr val="BF5400"/>
                </a:solidFill>
                <a:latin typeface="Consolas"/>
                <a:ea typeface="Consolas"/>
                <a:cs typeface="Consolas"/>
                <a:sym typeface="Consolas"/>
              </a:rPr>
              <a:t>v2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Google Shape;154;p20"/>
          <p:cNvSpPr txBox="1"/>
          <p:nvPr/>
        </p:nvSpPr>
        <p:spPr>
          <a:xfrm>
            <a:off x="9750395" y="4022337"/>
            <a:ext cx="20660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Updated with new state-of-the-art features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5" name="Google Shape;155;p20"/>
          <p:cNvCxnSpPr/>
          <p:nvPr/>
        </p:nvCxnSpPr>
        <p:spPr>
          <a:xfrm>
            <a:off x="9740769" y="4458704"/>
            <a:ext cx="2108000" cy="0"/>
          </a:xfrm>
          <a:prstGeom prst="straightConnector1">
            <a:avLst/>
          </a:prstGeom>
          <a:noFill/>
          <a:ln w="9525" cap="flat" cmpd="sng">
            <a:solidFill>
              <a:srgbClr val="D0D0D0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56" name="Google Shape;156;p20"/>
          <p:cNvPicPr preferRelativeResize="0"/>
          <p:nvPr/>
        </p:nvPicPr>
        <p:blipFill>
          <a:blip r:embed="rId15">
            <a:alphaModFix/>
          </a:blip>
          <a:stretch>
            <a:fillRect/>
          </a:stretch>
        </p:blipFill>
        <p:spPr>
          <a:xfrm>
            <a:off x="7807675" y="4788090"/>
            <a:ext cx="1370736" cy="212775"/>
          </a:xfrm>
          <a:prstGeom prst="rect">
            <a:avLst/>
          </a:prstGeom>
          <a:noFill/>
          <a:ln>
            <a:noFill/>
          </a:ln>
        </p:spPr>
      </p:pic>
      <p:sp>
        <p:nvSpPr>
          <p:cNvPr id="157" name="Google Shape;157;p20"/>
          <p:cNvSpPr txBox="1"/>
          <p:nvPr/>
        </p:nvSpPr>
        <p:spPr>
          <a:xfrm>
            <a:off x="9773248" y="6174159"/>
            <a:ext cx="10272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Codestral</a:t>
            </a:r>
            <a:b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Mamba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8" name="Google Shape;158;p20"/>
          <p:cNvSpPr txBox="1"/>
          <p:nvPr/>
        </p:nvSpPr>
        <p:spPr>
          <a:xfrm>
            <a:off x="10756123" y="6172284"/>
            <a:ext cx="1027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Mathstral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9" name="Google Shape;159;p20"/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10210335" y="4827733"/>
            <a:ext cx="203200" cy="184799"/>
          </a:xfrm>
          <a:prstGeom prst="rect">
            <a:avLst/>
          </a:prstGeom>
          <a:noFill/>
          <a:ln>
            <a:noFill/>
          </a:ln>
        </p:spPr>
      </p:pic>
      <p:sp>
        <p:nvSpPr>
          <p:cNvPr id="160" name="Google Shape;160;p20"/>
          <p:cNvSpPr txBox="1"/>
          <p:nvPr/>
        </p:nvSpPr>
        <p:spPr>
          <a:xfrm>
            <a:off x="9794619" y="4500134"/>
            <a:ext cx="2116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Multimodal models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1" name="Google Shape;161;p20"/>
          <p:cNvCxnSpPr/>
          <p:nvPr/>
        </p:nvCxnSpPr>
        <p:spPr>
          <a:xfrm>
            <a:off x="7624795" y="5218007"/>
            <a:ext cx="1775600" cy="0"/>
          </a:xfrm>
          <a:prstGeom prst="straightConnector1">
            <a:avLst/>
          </a:prstGeom>
          <a:noFill/>
          <a:ln w="9525" cap="flat" cmpd="sng">
            <a:solidFill>
              <a:srgbClr val="D0D0D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" name="Google Shape;162;p20"/>
          <p:cNvSpPr txBox="1"/>
          <p:nvPr/>
        </p:nvSpPr>
        <p:spPr>
          <a:xfrm>
            <a:off x="10009732" y="5108986"/>
            <a:ext cx="6556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Pixtral</a:t>
            </a:r>
            <a:endParaRPr sz="14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63" name="Google Shape;163;p20"/>
          <p:cNvPicPr preferRelativeResize="0"/>
          <p:nvPr/>
        </p:nvPicPr>
        <p:blipFill rotWithShape="1">
          <a:blip r:embed="rId17">
            <a:alphaModFix/>
          </a:blip>
          <a:srcRect t="21966"/>
          <a:stretch/>
        </p:blipFill>
        <p:spPr>
          <a:xfrm>
            <a:off x="9740760" y="2445620"/>
            <a:ext cx="606601" cy="395008"/>
          </a:xfrm>
          <a:prstGeom prst="rect">
            <a:avLst/>
          </a:prstGeom>
          <a:noFill/>
          <a:ln>
            <a:noFill/>
          </a:ln>
        </p:spPr>
      </p:pic>
      <p:sp>
        <p:nvSpPr>
          <p:cNvPr id="164" name="Google Shape;164;p20"/>
          <p:cNvSpPr txBox="1"/>
          <p:nvPr/>
        </p:nvSpPr>
        <p:spPr>
          <a:xfrm>
            <a:off x="9918728" y="2143409"/>
            <a:ext cx="20660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New best </a:t>
            </a:r>
            <a:endParaRPr sz="1200" b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  <a:p>
            <a:pPr algn="ctr" defTabSz="1219170">
              <a:buClr>
                <a:srgbClr val="000000"/>
              </a:buClr>
              <a:buSzPts val="1100"/>
            </a:pPr>
            <a: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small models</a:t>
            </a:r>
            <a:endParaRPr sz="1200" b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165" name="Google Shape;165;p20"/>
          <p:cNvSpPr txBox="1"/>
          <p:nvPr/>
        </p:nvSpPr>
        <p:spPr>
          <a:xfrm>
            <a:off x="9952284" y="2578988"/>
            <a:ext cx="20660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Ministral 3B &amp; 8B</a:t>
            </a:r>
            <a:endParaRPr sz="1200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pic>
        <p:nvPicPr>
          <p:cNvPr id="166" name="Google Shape;166;p20"/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11023135" y="4755001"/>
            <a:ext cx="448800" cy="408177"/>
          </a:xfrm>
          <a:prstGeom prst="rect">
            <a:avLst/>
          </a:prstGeom>
          <a:noFill/>
          <a:ln>
            <a:noFill/>
          </a:ln>
        </p:spPr>
      </p:pic>
      <p:sp>
        <p:nvSpPr>
          <p:cNvPr id="167" name="Google Shape;167;p20"/>
          <p:cNvSpPr txBox="1"/>
          <p:nvPr/>
        </p:nvSpPr>
        <p:spPr>
          <a:xfrm>
            <a:off x="10756823" y="5187824"/>
            <a:ext cx="1027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Pixtral Large</a:t>
            </a:r>
            <a:endParaRPr sz="14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2" name="Google Shape;172;p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286" y="-1"/>
            <a:ext cx="12181429" cy="685800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3" name="Google Shape;173;p21"/>
          <p:cNvGrpSpPr/>
          <p:nvPr/>
        </p:nvGrpSpPr>
        <p:grpSpPr>
          <a:xfrm>
            <a:off x="-1562279" y="1151477"/>
            <a:ext cx="4790373" cy="4790425"/>
            <a:chOff x="-1814264" y="915900"/>
            <a:chExt cx="5294400" cy="5294457"/>
          </a:xfrm>
        </p:grpSpPr>
        <p:sp>
          <p:nvSpPr>
            <p:cNvPr id="174" name="Google Shape;174;p21"/>
            <p:cNvSpPr/>
            <p:nvPr/>
          </p:nvSpPr>
          <p:spPr>
            <a:xfrm>
              <a:off x="-1600149" y="1130076"/>
              <a:ext cx="4866000" cy="4866000"/>
            </a:xfrm>
            <a:prstGeom prst="ellipse">
              <a:avLst/>
            </a:prstGeom>
            <a:solidFill>
              <a:srgbClr val="FFE2CC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  <a:buSzPts val="1200"/>
              </a:pPr>
              <a:endParaRPr sz="1600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175" name="Google Shape;175;p21"/>
            <p:cNvSpPr/>
            <p:nvPr/>
          </p:nvSpPr>
          <p:spPr>
            <a:xfrm>
              <a:off x="-1814264" y="915957"/>
              <a:ext cx="5294400" cy="5294400"/>
            </a:xfrm>
            <a:prstGeom prst="arc">
              <a:avLst>
                <a:gd name="adj1" fmla="val 15814585"/>
                <a:gd name="adj2" fmla="val 19571222"/>
              </a:avLst>
            </a:prstGeom>
            <a:noFill/>
            <a:ln w="1651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  <a:buSzPts val="1400"/>
              </a:pPr>
              <a:endParaRPr sz="18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176" name="Google Shape;176;p21"/>
            <p:cNvSpPr/>
            <p:nvPr/>
          </p:nvSpPr>
          <p:spPr>
            <a:xfrm>
              <a:off x="-1814264" y="915957"/>
              <a:ext cx="5294400" cy="5294400"/>
            </a:xfrm>
            <a:prstGeom prst="arc">
              <a:avLst>
                <a:gd name="adj1" fmla="val 19754324"/>
                <a:gd name="adj2" fmla="val 1852430"/>
              </a:avLst>
            </a:prstGeom>
            <a:noFill/>
            <a:ln w="1651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  <a:buSzPts val="1400"/>
              </a:pPr>
              <a:endParaRPr sz="18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177" name="Google Shape;177;p21"/>
            <p:cNvSpPr/>
            <p:nvPr/>
          </p:nvSpPr>
          <p:spPr>
            <a:xfrm rot="10800000" flipH="1">
              <a:off x="-1814264" y="915900"/>
              <a:ext cx="5294400" cy="5294400"/>
            </a:xfrm>
            <a:prstGeom prst="arc">
              <a:avLst>
                <a:gd name="adj1" fmla="val 15814585"/>
                <a:gd name="adj2" fmla="val 19571222"/>
              </a:avLst>
            </a:prstGeom>
            <a:noFill/>
            <a:ln w="1651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  <a:buSzPts val="1400"/>
              </a:pPr>
              <a:endParaRPr sz="18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sp>
        <p:nvSpPr>
          <p:cNvPr id="178" name="Google Shape;178;p21"/>
          <p:cNvSpPr txBox="1"/>
          <p:nvPr/>
        </p:nvSpPr>
        <p:spPr>
          <a:xfrm>
            <a:off x="5255200" y="1315500"/>
            <a:ext cx="6382800" cy="6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16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Backend solutions where we orchestrate generative AI apps and help you improve them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9" name="Google Shape;179;p21"/>
          <p:cNvSpPr txBox="1"/>
          <p:nvPr/>
        </p:nvSpPr>
        <p:spPr>
          <a:xfrm>
            <a:off x="5255209" y="5680390"/>
            <a:ext cx="6382800" cy="530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spcBef>
                <a:spcPts val="267"/>
              </a:spcBef>
              <a:buClr>
                <a:srgbClr val="000000"/>
              </a:buClr>
            </a:pPr>
            <a:r>
              <a:rPr lang="en" sz="16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The line between developers and  users is thinning thanks to the intelligence of generative models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0" name="Google Shape;180;p21"/>
          <p:cNvSpPr txBox="1"/>
          <p:nvPr/>
        </p:nvSpPr>
        <p:spPr>
          <a:xfrm>
            <a:off x="5256741" y="823068"/>
            <a:ext cx="4997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20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La Plateforme for developers</a:t>
            </a:r>
            <a:endParaRPr sz="1867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181" name="Google Shape;181;p21"/>
          <p:cNvSpPr txBox="1"/>
          <p:nvPr/>
        </p:nvSpPr>
        <p:spPr>
          <a:xfrm>
            <a:off x="5255277" y="3395319"/>
            <a:ext cx="6382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16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Front-end solutions covering useful workflows in generative AI (chat for search / doc creation / automation)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" name="Google Shape;182;p21"/>
          <p:cNvSpPr txBox="1"/>
          <p:nvPr/>
        </p:nvSpPr>
        <p:spPr>
          <a:xfrm>
            <a:off x="5255211" y="2870473"/>
            <a:ext cx="63828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20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Le Chat for knowledge workers</a:t>
            </a:r>
            <a:endParaRPr sz="1867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183" name="Google Shape;183;p21"/>
          <p:cNvSpPr txBox="1"/>
          <p:nvPr/>
        </p:nvSpPr>
        <p:spPr>
          <a:xfrm>
            <a:off x="5255209" y="5164109"/>
            <a:ext cx="63828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20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Two connected products</a:t>
            </a:r>
            <a:endParaRPr sz="1867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184" name="Google Shape;184;p21"/>
          <p:cNvSpPr txBox="1">
            <a:spLocks noGrp="1"/>
          </p:cNvSpPr>
          <p:nvPr>
            <p:ph type="title"/>
          </p:nvPr>
        </p:nvSpPr>
        <p:spPr>
          <a:xfrm>
            <a:off x="373516" y="2916867"/>
            <a:ext cx="2427600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buSzPts val="2100"/>
            </a:pPr>
            <a:r>
              <a:rPr lang="en"/>
              <a:t>Mistral AI makes it easy for you</a:t>
            </a:r>
            <a:endParaRPr/>
          </a:p>
        </p:txBody>
      </p:sp>
      <p:sp>
        <p:nvSpPr>
          <p:cNvPr id="185" name="Google Shape;185;p21"/>
          <p:cNvSpPr/>
          <p:nvPr/>
        </p:nvSpPr>
        <p:spPr>
          <a:xfrm>
            <a:off x="3682699" y="2818541"/>
            <a:ext cx="1466000" cy="1466000"/>
          </a:xfrm>
          <a:prstGeom prst="ellipse">
            <a:avLst/>
          </a:prstGeom>
          <a:solidFill>
            <a:schemeClr val="lt1"/>
          </a:solidFill>
          <a:ln w="38100" cap="sq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200"/>
            </a:pPr>
            <a:endParaRPr sz="1600" kern="0">
              <a:solidFill>
                <a:srgbClr val="FFFFFF"/>
              </a:solidFill>
              <a:latin typeface="Sora"/>
              <a:ea typeface="Sora"/>
              <a:cs typeface="Sora"/>
              <a:sym typeface="Sora"/>
            </a:endParaRPr>
          </a:p>
        </p:txBody>
      </p:sp>
      <p:pic>
        <p:nvPicPr>
          <p:cNvPr id="186" name="Google Shape;186;p2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54413" y="3383024"/>
            <a:ext cx="1122515" cy="33697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7" name="Google Shape;187;p21"/>
          <p:cNvGrpSpPr/>
          <p:nvPr/>
        </p:nvGrpSpPr>
        <p:grpSpPr>
          <a:xfrm>
            <a:off x="3682699" y="702387"/>
            <a:ext cx="1465800" cy="1465800"/>
            <a:chOff x="3522604" y="349286"/>
            <a:chExt cx="1465800" cy="1465800"/>
          </a:xfrm>
        </p:grpSpPr>
        <p:sp>
          <p:nvSpPr>
            <p:cNvPr id="188" name="Google Shape;188;p21"/>
            <p:cNvSpPr/>
            <p:nvPr/>
          </p:nvSpPr>
          <p:spPr>
            <a:xfrm>
              <a:off x="3522604" y="349286"/>
              <a:ext cx="1465800" cy="1465800"/>
            </a:xfrm>
            <a:prstGeom prst="ellipse">
              <a:avLst/>
            </a:prstGeom>
            <a:solidFill>
              <a:schemeClr val="lt1"/>
            </a:solidFill>
            <a:ln w="38100" cap="sq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  <a:buSzPts val="1200"/>
              </a:pPr>
              <a:endParaRPr sz="1600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pic>
          <p:nvPicPr>
            <p:cNvPr id="189" name="Google Shape;189;p21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630681" y="457363"/>
              <a:ext cx="1249788" cy="124978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90" name="Google Shape;190;p21"/>
          <p:cNvGrpSpPr/>
          <p:nvPr/>
        </p:nvGrpSpPr>
        <p:grpSpPr>
          <a:xfrm>
            <a:off x="3682699" y="4934695"/>
            <a:ext cx="1465800" cy="1465800"/>
            <a:chOff x="3522604" y="5007346"/>
            <a:chExt cx="1465800" cy="1465800"/>
          </a:xfrm>
        </p:grpSpPr>
        <p:sp>
          <p:nvSpPr>
            <p:cNvPr id="191" name="Google Shape;191;p21"/>
            <p:cNvSpPr/>
            <p:nvPr/>
          </p:nvSpPr>
          <p:spPr>
            <a:xfrm>
              <a:off x="3522604" y="5007346"/>
              <a:ext cx="1465800" cy="1465800"/>
            </a:xfrm>
            <a:prstGeom prst="ellipse">
              <a:avLst/>
            </a:prstGeom>
            <a:solidFill>
              <a:schemeClr val="lt1"/>
            </a:solidFill>
            <a:ln w="38100" cap="sq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  <a:buSzPts val="1200"/>
              </a:pPr>
              <a:endParaRPr sz="1600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pic>
          <p:nvPicPr>
            <p:cNvPr id="192" name="Google Shape;192;p21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3798292" y="5283034"/>
              <a:ext cx="914566" cy="91456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93" name="Google Shape;193;p21"/>
          <p:cNvGrpSpPr/>
          <p:nvPr/>
        </p:nvGrpSpPr>
        <p:grpSpPr>
          <a:xfrm>
            <a:off x="2452916" y="5512703"/>
            <a:ext cx="1166181" cy="297947"/>
            <a:chOff x="2452914" y="5512702"/>
            <a:chExt cx="893580" cy="297946"/>
          </a:xfrm>
        </p:grpSpPr>
        <p:cxnSp>
          <p:nvCxnSpPr>
            <p:cNvPr id="194" name="Google Shape;194;p21"/>
            <p:cNvCxnSpPr/>
            <p:nvPr/>
          </p:nvCxnSpPr>
          <p:spPr>
            <a:xfrm>
              <a:off x="2452914" y="5512702"/>
              <a:ext cx="246600" cy="297900"/>
            </a:xfrm>
            <a:prstGeom prst="straightConnector1">
              <a:avLst/>
            </a:prstGeom>
            <a:noFill/>
            <a:ln w="19050" cap="flat" cmpd="sng">
              <a:solidFill>
                <a:srgbClr val="7F38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5" name="Google Shape;195;p21"/>
            <p:cNvCxnSpPr/>
            <p:nvPr/>
          </p:nvCxnSpPr>
          <p:spPr>
            <a:xfrm>
              <a:off x="2694894" y="5810648"/>
              <a:ext cx="651600" cy="0"/>
            </a:xfrm>
            <a:prstGeom prst="straightConnector1">
              <a:avLst/>
            </a:prstGeom>
            <a:noFill/>
            <a:ln w="19050" cap="flat" cmpd="sng">
              <a:solidFill>
                <a:srgbClr val="7F38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196" name="Google Shape;196;p21"/>
          <p:cNvGrpSpPr/>
          <p:nvPr/>
        </p:nvGrpSpPr>
        <p:grpSpPr>
          <a:xfrm>
            <a:off x="2453092" y="1345297"/>
            <a:ext cx="1166376" cy="297947"/>
            <a:chOff x="2452914" y="1345297"/>
            <a:chExt cx="1009558" cy="297946"/>
          </a:xfrm>
        </p:grpSpPr>
        <p:cxnSp>
          <p:nvCxnSpPr>
            <p:cNvPr id="197" name="Google Shape;197;p21"/>
            <p:cNvCxnSpPr/>
            <p:nvPr/>
          </p:nvCxnSpPr>
          <p:spPr>
            <a:xfrm rot="10800000" flipH="1">
              <a:off x="2452914" y="1345343"/>
              <a:ext cx="278700" cy="297900"/>
            </a:xfrm>
            <a:prstGeom prst="straightConnector1">
              <a:avLst/>
            </a:prstGeom>
            <a:noFill/>
            <a:ln w="19050" cap="flat" cmpd="sng">
              <a:solidFill>
                <a:srgbClr val="7F38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8" name="Google Shape;198;p21"/>
            <p:cNvCxnSpPr/>
            <p:nvPr/>
          </p:nvCxnSpPr>
          <p:spPr>
            <a:xfrm>
              <a:off x="2726272" y="1345297"/>
              <a:ext cx="736200" cy="0"/>
            </a:xfrm>
            <a:prstGeom prst="straightConnector1">
              <a:avLst/>
            </a:prstGeom>
            <a:noFill/>
            <a:ln w="19050" cap="flat" cmpd="sng">
              <a:solidFill>
                <a:srgbClr val="7F38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cxnSp>
        <p:nvCxnSpPr>
          <p:cNvPr id="199" name="Google Shape;199;p21"/>
          <p:cNvCxnSpPr/>
          <p:nvPr/>
        </p:nvCxnSpPr>
        <p:spPr>
          <a:xfrm>
            <a:off x="3316140" y="3551512"/>
            <a:ext cx="292400" cy="0"/>
          </a:xfrm>
          <a:prstGeom prst="straightConnector1">
            <a:avLst/>
          </a:prstGeom>
          <a:noFill/>
          <a:ln w="19050" cap="flat" cmpd="sng">
            <a:solidFill>
              <a:srgbClr val="7F38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00" name="Google Shape;200;p21"/>
          <p:cNvCxnSpPr/>
          <p:nvPr/>
        </p:nvCxnSpPr>
        <p:spPr>
          <a:xfrm>
            <a:off x="5255209" y="2537735"/>
            <a:ext cx="6382800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01" name="Google Shape;201;p21"/>
          <p:cNvGrpSpPr/>
          <p:nvPr/>
        </p:nvGrpSpPr>
        <p:grpSpPr>
          <a:xfrm rot="5400000">
            <a:off x="8230073" y="4614717"/>
            <a:ext cx="433200" cy="433200"/>
            <a:chOff x="7700155" y="8633401"/>
            <a:chExt cx="433200" cy="433200"/>
          </a:xfrm>
        </p:grpSpPr>
        <p:sp>
          <p:nvSpPr>
            <p:cNvPr id="202" name="Google Shape;202;p21"/>
            <p:cNvSpPr/>
            <p:nvPr/>
          </p:nvSpPr>
          <p:spPr>
            <a:xfrm>
              <a:off x="7700155" y="8633401"/>
              <a:ext cx="433200" cy="433200"/>
            </a:xfrm>
            <a:prstGeom prst="ellipse">
              <a:avLst/>
            </a:prstGeom>
            <a:solidFill>
              <a:schemeClr val="lt1"/>
            </a:solidFill>
            <a:ln w="9525" cap="sq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  <a:buSzPts val="1200"/>
              </a:pPr>
              <a:endParaRPr sz="1600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pic>
          <p:nvPicPr>
            <p:cNvPr id="203" name="Google Shape;203;p21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7708482" y="8641728"/>
              <a:ext cx="416657" cy="416657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204" name="Google Shape;204;p21"/>
          <p:cNvCxnSpPr/>
          <p:nvPr/>
        </p:nvCxnSpPr>
        <p:spPr>
          <a:xfrm>
            <a:off x="5255211" y="4831372"/>
            <a:ext cx="2803600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05" name="Google Shape;205;p21"/>
          <p:cNvCxnSpPr/>
          <p:nvPr/>
        </p:nvCxnSpPr>
        <p:spPr>
          <a:xfrm>
            <a:off x="8834644" y="4831372"/>
            <a:ext cx="2803600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0" name="Google Shape;210;p2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286" y="-1"/>
            <a:ext cx="12181429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211" name="Google Shape;211;p22"/>
          <p:cNvSpPr txBox="1"/>
          <p:nvPr/>
        </p:nvSpPr>
        <p:spPr>
          <a:xfrm>
            <a:off x="518300" y="1828800"/>
            <a:ext cx="4262800" cy="3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</a:pPr>
            <a:endParaRPr sz="2000" kern="0">
              <a:solidFill>
                <a:srgbClr val="FF7000"/>
              </a:solidFill>
              <a:latin typeface="Sora Medium"/>
              <a:ea typeface="Sora Medium"/>
              <a:cs typeface="Sora Medium"/>
              <a:sym typeface="Sora Medium"/>
            </a:endParaRPr>
          </a:p>
          <a:p>
            <a:pPr marL="609585" indent="-431789" defTabSz="1219170">
              <a:lnSpc>
                <a:spcPct val="115000"/>
              </a:lnSpc>
              <a:buClr>
                <a:srgbClr val="000000"/>
              </a:buClr>
              <a:buSzPts val="1500"/>
              <a:buFont typeface="Sora Medium"/>
              <a:buChar char="●"/>
            </a:pPr>
            <a:r>
              <a:rPr lang="en" sz="2000" u="sng" kern="0">
                <a:solidFill>
                  <a:srgbClr val="FF7000"/>
                </a:solidFill>
                <a:latin typeface="Sora Medium"/>
                <a:ea typeface="Sora Medium"/>
                <a:cs typeface="Sora Medium"/>
                <a:sym typeface="Sora Medium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hat.mistral.ai</a:t>
            </a:r>
            <a:endParaRPr sz="2000" kern="0">
              <a:solidFill>
                <a:srgbClr val="000000"/>
              </a:solidFill>
              <a:latin typeface="Sora Medium"/>
              <a:ea typeface="Sora Medium"/>
              <a:cs typeface="Sora Medium"/>
              <a:sym typeface="Sora Medium"/>
            </a:endParaRPr>
          </a:p>
          <a:p>
            <a:pPr defTabSz="1219170">
              <a:lnSpc>
                <a:spcPct val="115000"/>
              </a:lnSpc>
              <a:buClr>
                <a:srgbClr val="000000"/>
              </a:buClr>
            </a:pPr>
            <a:endParaRPr sz="2000" kern="0">
              <a:solidFill>
                <a:srgbClr val="000000"/>
              </a:solidFill>
              <a:latin typeface="Sora Medium"/>
              <a:ea typeface="Sora Medium"/>
              <a:cs typeface="Sora Medium"/>
              <a:sym typeface="Sora Medium"/>
            </a:endParaRPr>
          </a:p>
          <a:p>
            <a:pPr marL="609585" indent="-431789" defTabSz="1219170">
              <a:lnSpc>
                <a:spcPct val="150000"/>
              </a:lnSpc>
              <a:buClr>
                <a:srgbClr val="000000"/>
              </a:buClr>
              <a:buSzPts val="1500"/>
              <a:buFont typeface="Sora Medium"/>
              <a:buChar char="●"/>
            </a:pPr>
            <a:r>
              <a:rPr lang="en" sz="2000" kern="0">
                <a:solidFill>
                  <a:srgbClr val="000000"/>
                </a:solidFill>
                <a:latin typeface="Sora Medium"/>
                <a:ea typeface="Sora Medium"/>
                <a:cs typeface="Sora Medium"/>
                <a:sym typeface="Sora Medium"/>
              </a:rPr>
              <a:t>Access to latest models</a:t>
            </a:r>
            <a:endParaRPr sz="2000" kern="0">
              <a:solidFill>
                <a:srgbClr val="000000"/>
              </a:solidFill>
              <a:latin typeface="Sora Medium"/>
              <a:ea typeface="Sora Medium"/>
              <a:cs typeface="Sora Medium"/>
              <a:sym typeface="Sora Medium"/>
            </a:endParaRPr>
          </a:p>
          <a:p>
            <a:pPr marL="1219170" lvl="1" indent="-431789" defTabSz="1219170">
              <a:lnSpc>
                <a:spcPct val="150000"/>
              </a:lnSpc>
              <a:buClr>
                <a:srgbClr val="000000"/>
              </a:buClr>
              <a:buSzPts val="1500"/>
              <a:buFont typeface="Sora Medium"/>
              <a:buChar char="○"/>
            </a:pPr>
            <a:r>
              <a:rPr lang="en" sz="2000" kern="0">
                <a:solidFill>
                  <a:srgbClr val="000000"/>
                </a:solidFill>
                <a:latin typeface="Sora Medium"/>
                <a:ea typeface="Sora Medium"/>
                <a:cs typeface="Sora Medium"/>
                <a:sym typeface="Sora Medium"/>
              </a:rPr>
              <a:t>Mistral Large 2 (123B)</a:t>
            </a:r>
            <a:endParaRPr sz="2000" kern="0">
              <a:solidFill>
                <a:srgbClr val="000000"/>
              </a:solidFill>
              <a:latin typeface="Sora Medium"/>
              <a:ea typeface="Sora Medium"/>
              <a:cs typeface="Sora Medium"/>
              <a:sym typeface="Sora Medium"/>
            </a:endParaRPr>
          </a:p>
          <a:p>
            <a:pPr marL="1219170" lvl="1" indent="-431789" defTabSz="1219170">
              <a:lnSpc>
                <a:spcPct val="150000"/>
              </a:lnSpc>
              <a:buClr>
                <a:srgbClr val="000000"/>
              </a:buClr>
              <a:buSzPts val="1500"/>
              <a:buFont typeface="Sora Medium"/>
              <a:buChar char="○"/>
            </a:pPr>
            <a:r>
              <a:rPr lang="en" sz="2000" kern="0">
                <a:solidFill>
                  <a:srgbClr val="000000"/>
                </a:solidFill>
                <a:latin typeface="Sora Medium"/>
                <a:ea typeface="Sora Medium"/>
                <a:cs typeface="Sora Medium"/>
                <a:sym typeface="Sora Medium"/>
              </a:rPr>
              <a:t>Pixtral</a:t>
            </a:r>
            <a:endParaRPr sz="2000" kern="0">
              <a:solidFill>
                <a:srgbClr val="000000"/>
              </a:solidFill>
              <a:latin typeface="Sora Medium"/>
              <a:ea typeface="Sora Medium"/>
              <a:cs typeface="Sora Medium"/>
              <a:sym typeface="Sora Medium"/>
            </a:endParaRPr>
          </a:p>
          <a:p>
            <a:pPr marL="1219170" lvl="1" indent="-431789" defTabSz="1219170">
              <a:lnSpc>
                <a:spcPct val="150000"/>
              </a:lnSpc>
              <a:buClr>
                <a:srgbClr val="000000"/>
              </a:buClr>
              <a:buSzPts val="1500"/>
              <a:buFont typeface="Sora Medium"/>
              <a:buChar char="○"/>
            </a:pPr>
            <a:r>
              <a:rPr lang="en" sz="2000" kern="0">
                <a:solidFill>
                  <a:srgbClr val="000000"/>
                </a:solidFill>
                <a:latin typeface="Sora Medium"/>
                <a:ea typeface="Sora Medium"/>
                <a:cs typeface="Sora Medium"/>
                <a:sym typeface="Sora Medium"/>
              </a:rPr>
              <a:t>Canvas </a:t>
            </a:r>
            <a:endParaRPr sz="2000" kern="0">
              <a:solidFill>
                <a:srgbClr val="000000"/>
              </a:solidFill>
              <a:latin typeface="Sora Medium"/>
              <a:ea typeface="Sora Medium"/>
              <a:cs typeface="Sora Medium"/>
              <a:sym typeface="Sora Medium"/>
            </a:endParaRPr>
          </a:p>
          <a:p>
            <a:pPr marL="1219170" lvl="1" indent="-431789" defTabSz="1219170">
              <a:lnSpc>
                <a:spcPct val="150000"/>
              </a:lnSpc>
              <a:buClr>
                <a:srgbClr val="000000"/>
              </a:buClr>
              <a:buSzPts val="1500"/>
              <a:buFont typeface="Sora Medium"/>
              <a:buChar char="○"/>
            </a:pPr>
            <a:r>
              <a:rPr lang="en" sz="2000" kern="0">
                <a:solidFill>
                  <a:srgbClr val="000000"/>
                </a:solidFill>
                <a:latin typeface="Sora Medium"/>
                <a:ea typeface="Sora Medium"/>
                <a:cs typeface="Sora Medium"/>
                <a:sym typeface="Sora Medium"/>
              </a:rPr>
              <a:t>Image generation</a:t>
            </a:r>
            <a:endParaRPr sz="2000" kern="0">
              <a:solidFill>
                <a:srgbClr val="000000"/>
              </a:solidFill>
              <a:latin typeface="Sora Medium"/>
              <a:ea typeface="Sora Medium"/>
              <a:cs typeface="Sora Medium"/>
              <a:sym typeface="Sora Medium"/>
            </a:endParaRPr>
          </a:p>
          <a:p>
            <a:pPr marL="1219170" lvl="1" indent="-431789" defTabSz="1219170">
              <a:lnSpc>
                <a:spcPct val="150000"/>
              </a:lnSpc>
              <a:buClr>
                <a:srgbClr val="000000"/>
              </a:buClr>
              <a:buSzPts val="1500"/>
              <a:buFont typeface="Sora Medium"/>
              <a:buChar char="○"/>
            </a:pPr>
            <a:r>
              <a:rPr lang="en" sz="2000" kern="0">
                <a:solidFill>
                  <a:srgbClr val="000000"/>
                </a:solidFill>
                <a:latin typeface="Sora Medium"/>
                <a:ea typeface="Sora Medium"/>
                <a:cs typeface="Sora Medium"/>
                <a:sym typeface="Sora Medium"/>
              </a:rPr>
              <a:t>Web search</a:t>
            </a:r>
            <a:endParaRPr sz="2000" kern="0">
              <a:solidFill>
                <a:srgbClr val="000000"/>
              </a:solidFill>
              <a:latin typeface="Sora Medium"/>
              <a:ea typeface="Sora Medium"/>
              <a:cs typeface="Sora Medium"/>
              <a:sym typeface="Sora Medium"/>
            </a:endParaRPr>
          </a:p>
          <a:p>
            <a:pPr defTabSz="1219170">
              <a:lnSpc>
                <a:spcPct val="150000"/>
              </a:lnSpc>
              <a:buClr>
                <a:srgbClr val="000000"/>
              </a:buClr>
            </a:pPr>
            <a:endParaRPr sz="2000" kern="0">
              <a:solidFill>
                <a:srgbClr val="000000"/>
              </a:solidFill>
              <a:latin typeface="Sora Medium"/>
              <a:ea typeface="Sora Medium"/>
              <a:cs typeface="Sora Medium"/>
              <a:sym typeface="Sora Medium"/>
            </a:endParaRPr>
          </a:p>
          <a:p>
            <a:pPr marL="609585" indent="-431789" defTabSz="1219170">
              <a:lnSpc>
                <a:spcPct val="150000"/>
              </a:lnSpc>
              <a:buClr>
                <a:srgbClr val="000000"/>
              </a:buClr>
              <a:buSzPts val="1500"/>
              <a:buFont typeface="Sora Medium"/>
              <a:buChar char="●"/>
            </a:pPr>
            <a:r>
              <a:rPr lang="en" sz="2000" kern="0">
                <a:solidFill>
                  <a:srgbClr val="000000"/>
                </a:solidFill>
                <a:latin typeface="Sora Medium"/>
                <a:ea typeface="Sora Medium"/>
                <a:cs typeface="Sora Medium"/>
                <a:sym typeface="Sora Medium"/>
              </a:rPr>
              <a:t>It’s free!</a:t>
            </a:r>
            <a:endParaRPr sz="2000" kern="0">
              <a:solidFill>
                <a:srgbClr val="000000"/>
              </a:solidFill>
              <a:latin typeface="Sora Medium"/>
              <a:ea typeface="Sora Medium"/>
              <a:cs typeface="Sora Medium"/>
              <a:sym typeface="Sora Medium"/>
            </a:endParaRPr>
          </a:p>
        </p:txBody>
      </p:sp>
      <p:sp>
        <p:nvSpPr>
          <p:cNvPr id="212" name="Google Shape;212;p22"/>
          <p:cNvSpPr txBox="1"/>
          <p:nvPr/>
        </p:nvSpPr>
        <p:spPr>
          <a:xfrm>
            <a:off x="609600" y="609600"/>
            <a:ext cx="106680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000" b="1" kern="0">
                <a:solidFill>
                  <a:srgbClr val="323131"/>
                </a:solidFill>
                <a:latin typeface="Sora"/>
                <a:ea typeface="Sora"/>
                <a:cs typeface="Sora"/>
                <a:sym typeface="Sora"/>
              </a:rPr>
              <a:t>Le Chat Mistral</a:t>
            </a:r>
            <a:endParaRPr sz="2667" kern="0">
              <a:solidFill>
                <a:srgbClr val="FF2327"/>
              </a:solidFill>
              <a:latin typeface="Sora"/>
              <a:ea typeface="Sora"/>
              <a:cs typeface="Sora"/>
              <a:sym typeface="Sora"/>
            </a:endParaRPr>
          </a:p>
        </p:txBody>
      </p:sp>
      <p:pic>
        <p:nvPicPr>
          <p:cNvPr id="213" name="Google Shape;213;p22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307798" y="0"/>
            <a:ext cx="6755404" cy="685799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" name="Google Shape;223;p2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687021" y="1535020"/>
            <a:ext cx="2608401" cy="146721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24" name="Google Shape;224;p24"/>
          <p:cNvCxnSpPr/>
          <p:nvPr/>
        </p:nvCxnSpPr>
        <p:spPr>
          <a:xfrm flipH="1">
            <a:off x="2444188" y="1569785"/>
            <a:ext cx="9125600" cy="20800"/>
          </a:xfrm>
          <a:prstGeom prst="straightConnector1">
            <a:avLst/>
          </a:prstGeom>
          <a:gradFill>
            <a:gsLst>
              <a:gs pos="0">
                <a:srgbClr val="A20004"/>
              </a:gs>
              <a:gs pos="20000">
                <a:srgbClr val="9A2E36"/>
              </a:gs>
              <a:gs pos="41000">
                <a:srgbClr val="906874"/>
              </a:gs>
              <a:gs pos="55000">
                <a:srgbClr val="F05023"/>
              </a:gs>
              <a:gs pos="83000">
                <a:srgbClr val="FFB816"/>
              </a:gs>
              <a:gs pos="100000">
                <a:srgbClr val="FFB816"/>
              </a:gs>
            </a:gsLst>
            <a:lin ang="0" scaled="0"/>
          </a:gradFill>
          <a:ln w="19050" cap="flat" cmpd="sng">
            <a:solidFill>
              <a:srgbClr val="A20004"/>
            </a:solidFill>
            <a:prstDash val="solid"/>
            <a:miter lim="8000"/>
            <a:headEnd type="triangle" w="med" len="med"/>
            <a:tailEnd type="none" w="sm" len="sm"/>
          </a:ln>
        </p:spPr>
      </p:cxnSp>
      <p:pic>
        <p:nvPicPr>
          <p:cNvPr id="225" name="Google Shape;225;p2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191855" y="4149561"/>
            <a:ext cx="1809229" cy="431080"/>
          </a:xfrm>
          <a:custGeom>
            <a:avLst/>
            <a:gdLst/>
            <a:ahLst/>
            <a:cxnLst/>
            <a:rect l="l" t="t" r="r" b="b"/>
            <a:pathLst>
              <a:path w="1123745" h="297982" extrusionOk="0">
                <a:moveTo>
                  <a:pt x="784692" y="191188"/>
                </a:moveTo>
                <a:cubicBezTo>
                  <a:pt x="777492" y="193588"/>
                  <a:pt x="766093" y="196455"/>
                  <a:pt x="750494" y="199788"/>
                </a:cubicBezTo>
                <a:cubicBezTo>
                  <a:pt x="734895" y="203121"/>
                  <a:pt x="724695" y="206388"/>
                  <a:pt x="719896" y="209587"/>
                </a:cubicBezTo>
                <a:cubicBezTo>
                  <a:pt x="712563" y="214787"/>
                  <a:pt x="708896" y="221387"/>
                  <a:pt x="708896" y="229386"/>
                </a:cubicBezTo>
                <a:cubicBezTo>
                  <a:pt x="708896" y="237252"/>
                  <a:pt x="711829" y="244052"/>
                  <a:pt x="717696" y="249785"/>
                </a:cubicBezTo>
                <a:cubicBezTo>
                  <a:pt x="723562" y="255518"/>
                  <a:pt x="731028" y="258384"/>
                  <a:pt x="740094" y="258384"/>
                </a:cubicBezTo>
                <a:cubicBezTo>
                  <a:pt x="750227" y="258384"/>
                  <a:pt x="759893" y="255051"/>
                  <a:pt x="769093" y="248385"/>
                </a:cubicBezTo>
                <a:cubicBezTo>
                  <a:pt x="775892" y="243319"/>
                  <a:pt x="780359" y="237119"/>
                  <a:pt x="782492" y="229786"/>
                </a:cubicBezTo>
                <a:cubicBezTo>
                  <a:pt x="783958" y="224986"/>
                  <a:pt x="784692" y="215854"/>
                  <a:pt x="784692" y="202388"/>
                </a:cubicBezTo>
                <a:close/>
                <a:moveTo>
                  <a:pt x="750494" y="75995"/>
                </a:moveTo>
                <a:cubicBezTo>
                  <a:pt x="775559" y="75995"/>
                  <a:pt x="794224" y="78962"/>
                  <a:pt x="806490" y="84895"/>
                </a:cubicBezTo>
                <a:cubicBezTo>
                  <a:pt x="818756" y="90828"/>
                  <a:pt x="827389" y="98361"/>
                  <a:pt x="832389" y="107494"/>
                </a:cubicBezTo>
                <a:cubicBezTo>
                  <a:pt x="837389" y="116626"/>
                  <a:pt x="839888" y="133392"/>
                  <a:pt x="839888" y="157791"/>
                </a:cubicBezTo>
                <a:lnTo>
                  <a:pt x="839288" y="223386"/>
                </a:lnTo>
                <a:cubicBezTo>
                  <a:pt x="839288" y="242052"/>
                  <a:pt x="840188" y="255818"/>
                  <a:pt x="841988" y="264684"/>
                </a:cubicBezTo>
                <a:cubicBezTo>
                  <a:pt x="843788" y="273550"/>
                  <a:pt x="847155" y="283050"/>
                  <a:pt x="852088" y="293182"/>
                </a:cubicBezTo>
                <a:lnTo>
                  <a:pt x="796491" y="293182"/>
                </a:lnTo>
                <a:cubicBezTo>
                  <a:pt x="795024" y="289449"/>
                  <a:pt x="793224" y="283916"/>
                  <a:pt x="791091" y="276583"/>
                </a:cubicBezTo>
                <a:cubicBezTo>
                  <a:pt x="790158" y="273250"/>
                  <a:pt x="789491" y="271050"/>
                  <a:pt x="789091" y="269984"/>
                </a:cubicBezTo>
                <a:cubicBezTo>
                  <a:pt x="779492" y="279316"/>
                  <a:pt x="769226" y="286316"/>
                  <a:pt x="758293" y="290982"/>
                </a:cubicBezTo>
                <a:cubicBezTo>
                  <a:pt x="747361" y="295649"/>
                  <a:pt x="735695" y="297982"/>
                  <a:pt x="723295" y="297982"/>
                </a:cubicBezTo>
                <a:cubicBezTo>
                  <a:pt x="701430" y="297982"/>
                  <a:pt x="684198" y="292049"/>
                  <a:pt x="671599" y="280183"/>
                </a:cubicBezTo>
                <a:cubicBezTo>
                  <a:pt x="658999" y="268317"/>
                  <a:pt x="652700" y="253318"/>
                  <a:pt x="652700" y="235186"/>
                </a:cubicBezTo>
                <a:cubicBezTo>
                  <a:pt x="652700" y="223187"/>
                  <a:pt x="655566" y="212487"/>
                  <a:pt x="661299" y="203088"/>
                </a:cubicBezTo>
                <a:cubicBezTo>
                  <a:pt x="667032" y="193688"/>
                  <a:pt x="675065" y="186489"/>
                  <a:pt x="685398" y="181489"/>
                </a:cubicBezTo>
                <a:cubicBezTo>
                  <a:pt x="695730" y="176489"/>
                  <a:pt x="710630" y="172123"/>
                  <a:pt x="730095" y="168390"/>
                </a:cubicBezTo>
                <a:cubicBezTo>
                  <a:pt x="756360" y="163457"/>
                  <a:pt x="774559" y="158857"/>
                  <a:pt x="784692" y="154591"/>
                </a:cubicBezTo>
                <a:lnTo>
                  <a:pt x="784692" y="148991"/>
                </a:lnTo>
                <a:cubicBezTo>
                  <a:pt x="784692" y="138192"/>
                  <a:pt x="782025" y="130492"/>
                  <a:pt x="776692" y="125892"/>
                </a:cubicBezTo>
                <a:cubicBezTo>
                  <a:pt x="771359" y="121293"/>
                  <a:pt x="761293" y="118993"/>
                  <a:pt x="746494" y="118993"/>
                </a:cubicBezTo>
                <a:cubicBezTo>
                  <a:pt x="736495" y="118993"/>
                  <a:pt x="728695" y="120959"/>
                  <a:pt x="723095" y="124893"/>
                </a:cubicBezTo>
                <a:cubicBezTo>
                  <a:pt x="717496" y="128826"/>
                  <a:pt x="712963" y="135725"/>
                  <a:pt x="709496" y="145591"/>
                </a:cubicBezTo>
                <a:lnTo>
                  <a:pt x="658499" y="136392"/>
                </a:lnTo>
                <a:cubicBezTo>
                  <a:pt x="664232" y="115860"/>
                  <a:pt x="674098" y="100661"/>
                  <a:pt x="688098" y="90795"/>
                </a:cubicBezTo>
                <a:cubicBezTo>
                  <a:pt x="702097" y="80929"/>
                  <a:pt x="722896" y="75995"/>
                  <a:pt x="750494" y="75995"/>
                </a:cubicBezTo>
                <a:close/>
                <a:moveTo>
                  <a:pt x="390767" y="75995"/>
                </a:moveTo>
                <a:cubicBezTo>
                  <a:pt x="404366" y="75995"/>
                  <a:pt x="416165" y="78795"/>
                  <a:pt x="426165" y="84395"/>
                </a:cubicBezTo>
                <a:cubicBezTo>
                  <a:pt x="436164" y="89995"/>
                  <a:pt x="444364" y="98461"/>
                  <a:pt x="450763" y="109793"/>
                </a:cubicBezTo>
                <a:cubicBezTo>
                  <a:pt x="460096" y="98461"/>
                  <a:pt x="470162" y="89995"/>
                  <a:pt x="480961" y="84395"/>
                </a:cubicBezTo>
                <a:cubicBezTo>
                  <a:pt x="491761" y="78795"/>
                  <a:pt x="503293" y="75995"/>
                  <a:pt x="515559" y="75995"/>
                </a:cubicBezTo>
                <a:cubicBezTo>
                  <a:pt x="531158" y="75995"/>
                  <a:pt x="544357" y="79162"/>
                  <a:pt x="555157" y="85495"/>
                </a:cubicBezTo>
                <a:cubicBezTo>
                  <a:pt x="565956" y="91828"/>
                  <a:pt x="574022" y="101127"/>
                  <a:pt x="579355" y="113393"/>
                </a:cubicBezTo>
                <a:cubicBezTo>
                  <a:pt x="583222" y="122459"/>
                  <a:pt x="585155" y="137125"/>
                  <a:pt x="585155" y="157391"/>
                </a:cubicBezTo>
                <a:lnTo>
                  <a:pt x="585155" y="293182"/>
                </a:lnTo>
                <a:lnTo>
                  <a:pt x="528958" y="293182"/>
                </a:lnTo>
                <a:lnTo>
                  <a:pt x="528958" y="171790"/>
                </a:lnTo>
                <a:cubicBezTo>
                  <a:pt x="528958" y="150724"/>
                  <a:pt x="527025" y="137125"/>
                  <a:pt x="523159" y="130992"/>
                </a:cubicBezTo>
                <a:cubicBezTo>
                  <a:pt x="517959" y="122993"/>
                  <a:pt x="509960" y="118993"/>
                  <a:pt x="499160" y="118993"/>
                </a:cubicBezTo>
                <a:cubicBezTo>
                  <a:pt x="491294" y="118993"/>
                  <a:pt x="483895" y="121393"/>
                  <a:pt x="476962" y="126192"/>
                </a:cubicBezTo>
                <a:cubicBezTo>
                  <a:pt x="470029" y="130992"/>
                  <a:pt x="465029" y="138025"/>
                  <a:pt x="461963" y="147291"/>
                </a:cubicBezTo>
                <a:cubicBezTo>
                  <a:pt x="458896" y="156557"/>
                  <a:pt x="457363" y="171190"/>
                  <a:pt x="457363" y="191188"/>
                </a:cubicBezTo>
                <a:lnTo>
                  <a:pt x="457363" y="293182"/>
                </a:lnTo>
                <a:lnTo>
                  <a:pt x="401166" y="293182"/>
                </a:lnTo>
                <a:lnTo>
                  <a:pt x="401166" y="176789"/>
                </a:lnTo>
                <a:cubicBezTo>
                  <a:pt x="401166" y="156124"/>
                  <a:pt x="400166" y="142791"/>
                  <a:pt x="398166" y="136792"/>
                </a:cubicBezTo>
                <a:cubicBezTo>
                  <a:pt x="396167" y="130792"/>
                  <a:pt x="393067" y="126326"/>
                  <a:pt x="388867" y="123393"/>
                </a:cubicBezTo>
                <a:cubicBezTo>
                  <a:pt x="384667" y="120459"/>
                  <a:pt x="378968" y="118993"/>
                  <a:pt x="371768" y="118993"/>
                </a:cubicBezTo>
                <a:cubicBezTo>
                  <a:pt x="363102" y="118993"/>
                  <a:pt x="355302" y="121326"/>
                  <a:pt x="348370" y="125992"/>
                </a:cubicBezTo>
                <a:cubicBezTo>
                  <a:pt x="341437" y="130659"/>
                  <a:pt x="336470" y="137392"/>
                  <a:pt x="333470" y="146191"/>
                </a:cubicBezTo>
                <a:cubicBezTo>
                  <a:pt x="330471" y="154991"/>
                  <a:pt x="328971" y="169590"/>
                  <a:pt x="328971" y="189989"/>
                </a:cubicBezTo>
                <a:lnTo>
                  <a:pt x="328971" y="293182"/>
                </a:lnTo>
                <a:lnTo>
                  <a:pt x="272774" y="293182"/>
                </a:lnTo>
                <a:lnTo>
                  <a:pt x="272774" y="80795"/>
                </a:lnTo>
                <a:lnTo>
                  <a:pt x="324571" y="80795"/>
                </a:lnTo>
                <a:lnTo>
                  <a:pt x="324571" y="109793"/>
                </a:lnTo>
                <a:cubicBezTo>
                  <a:pt x="343103" y="87261"/>
                  <a:pt x="365168" y="75995"/>
                  <a:pt x="390767" y="75995"/>
                </a:cubicBezTo>
                <a:close/>
                <a:moveTo>
                  <a:pt x="97194" y="75995"/>
                </a:moveTo>
                <a:cubicBezTo>
                  <a:pt x="126259" y="75995"/>
                  <a:pt x="147858" y="80729"/>
                  <a:pt x="161990" y="90195"/>
                </a:cubicBezTo>
                <a:cubicBezTo>
                  <a:pt x="176123" y="99661"/>
                  <a:pt x="185855" y="113660"/>
                  <a:pt x="191188" y="132192"/>
                </a:cubicBezTo>
                <a:lnTo>
                  <a:pt x="138192" y="141991"/>
                </a:lnTo>
                <a:cubicBezTo>
                  <a:pt x="135925" y="133725"/>
                  <a:pt x="131625" y="127392"/>
                  <a:pt x="125292" y="122993"/>
                </a:cubicBezTo>
                <a:cubicBezTo>
                  <a:pt x="118959" y="118593"/>
                  <a:pt x="109927" y="116393"/>
                  <a:pt x="98194" y="116393"/>
                </a:cubicBezTo>
                <a:cubicBezTo>
                  <a:pt x="83395" y="116393"/>
                  <a:pt x="72796" y="118460"/>
                  <a:pt x="66396" y="122593"/>
                </a:cubicBezTo>
                <a:cubicBezTo>
                  <a:pt x="62130" y="125526"/>
                  <a:pt x="59996" y="129326"/>
                  <a:pt x="59996" y="133992"/>
                </a:cubicBezTo>
                <a:cubicBezTo>
                  <a:pt x="59996" y="137992"/>
                  <a:pt x="61863" y="141392"/>
                  <a:pt x="65596" y="144191"/>
                </a:cubicBezTo>
                <a:cubicBezTo>
                  <a:pt x="70662" y="147924"/>
                  <a:pt x="88161" y="153191"/>
                  <a:pt x="118093" y="159990"/>
                </a:cubicBezTo>
                <a:cubicBezTo>
                  <a:pt x="148024" y="166790"/>
                  <a:pt x="168923" y="175123"/>
                  <a:pt x="180789" y="184989"/>
                </a:cubicBezTo>
                <a:cubicBezTo>
                  <a:pt x="192522" y="194988"/>
                  <a:pt x="198388" y="208921"/>
                  <a:pt x="198388" y="226786"/>
                </a:cubicBezTo>
                <a:cubicBezTo>
                  <a:pt x="198388" y="246252"/>
                  <a:pt x="190255" y="262984"/>
                  <a:pt x="173989" y="276983"/>
                </a:cubicBezTo>
                <a:cubicBezTo>
                  <a:pt x="157724" y="290982"/>
                  <a:pt x="133659" y="297982"/>
                  <a:pt x="101794" y="297982"/>
                </a:cubicBezTo>
                <a:cubicBezTo>
                  <a:pt x="72862" y="297982"/>
                  <a:pt x="49964" y="292116"/>
                  <a:pt x="33098" y="280383"/>
                </a:cubicBezTo>
                <a:cubicBezTo>
                  <a:pt x="16232" y="268650"/>
                  <a:pt x="5200" y="252718"/>
                  <a:pt x="0" y="232586"/>
                </a:cubicBezTo>
                <a:lnTo>
                  <a:pt x="56397" y="223986"/>
                </a:lnTo>
                <a:cubicBezTo>
                  <a:pt x="58796" y="234919"/>
                  <a:pt x="63663" y="243219"/>
                  <a:pt x="70996" y="248885"/>
                </a:cubicBezTo>
                <a:cubicBezTo>
                  <a:pt x="78329" y="254551"/>
                  <a:pt x="88595" y="257384"/>
                  <a:pt x="101794" y="257384"/>
                </a:cubicBezTo>
                <a:cubicBezTo>
                  <a:pt x="116326" y="257384"/>
                  <a:pt x="127259" y="254718"/>
                  <a:pt x="134592" y="249385"/>
                </a:cubicBezTo>
                <a:cubicBezTo>
                  <a:pt x="139525" y="245652"/>
                  <a:pt x="141991" y="240652"/>
                  <a:pt x="141991" y="234386"/>
                </a:cubicBezTo>
                <a:cubicBezTo>
                  <a:pt x="141991" y="230119"/>
                  <a:pt x="140658" y="226586"/>
                  <a:pt x="137992" y="223786"/>
                </a:cubicBezTo>
                <a:cubicBezTo>
                  <a:pt x="135192" y="221120"/>
                  <a:pt x="128926" y="218653"/>
                  <a:pt x="119193" y="216387"/>
                </a:cubicBezTo>
                <a:cubicBezTo>
                  <a:pt x="73862" y="206388"/>
                  <a:pt x="45131" y="197255"/>
                  <a:pt x="32998" y="188989"/>
                </a:cubicBezTo>
                <a:cubicBezTo>
                  <a:pt x="16199" y="177523"/>
                  <a:pt x="7800" y="161590"/>
                  <a:pt x="7800" y="141192"/>
                </a:cubicBezTo>
                <a:cubicBezTo>
                  <a:pt x="7800" y="122793"/>
                  <a:pt x="15066" y="107327"/>
                  <a:pt x="29598" y="94794"/>
                </a:cubicBezTo>
                <a:cubicBezTo>
                  <a:pt x="44131" y="82262"/>
                  <a:pt x="66663" y="75995"/>
                  <a:pt x="97194" y="75995"/>
                </a:cubicBezTo>
                <a:close/>
                <a:moveTo>
                  <a:pt x="1067549" y="0"/>
                </a:moveTo>
                <a:lnTo>
                  <a:pt x="1123745" y="0"/>
                </a:lnTo>
                <a:lnTo>
                  <a:pt x="1123745" y="293182"/>
                </a:lnTo>
                <a:lnTo>
                  <a:pt x="1067549" y="293182"/>
                </a:lnTo>
                <a:close/>
                <a:moveTo>
                  <a:pt x="924674" y="0"/>
                </a:moveTo>
                <a:lnTo>
                  <a:pt x="980871" y="0"/>
                </a:lnTo>
                <a:lnTo>
                  <a:pt x="980871" y="293182"/>
                </a:lnTo>
                <a:lnTo>
                  <a:pt x="924674" y="293182"/>
                </a:lnTo>
                <a:close/>
              </a:path>
            </a:pathLst>
          </a:custGeom>
          <a:noFill/>
          <a:ln>
            <a:noFill/>
          </a:ln>
        </p:spPr>
      </p:pic>
      <p:pic>
        <p:nvPicPr>
          <p:cNvPr id="226" name="Google Shape;226;p2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936396" y="4102802"/>
            <a:ext cx="1810605" cy="573124"/>
          </a:xfrm>
          <a:custGeom>
            <a:avLst/>
            <a:gdLst/>
            <a:ahLst/>
            <a:cxnLst/>
            <a:rect l="l" t="t" r="r" b="b"/>
            <a:pathLst>
              <a:path w="1193806" h="423491" extrusionOk="0">
                <a:moveTo>
                  <a:pt x="292745" y="213420"/>
                </a:moveTo>
                <a:cubicBezTo>
                  <a:pt x="284708" y="216099"/>
                  <a:pt x="271983" y="219298"/>
                  <a:pt x="254570" y="223019"/>
                </a:cubicBezTo>
                <a:cubicBezTo>
                  <a:pt x="237157" y="226740"/>
                  <a:pt x="225772" y="230386"/>
                  <a:pt x="220414" y="233958"/>
                </a:cubicBezTo>
                <a:cubicBezTo>
                  <a:pt x="212229" y="239762"/>
                  <a:pt x="208136" y="247129"/>
                  <a:pt x="208136" y="256059"/>
                </a:cubicBezTo>
                <a:cubicBezTo>
                  <a:pt x="208136" y="264840"/>
                  <a:pt x="211410" y="272430"/>
                  <a:pt x="217958" y="278830"/>
                </a:cubicBezTo>
                <a:cubicBezTo>
                  <a:pt x="224507" y="285229"/>
                  <a:pt x="232841" y="288429"/>
                  <a:pt x="242962" y="288429"/>
                </a:cubicBezTo>
                <a:cubicBezTo>
                  <a:pt x="254272" y="288429"/>
                  <a:pt x="265063" y="284708"/>
                  <a:pt x="275332" y="277267"/>
                </a:cubicBezTo>
                <a:cubicBezTo>
                  <a:pt x="282922" y="271612"/>
                  <a:pt x="287908" y="264691"/>
                  <a:pt x="290289" y="256505"/>
                </a:cubicBezTo>
                <a:cubicBezTo>
                  <a:pt x="291926" y="251148"/>
                  <a:pt x="292745" y="240953"/>
                  <a:pt x="292745" y="225921"/>
                </a:cubicBezTo>
                <a:close/>
                <a:moveTo>
                  <a:pt x="1084808" y="132829"/>
                </a:moveTo>
                <a:cubicBezTo>
                  <a:pt x="1071116" y="132829"/>
                  <a:pt x="1059805" y="137815"/>
                  <a:pt x="1050875" y="147786"/>
                </a:cubicBezTo>
                <a:cubicBezTo>
                  <a:pt x="1041945" y="157758"/>
                  <a:pt x="1037555" y="171301"/>
                  <a:pt x="1037704" y="188417"/>
                </a:cubicBezTo>
                <a:lnTo>
                  <a:pt x="1131465" y="188417"/>
                </a:lnTo>
                <a:cubicBezTo>
                  <a:pt x="1131019" y="170259"/>
                  <a:pt x="1126331" y="156456"/>
                  <a:pt x="1117401" y="147005"/>
                </a:cubicBezTo>
                <a:cubicBezTo>
                  <a:pt x="1108471" y="137554"/>
                  <a:pt x="1097607" y="132829"/>
                  <a:pt x="1084808" y="132829"/>
                </a:cubicBezTo>
                <a:close/>
                <a:moveTo>
                  <a:pt x="778296" y="132829"/>
                </a:moveTo>
                <a:cubicBezTo>
                  <a:pt x="763265" y="132829"/>
                  <a:pt x="750875" y="138671"/>
                  <a:pt x="741126" y="150354"/>
                </a:cubicBezTo>
                <a:cubicBezTo>
                  <a:pt x="731378" y="162037"/>
                  <a:pt x="726504" y="179859"/>
                  <a:pt x="726504" y="203820"/>
                </a:cubicBezTo>
                <a:cubicBezTo>
                  <a:pt x="726504" y="228972"/>
                  <a:pt x="731378" y="247390"/>
                  <a:pt x="741126" y="259073"/>
                </a:cubicBezTo>
                <a:cubicBezTo>
                  <a:pt x="750875" y="270756"/>
                  <a:pt x="762893" y="276597"/>
                  <a:pt x="777180" y="276597"/>
                </a:cubicBezTo>
                <a:cubicBezTo>
                  <a:pt x="792509" y="276597"/>
                  <a:pt x="805457" y="270607"/>
                  <a:pt x="816024" y="258626"/>
                </a:cubicBezTo>
                <a:cubicBezTo>
                  <a:pt x="826591" y="246646"/>
                  <a:pt x="831874" y="228898"/>
                  <a:pt x="831874" y="205383"/>
                </a:cubicBezTo>
                <a:cubicBezTo>
                  <a:pt x="831874" y="180826"/>
                  <a:pt x="826814" y="162595"/>
                  <a:pt x="816694" y="150689"/>
                </a:cubicBezTo>
                <a:cubicBezTo>
                  <a:pt x="806574" y="138782"/>
                  <a:pt x="793774" y="132829"/>
                  <a:pt x="778296" y="132829"/>
                </a:cubicBezTo>
                <a:close/>
                <a:moveTo>
                  <a:pt x="1081013" y="84832"/>
                </a:moveTo>
                <a:cubicBezTo>
                  <a:pt x="1116285" y="84832"/>
                  <a:pt x="1144116" y="96478"/>
                  <a:pt x="1164505" y="119770"/>
                </a:cubicBezTo>
                <a:cubicBezTo>
                  <a:pt x="1184895" y="143061"/>
                  <a:pt x="1194643" y="178743"/>
                  <a:pt x="1193750" y="226814"/>
                </a:cubicBezTo>
                <a:lnTo>
                  <a:pt x="1036587" y="226814"/>
                </a:lnTo>
                <a:cubicBezTo>
                  <a:pt x="1037034" y="245418"/>
                  <a:pt x="1042094" y="259891"/>
                  <a:pt x="1051768" y="270235"/>
                </a:cubicBezTo>
                <a:cubicBezTo>
                  <a:pt x="1061442" y="280578"/>
                  <a:pt x="1073497" y="285750"/>
                  <a:pt x="1087933" y="285750"/>
                </a:cubicBezTo>
                <a:cubicBezTo>
                  <a:pt x="1097756" y="285750"/>
                  <a:pt x="1106016" y="283071"/>
                  <a:pt x="1112713" y="277713"/>
                </a:cubicBezTo>
                <a:cubicBezTo>
                  <a:pt x="1119410" y="272356"/>
                  <a:pt x="1124471" y="263724"/>
                  <a:pt x="1127893" y="251817"/>
                </a:cubicBezTo>
                <a:lnTo>
                  <a:pt x="1190401" y="262310"/>
                </a:lnTo>
                <a:cubicBezTo>
                  <a:pt x="1182365" y="285229"/>
                  <a:pt x="1169677" y="302679"/>
                  <a:pt x="1152339" y="314660"/>
                </a:cubicBezTo>
                <a:cubicBezTo>
                  <a:pt x="1135000" y="326641"/>
                  <a:pt x="1113308" y="332631"/>
                  <a:pt x="1087263" y="332631"/>
                </a:cubicBezTo>
                <a:cubicBezTo>
                  <a:pt x="1046038" y="332631"/>
                  <a:pt x="1015528" y="319162"/>
                  <a:pt x="995734" y="292224"/>
                </a:cubicBezTo>
                <a:cubicBezTo>
                  <a:pt x="980107" y="270644"/>
                  <a:pt x="972294" y="243409"/>
                  <a:pt x="972294" y="210518"/>
                </a:cubicBezTo>
                <a:cubicBezTo>
                  <a:pt x="972294" y="171227"/>
                  <a:pt x="982563" y="140457"/>
                  <a:pt x="1003101" y="118207"/>
                </a:cubicBezTo>
                <a:cubicBezTo>
                  <a:pt x="1023639" y="95957"/>
                  <a:pt x="1049610" y="84832"/>
                  <a:pt x="1081013" y="84832"/>
                </a:cubicBezTo>
                <a:close/>
                <a:moveTo>
                  <a:pt x="762223" y="84832"/>
                </a:moveTo>
                <a:cubicBezTo>
                  <a:pt x="791542" y="84832"/>
                  <a:pt x="815727" y="97706"/>
                  <a:pt x="834777" y="123453"/>
                </a:cubicBezTo>
                <a:lnTo>
                  <a:pt x="834777" y="90190"/>
                </a:lnTo>
                <a:lnTo>
                  <a:pt x="893489" y="90190"/>
                </a:lnTo>
                <a:lnTo>
                  <a:pt x="893489" y="302940"/>
                </a:lnTo>
                <a:cubicBezTo>
                  <a:pt x="893489" y="330920"/>
                  <a:pt x="891182" y="351830"/>
                  <a:pt x="886569" y="365671"/>
                </a:cubicBezTo>
                <a:cubicBezTo>
                  <a:pt x="881955" y="379512"/>
                  <a:pt x="875481" y="390376"/>
                  <a:pt x="867147" y="398264"/>
                </a:cubicBezTo>
                <a:cubicBezTo>
                  <a:pt x="858812" y="406152"/>
                  <a:pt x="847687" y="412328"/>
                  <a:pt x="833772" y="416793"/>
                </a:cubicBezTo>
                <a:cubicBezTo>
                  <a:pt x="819857" y="421258"/>
                  <a:pt x="802258" y="423491"/>
                  <a:pt x="780975" y="423491"/>
                </a:cubicBezTo>
                <a:cubicBezTo>
                  <a:pt x="740792" y="423491"/>
                  <a:pt x="712291" y="416607"/>
                  <a:pt x="695473" y="402841"/>
                </a:cubicBezTo>
                <a:cubicBezTo>
                  <a:pt x="678656" y="389074"/>
                  <a:pt x="670247" y="371624"/>
                  <a:pt x="670247" y="350490"/>
                </a:cubicBezTo>
                <a:cubicBezTo>
                  <a:pt x="670247" y="348407"/>
                  <a:pt x="670321" y="345877"/>
                  <a:pt x="670470" y="342900"/>
                </a:cubicBezTo>
                <a:lnTo>
                  <a:pt x="742131" y="351607"/>
                </a:lnTo>
                <a:cubicBezTo>
                  <a:pt x="743322" y="359941"/>
                  <a:pt x="746075" y="365671"/>
                  <a:pt x="750391" y="368796"/>
                </a:cubicBezTo>
                <a:cubicBezTo>
                  <a:pt x="756344" y="373261"/>
                  <a:pt x="765720" y="375494"/>
                  <a:pt x="778519" y="375494"/>
                </a:cubicBezTo>
                <a:cubicBezTo>
                  <a:pt x="794891" y="375494"/>
                  <a:pt x="807169" y="373038"/>
                  <a:pt x="815354" y="368127"/>
                </a:cubicBezTo>
                <a:cubicBezTo>
                  <a:pt x="820861" y="364852"/>
                  <a:pt x="825028" y="359569"/>
                  <a:pt x="827856" y="352276"/>
                </a:cubicBezTo>
                <a:cubicBezTo>
                  <a:pt x="829791" y="347067"/>
                  <a:pt x="830758" y="337468"/>
                  <a:pt x="830758" y="323478"/>
                </a:cubicBezTo>
                <a:lnTo>
                  <a:pt x="830758" y="288876"/>
                </a:lnTo>
                <a:cubicBezTo>
                  <a:pt x="812006" y="314474"/>
                  <a:pt x="788342" y="327273"/>
                  <a:pt x="759767" y="327273"/>
                </a:cubicBezTo>
                <a:cubicBezTo>
                  <a:pt x="727918" y="327273"/>
                  <a:pt x="702692" y="313804"/>
                  <a:pt x="684088" y="286866"/>
                </a:cubicBezTo>
                <a:cubicBezTo>
                  <a:pt x="669503" y="265584"/>
                  <a:pt x="662210" y="239093"/>
                  <a:pt x="662210" y="207392"/>
                </a:cubicBezTo>
                <a:cubicBezTo>
                  <a:pt x="662210" y="167655"/>
                  <a:pt x="671773" y="137294"/>
                  <a:pt x="690897" y="116309"/>
                </a:cubicBezTo>
                <a:cubicBezTo>
                  <a:pt x="710021" y="95325"/>
                  <a:pt x="733797" y="84832"/>
                  <a:pt x="762223" y="84832"/>
                </a:cubicBezTo>
                <a:close/>
                <a:moveTo>
                  <a:pt x="566811" y="84832"/>
                </a:moveTo>
                <a:cubicBezTo>
                  <a:pt x="581099" y="84832"/>
                  <a:pt x="594866" y="88776"/>
                  <a:pt x="608111" y="96664"/>
                </a:cubicBezTo>
                <a:lnTo>
                  <a:pt x="588689" y="151358"/>
                </a:lnTo>
                <a:cubicBezTo>
                  <a:pt x="578122" y="144512"/>
                  <a:pt x="568300" y="141089"/>
                  <a:pt x="559221" y="141089"/>
                </a:cubicBezTo>
                <a:cubicBezTo>
                  <a:pt x="550440" y="141089"/>
                  <a:pt x="542999" y="143508"/>
                  <a:pt x="536897" y="148345"/>
                </a:cubicBezTo>
                <a:cubicBezTo>
                  <a:pt x="530795" y="153181"/>
                  <a:pt x="525995" y="161925"/>
                  <a:pt x="522498" y="174576"/>
                </a:cubicBezTo>
                <a:cubicBezTo>
                  <a:pt x="519001" y="187226"/>
                  <a:pt x="517252" y="213717"/>
                  <a:pt x="517252" y="254050"/>
                </a:cubicBezTo>
                <a:lnTo>
                  <a:pt x="517252" y="327273"/>
                </a:lnTo>
                <a:lnTo>
                  <a:pt x="454521" y="327273"/>
                </a:lnTo>
                <a:lnTo>
                  <a:pt x="454521" y="90190"/>
                </a:lnTo>
                <a:lnTo>
                  <a:pt x="512787" y="90190"/>
                </a:lnTo>
                <a:lnTo>
                  <a:pt x="512787" y="123900"/>
                </a:lnTo>
                <a:cubicBezTo>
                  <a:pt x="522758" y="107975"/>
                  <a:pt x="531725" y="97483"/>
                  <a:pt x="539688" y="92422"/>
                </a:cubicBezTo>
                <a:cubicBezTo>
                  <a:pt x="547650" y="87362"/>
                  <a:pt x="556691" y="84832"/>
                  <a:pt x="566811" y="84832"/>
                </a:cubicBezTo>
                <a:close/>
                <a:moveTo>
                  <a:pt x="254570" y="84832"/>
                </a:moveTo>
                <a:cubicBezTo>
                  <a:pt x="282550" y="84832"/>
                  <a:pt x="303386" y="88144"/>
                  <a:pt x="317078" y="94766"/>
                </a:cubicBezTo>
                <a:cubicBezTo>
                  <a:pt x="330770" y="101389"/>
                  <a:pt x="340407" y="109798"/>
                  <a:pt x="345988" y="119993"/>
                </a:cubicBezTo>
                <a:cubicBezTo>
                  <a:pt x="351569" y="130187"/>
                  <a:pt x="354359" y="148903"/>
                  <a:pt x="354359" y="176138"/>
                </a:cubicBezTo>
                <a:lnTo>
                  <a:pt x="353690" y="249362"/>
                </a:lnTo>
                <a:cubicBezTo>
                  <a:pt x="353690" y="270198"/>
                  <a:pt x="354694" y="285564"/>
                  <a:pt x="356703" y="295461"/>
                </a:cubicBezTo>
                <a:cubicBezTo>
                  <a:pt x="358713" y="305358"/>
                  <a:pt x="362471" y="315962"/>
                  <a:pt x="367977" y="327273"/>
                </a:cubicBezTo>
                <a:lnTo>
                  <a:pt x="305916" y="327273"/>
                </a:lnTo>
                <a:cubicBezTo>
                  <a:pt x="304279" y="323106"/>
                  <a:pt x="302270" y="316930"/>
                  <a:pt x="299888" y="308744"/>
                </a:cubicBezTo>
                <a:cubicBezTo>
                  <a:pt x="298847" y="305023"/>
                  <a:pt x="298102" y="302568"/>
                  <a:pt x="297656" y="301377"/>
                </a:cubicBezTo>
                <a:cubicBezTo>
                  <a:pt x="286940" y="311795"/>
                  <a:pt x="275480" y="319609"/>
                  <a:pt x="263277" y="324818"/>
                </a:cubicBezTo>
                <a:cubicBezTo>
                  <a:pt x="251073" y="330027"/>
                  <a:pt x="238050" y="332631"/>
                  <a:pt x="224209" y="332631"/>
                </a:cubicBezTo>
                <a:cubicBezTo>
                  <a:pt x="199801" y="332631"/>
                  <a:pt x="180565" y="326008"/>
                  <a:pt x="166501" y="312762"/>
                </a:cubicBezTo>
                <a:cubicBezTo>
                  <a:pt x="152437" y="299517"/>
                  <a:pt x="145405" y="282774"/>
                  <a:pt x="145405" y="262533"/>
                </a:cubicBezTo>
                <a:cubicBezTo>
                  <a:pt x="145405" y="249138"/>
                  <a:pt x="148605" y="237195"/>
                  <a:pt x="155004" y="226703"/>
                </a:cubicBezTo>
                <a:cubicBezTo>
                  <a:pt x="161404" y="216210"/>
                  <a:pt x="170371" y="208174"/>
                  <a:pt x="181905" y="202592"/>
                </a:cubicBezTo>
                <a:cubicBezTo>
                  <a:pt x="193439" y="197011"/>
                  <a:pt x="210071" y="192137"/>
                  <a:pt x="231799" y="187970"/>
                </a:cubicBezTo>
                <a:cubicBezTo>
                  <a:pt x="261119" y="182463"/>
                  <a:pt x="281434" y="177329"/>
                  <a:pt x="292745" y="172566"/>
                </a:cubicBezTo>
                <a:lnTo>
                  <a:pt x="292745" y="166316"/>
                </a:lnTo>
                <a:cubicBezTo>
                  <a:pt x="292745" y="154260"/>
                  <a:pt x="289768" y="145666"/>
                  <a:pt x="283815" y="140531"/>
                </a:cubicBezTo>
                <a:cubicBezTo>
                  <a:pt x="277862" y="135396"/>
                  <a:pt x="266625" y="132829"/>
                  <a:pt x="250105" y="132829"/>
                </a:cubicBezTo>
                <a:cubicBezTo>
                  <a:pt x="238943" y="132829"/>
                  <a:pt x="230237" y="135024"/>
                  <a:pt x="223986" y="139415"/>
                </a:cubicBezTo>
                <a:cubicBezTo>
                  <a:pt x="217735" y="143805"/>
                  <a:pt x="212675" y="151507"/>
                  <a:pt x="208805" y="162520"/>
                </a:cubicBezTo>
                <a:lnTo>
                  <a:pt x="151879" y="152251"/>
                </a:lnTo>
                <a:cubicBezTo>
                  <a:pt x="158278" y="129332"/>
                  <a:pt x="169292" y="112365"/>
                  <a:pt x="184919" y="101352"/>
                </a:cubicBezTo>
                <a:cubicBezTo>
                  <a:pt x="200546" y="90339"/>
                  <a:pt x="223763" y="84832"/>
                  <a:pt x="254570" y="84832"/>
                </a:cubicBezTo>
                <a:close/>
                <a:moveTo>
                  <a:pt x="0" y="0"/>
                </a:moveTo>
                <a:lnTo>
                  <a:pt x="62731" y="0"/>
                </a:lnTo>
                <a:lnTo>
                  <a:pt x="62731" y="327273"/>
                </a:lnTo>
                <a:lnTo>
                  <a:pt x="0" y="327273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227" name="Google Shape;227;p24"/>
          <p:cNvSpPr txBox="1"/>
          <p:nvPr/>
        </p:nvSpPr>
        <p:spPr>
          <a:xfrm>
            <a:off x="4191852" y="4716744"/>
            <a:ext cx="2164000" cy="410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33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est for </a:t>
            </a:r>
            <a:r>
              <a:rPr lang="en" sz="1333"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ow latency,  </a:t>
            </a:r>
            <a:r>
              <a:rPr lang="en" sz="133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nversational use cases</a:t>
            </a:r>
            <a:endParaRPr sz="13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8" name="Google Shape;228;p24"/>
          <p:cNvSpPr txBox="1"/>
          <p:nvPr/>
        </p:nvSpPr>
        <p:spPr>
          <a:xfrm>
            <a:off x="7936400" y="4737329"/>
            <a:ext cx="2742800" cy="410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33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ur flagship model, for your </a:t>
            </a:r>
            <a:r>
              <a:rPr lang="en" sz="1333"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ost sophisticated needs</a:t>
            </a:r>
            <a:endParaRPr sz="13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9" name="Google Shape;229;p24"/>
          <p:cNvSpPr txBox="1"/>
          <p:nvPr/>
        </p:nvSpPr>
        <p:spPr>
          <a:xfrm>
            <a:off x="4189837" y="2324025"/>
            <a:ext cx="11328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2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ur</a:t>
            </a:r>
            <a:r>
              <a:rPr lang="en" sz="1200"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first model, </a:t>
            </a:r>
            <a:r>
              <a:rPr lang="en" sz="12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ts on one GPU</a:t>
            </a:r>
            <a:endParaRPr sz="12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0" name="Google Shape;230;p24"/>
          <p:cNvSpPr txBox="1"/>
          <p:nvPr/>
        </p:nvSpPr>
        <p:spPr>
          <a:xfrm>
            <a:off x="5461945" y="2320571"/>
            <a:ext cx="13608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200"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ur SMoE model:</a:t>
            </a:r>
            <a:r>
              <a:rPr lang="en" sz="12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only 14B inference</a:t>
            </a:r>
            <a:endParaRPr sz="12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1" name="Google Shape;231;p24"/>
          <p:cNvSpPr txBox="1"/>
          <p:nvPr/>
        </p:nvSpPr>
        <p:spPr>
          <a:xfrm>
            <a:off x="6979044" y="2320571"/>
            <a:ext cx="17348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2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ur </a:t>
            </a:r>
            <a:r>
              <a:rPr lang="en" sz="1200"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arge SMoE model</a:t>
            </a:r>
            <a:r>
              <a:rPr lang="en" sz="12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 for advanced research</a:t>
            </a:r>
            <a:endParaRPr sz="12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2" name="Google Shape;232;p24"/>
          <p:cNvSpPr txBox="1"/>
          <p:nvPr/>
        </p:nvSpPr>
        <p:spPr>
          <a:xfrm>
            <a:off x="2386821" y="2012633"/>
            <a:ext cx="1734800" cy="2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indent="-152396" algn="ctr" defTabSz="1219170">
              <a:buClr>
                <a:srgbClr val="000000"/>
              </a:buClr>
              <a:buSzPts val="1800"/>
              <a:buFont typeface="Quattrocento Sans"/>
              <a:buChar char="​"/>
            </a:pPr>
            <a:r>
              <a:rPr lang="en" sz="2400" b="1" kern="0">
                <a:solidFill>
                  <a:srgbClr val="FFA966"/>
                </a:solidFill>
                <a:latin typeface="Arial"/>
                <a:cs typeface="Arial"/>
                <a:sym typeface="Arial"/>
              </a:rPr>
              <a:t>Latest</a:t>
            </a:r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33" name="Google Shape;233;p24"/>
          <p:cNvGrpSpPr/>
          <p:nvPr/>
        </p:nvGrpSpPr>
        <p:grpSpPr>
          <a:xfrm>
            <a:off x="2443924" y="5157033"/>
            <a:ext cx="9125905" cy="204855"/>
            <a:chOff x="554734" y="5164566"/>
            <a:chExt cx="8224500" cy="216000"/>
          </a:xfrm>
        </p:grpSpPr>
        <p:cxnSp>
          <p:nvCxnSpPr>
            <p:cNvPr id="234" name="Google Shape;234;p24"/>
            <p:cNvCxnSpPr/>
            <p:nvPr/>
          </p:nvCxnSpPr>
          <p:spPr>
            <a:xfrm>
              <a:off x="554734" y="5272566"/>
              <a:ext cx="8224500" cy="0"/>
            </a:xfrm>
            <a:prstGeom prst="straightConnector1">
              <a:avLst/>
            </a:prstGeom>
            <a:noFill/>
            <a:ln w="9525" cap="flat" cmpd="sng">
              <a:solidFill>
                <a:srgbClr val="7F7F7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grpSp>
          <p:nvGrpSpPr>
            <p:cNvPr id="235" name="Google Shape;235;p24"/>
            <p:cNvGrpSpPr/>
            <p:nvPr/>
          </p:nvGrpSpPr>
          <p:grpSpPr>
            <a:xfrm>
              <a:off x="1173228" y="5164566"/>
              <a:ext cx="215700" cy="216000"/>
              <a:chOff x="1140123" y="5170273"/>
              <a:chExt cx="215700" cy="216000"/>
            </a:xfrm>
          </p:grpSpPr>
          <p:sp>
            <p:nvSpPr>
              <p:cNvPr id="236" name="Google Shape;236;p24"/>
              <p:cNvSpPr/>
              <p:nvPr/>
            </p:nvSpPr>
            <p:spPr>
              <a:xfrm>
                <a:off x="1140123" y="5170273"/>
                <a:ext cx="215700" cy="216000"/>
              </a:xfrm>
              <a:prstGeom prst="ellipse">
                <a:avLst/>
              </a:prstGeom>
              <a:solidFill>
                <a:srgbClr val="FFFFFF"/>
              </a:solidFill>
              <a:ln w="12700" cap="sq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algn="ctr" defTabSz="1219170">
                  <a:buClr>
                    <a:srgbClr val="FFFFFF"/>
                  </a:buClr>
                  <a:buSzPts val="1600"/>
                </a:pPr>
                <a:endParaRPr sz="2133" kern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37" name="Google Shape;237;p24"/>
              <p:cNvGrpSpPr/>
              <p:nvPr/>
            </p:nvGrpSpPr>
            <p:grpSpPr>
              <a:xfrm>
                <a:off x="1175888" y="5206191"/>
                <a:ext cx="143986" cy="143986"/>
                <a:chOff x="1978243" y="4529104"/>
                <a:chExt cx="792000" cy="792000"/>
              </a:xfrm>
            </p:grpSpPr>
            <p:sp>
              <p:nvSpPr>
                <p:cNvPr id="238" name="Google Shape;238;p24"/>
                <p:cNvSpPr/>
                <p:nvPr/>
              </p:nvSpPr>
              <p:spPr>
                <a:xfrm>
                  <a:off x="1978243" y="4879443"/>
                  <a:ext cx="792000" cy="9120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424242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algn="ctr" defTabSz="1219170">
                    <a:buClr>
                      <a:srgbClr val="FFFFFF"/>
                    </a:buClr>
                    <a:buSzPts val="1600"/>
                  </a:pPr>
                  <a:endParaRPr sz="2133" kern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9" name="Google Shape;239;p24"/>
                <p:cNvSpPr/>
                <p:nvPr/>
              </p:nvSpPr>
              <p:spPr>
                <a:xfrm rot="5400000">
                  <a:off x="1978304" y="4879504"/>
                  <a:ext cx="792000" cy="9120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424242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algn="ctr" defTabSz="1219170">
                    <a:buClr>
                      <a:srgbClr val="FFFFFF"/>
                    </a:buClr>
                    <a:buSzPts val="1600"/>
                  </a:pPr>
                  <a:endParaRPr sz="2133" kern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grpSp>
        <p:nvGrpSpPr>
          <p:cNvPr id="240" name="Google Shape;240;p24"/>
          <p:cNvGrpSpPr/>
          <p:nvPr/>
        </p:nvGrpSpPr>
        <p:grpSpPr>
          <a:xfrm>
            <a:off x="2443976" y="2731034"/>
            <a:ext cx="9125905" cy="204855"/>
            <a:chOff x="554734" y="3510131"/>
            <a:chExt cx="8224500" cy="216000"/>
          </a:xfrm>
        </p:grpSpPr>
        <p:cxnSp>
          <p:nvCxnSpPr>
            <p:cNvPr id="241" name="Google Shape;241;p24"/>
            <p:cNvCxnSpPr/>
            <p:nvPr/>
          </p:nvCxnSpPr>
          <p:spPr>
            <a:xfrm>
              <a:off x="554734" y="3618131"/>
              <a:ext cx="8224500" cy="0"/>
            </a:xfrm>
            <a:prstGeom prst="straightConnector1">
              <a:avLst/>
            </a:prstGeom>
            <a:noFill/>
            <a:ln w="9525" cap="flat" cmpd="sng">
              <a:solidFill>
                <a:srgbClr val="7F7F7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grpSp>
          <p:nvGrpSpPr>
            <p:cNvPr id="242" name="Google Shape;242;p24"/>
            <p:cNvGrpSpPr/>
            <p:nvPr/>
          </p:nvGrpSpPr>
          <p:grpSpPr>
            <a:xfrm>
              <a:off x="1173228" y="3510131"/>
              <a:ext cx="215700" cy="216000"/>
              <a:chOff x="991399" y="3511969"/>
              <a:chExt cx="215700" cy="216000"/>
            </a:xfrm>
          </p:grpSpPr>
          <p:sp>
            <p:nvSpPr>
              <p:cNvPr id="243" name="Google Shape;243;p24"/>
              <p:cNvSpPr/>
              <p:nvPr/>
            </p:nvSpPr>
            <p:spPr>
              <a:xfrm>
                <a:off x="991399" y="3511969"/>
                <a:ext cx="215700" cy="216000"/>
              </a:xfrm>
              <a:prstGeom prst="ellipse">
                <a:avLst/>
              </a:prstGeom>
              <a:solidFill>
                <a:srgbClr val="FFFFFF"/>
              </a:solidFill>
              <a:ln w="12700" cap="sq" cmpd="sng">
                <a:solidFill>
                  <a:srgbClr val="FF7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algn="ctr" defTabSz="1219170">
                  <a:buClr>
                    <a:srgbClr val="FFFFFF"/>
                  </a:buClr>
                  <a:buSzPts val="1600"/>
                </a:pPr>
                <a:endParaRPr sz="2133" kern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44" name="Google Shape;244;p24"/>
              <p:cNvGrpSpPr/>
              <p:nvPr/>
            </p:nvGrpSpPr>
            <p:grpSpPr>
              <a:xfrm>
                <a:off x="1027164" y="3547887"/>
                <a:ext cx="143986" cy="143986"/>
                <a:chOff x="1978243" y="4529110"/>
                <a:chExt cx="792000" cy="792000"/>
              </a:xfrm>
            </p:grpSpPr>
            <p:sp>
              <p:nvSpPr>
                <p:cNvPr id="245" name="Google Shape;245;p24"/>
                <p:cNvSpPr/>
                <p:nvPr/>
              </p:nvSpPr>
              <p:spPr>
                <a:xfrm>
                  <a:off x="1978243" y="4879444"/>
                  <a:ext cx="792000" cy="9120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7000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algn="ctr" defTabSz="1219170">
                    <a:buClr>
                      <a:srgbClr val="FFFFFF"/>
                    </a:buClr>
                    <a:buSzPts val="1600"/>
                  </a:pPr>
                  <a:endParaRPr sz="2133" kern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46" name="Google Shape;246;p24"/>
                <p:cNvSpPr/>
                <p:nvPr/>
              </p:nvSpPr>
              <p:spPr>
                <a:xfrm rot="5400000">
                  <a:off x="1978304" y="4879510"/>
                  <a:ext cx="792000" cy="9120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7000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algn="ctr" defTabSz="1219170">
                    <a:buClr>
                      <a:srgbClr val="FFFFFF"/>
                    </a:buClr>
                    <a:buSzPts val="1600"/>
                  </a:pPr>
                  <a:endParaRPr sz="2133" kern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247" name="Google Shape;247;p24"/>
          <p:cNvSpPr txBox="1"/>
          <p:nvPr/>
        </p:nvSpPr>
        <p:spPr>
          <a:xfrm>
            <a:off x="2444032" y="5507572"/>
            <a:ext cx="1620400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indent="-152396" algn="ctr" defTabSz="1219170">
              <a:buClr>
                <a:srgbClr val="424242"/>
              </a:buClr>
              <a:buSzPts val="1800"/>
              <a:buFont typeface="Quattrocento Sans"/>
              <a:buChar char="​"/>
            </a:pPr>
            <a:r>
              <a:rPr lang="en" sz="2400" b="1" kern="0">
                <a:solidFill>
                  <a:srgbClr val="424242"/>
                </a:solidFill>
                <a:latin typeface="Arial"/>
                <a:cs typeface="Arial"/>
                <a:sym typeface="Arial"/>
              </a:rPr>
              <a:t>Custom models</a:t>
            </a:r>
            <a:endParaRPr sz="2400" kern="0">
              <a:solidFill>
                <a:srgbClr val="42424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8" name="Google Shape;248;p24"/>
          <p:cNvSpPr/>
          <p:nvPr/>
        </p:nvSpPr>
        <p:spPr>
          <a:xfrm>
            <a:off x="1246179" y="484255"/>
            <a:ext cx="311600" cy="264800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49" name="Google Shape;249;p24"/>
          <p:cNvGrpSpPr/>
          <p:nvPr/>
        </p:nvGrpSpPr>
        <p:grpSpPr>
          <a:xfrm>
            <a:off x="2443956" y="3914355"/>
            <a:ext cx="9125905" cy="204855"/>
            <a:chOff x="554734" y="3510131"/>
            <a:chExt cx="8224500" cy="216000"/>
          </a:xfrm>
        </p:grpSpPr>
        <p:cxnSp>
          <p:nvCxnSpPr>
            <p:cNvPr id="250" name="Google Shape;250;p24"/>
            <p:cNvCxnSpPr/>
            <p:nvPr/>
          </p:nvCxnSpPr>
          <p:spPr>
            <a:xfrm>
              <a:off x="554734" y="3618131"/>
              <a:ext cx="8224500" cy="0"/>
            </a:xfrm>
            <a:prstGeom prst="straightConnector1">
              <a:avLst/>
            </a:prstGeom>
            <a:noFill/>
            <a:ln w="9525" cap="flat" cmpd="sng">
              <a:solidFill>
                <a:srgbClr val="7F7F7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grpSp>
          <p:nvGrpSpPr>
            <p:cNvPr id="251" name="Google Shape;251;p24"/>
            <p:cNvGrpSpPr/>
            <p:nvPr/>
          </p:nvGrpSpPr>
          <p:grpSpPr>
            <a:xfrm>
              <a:off x="1173228" y="3510131"/>
              <a:ext cx="215700" cy="216000"/>
              <a:chOff x="991399" y="3511969"/>
              <a:chExt cx="215700" cy="216000"/>
            </a:xfrm>
          </p:grpSpPr>
          <p:sp>
            <p:nvSpPr>
              <p:cNvPr id="252" name="Google Shape;252;p24"/>
              <p:cNvSpPr/>
              <p:nvPr/>
            </p:nvSpPr>
            <p:spPr>
              <a:xfrm>
                <a:off x="991399" y="3511969"/>
                <a:ext cx="215700" cy="216000"/>
              </a:xfrm>
              <a:prstGeom prst="ellipse">
                <a:avLst/>
              </a:prstGeom>
              <a:solidFill>
                <a:srgbClr val="FFFFFF"/>
              </a:solidFill>
              <a:ln w="12700" cap="sq" cmpd="sng">
                <a:solidFill>
                  <a:srgbClr val="A20004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algn="ctr" defTabSz="1219170">
                  <a:buClr>
                    <a:srgbClr val="FFFFFF"/>
                  </a:buClr>
                  <a:buSzPts val="1600"/>
                </a:pPr>
                <a:endParaRPr sz="2133" kern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53" name="Google Shape;253;p24"/>
              <p:cNvGrpSpPr/>
              <p:nvPr/>
            </p:nvGrpSpPr>
            <p:grpSpPr>
              <a:xfrm>
                <a:off x="1027164" y="3547887"/>
                <a:ext cx="143986" cy="143986"/>
                <a:chOff x="1978243" y="4529110"/>
                <a:chExt cx="792000" cy="792000"/>
              </a:xfrm>
            </p:grpSpPr>
            <p:sp>
              <p:nvSpPr>
                <p:cNvPr id="254" name="Google Shape;254;p24"/>
                <p:cNvSpPr/>
                <p:nvPr/>
              </p:nvSpPr>
              <p:spPr>
                <a:xfrm>
                  <a:off x="1978243" y="4879444"/>
                  <a:ext cx="792000" cy="9120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A2000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algn="ctr" defTabSz="1219170">
                    <a:buClr>
                      <a:srgbClr val="FFFFFF"/>
                    </a:buClr>
                    <a:buSzPts val="1600"/>
                  </a:pPr>
                  <a:endParaRPr sz="2133" kern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55" name="Google Shape;255;p24"/>
                <p:cNvSpPr/>
                <p:nvPr/>
              </p:nvSpPr>
              <p:spPr>
                <a:xfrm rot="5400000">
                  <a:off x="1978304" y="4879510"/>
                  <a:ext cx="792000" cy="9120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A2000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algn="ctr" defTabSz="1219170">
                    <a:buClr>
                      <a:srgbClr val="FFFFFF"/>
                    </a:buClr>
                    <a:buSzPts val="1600"/>
                  </a:pPr>
                  <a:endParaRPr sz="2133" kern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256" name="Google Shape;256;p24"/>
          <p:cNvSpPr txBox="1"/>
          <p:nvPr/>
        </p:nvSpPr>
        <p:spPr>
          <a:xfrm>
            <a:off x="4191853" y="6148521"/>
            <a:ext cx="30792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2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destral</a:t>
            </a:r>
            <a:r>
              <a:rPr lang="en" sz="12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: A low-latency model for </a:t>
            </a:r>
            <a:r>
              <a:rPr lang="en" sz="12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ding </a:t>
            </a:r>
            <a:r>
              <a:rPr lang="en" sz="12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(80+ programming languages)</a:t>
            </a:r>
            <a:endParaRPr sz="12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7" name="Google Shape;257;p24"/>
          <p:cNvSpPr txBox="1"/>
          <p:nvPr/>
        </p:nvSpPr>
        <p:spPr>
          <a:xfrm>
            <a:off x="2172221" y="3125113"/>
            <a:ext cx="2164000" cy="4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indent="-152396" algn="ctr" defTabSz="1219170">
              <a:buClr>
                <a:srgbClr val="FF7000"/>
              </a:buClr>
              <a:buSzPts val="1800"/>
              <a:buFont typeface="Quattrocento Sans"/>
              <a:buChar char="​"/>
            </a:pPr>
            <a:r>
              <a:rPr lang="en" sz="2400" b="1" kern="0">
                <a:solidFill>
                  <a:srgbClr val="FF7000"/>
                </a:solidFill>
                <a:latin typeface="Arial"/>
                <a:cs typeface="Arial"/>
                <a:sym typeface="Arial"/>
              </a:rPr>
              <a:t>Research</a:t>
            </a:r>
            <a:endParaRPr sz="2400" kern="0">
              <a:solidFill>
                <a:srgbClr val="FF7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8" name="Google Shape;258;p24"/>
          <p:cNvSpPr txBox="1"/>
          <p:nvPr/>
        </p:nvSpPr>
        <p:spPr>
          <a:xfrm>
            <a:off x="2444032" y="4242024"/>
            <a:ext cx="1620400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indent="-152396" algn="ctr" defTabSz="1219170">
              <a:buClr>
                <a:srgbClr val="000000"/>
              </a:buClr>
              <a:buSzPts val="1800"/>
              <a:buFont typeface="Quattrocento Sans"/>
              <a:buChar char="​"/>
            </a:pPr>
            <a:r>
              <a:rPr lang="en" sz="2400" b="1" kern="0">
                <a:solidFill>
                  <a:srgbClr val="A20004"/>
                </a:solidFill>
                <a:latin typeface="Arial"/>
                <a:cs typeface="Arial"/>
                <a:sym typeface="Arial"/>
              </a:rPr>
              <a:t>General models</a:t>
            </a:r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59" name="Google Shape;259;p24"/>
          <p:cNvGrpSpPr/>
          <p:nvPr/>
        </p:nvGrpSpPr>
        <p:grpSpPr>
          <a:xfrm>
            <a:off x="4191841" y="2986170"/>
            <a:ext cx="3017615" cy="926667"/>
            <a:chOff x="2850839" y="2298424"/>
            <a:chExt cx="2263211" cy="695000"/>
          </a:xfrm>
        </p:grpSpPr>
        <p:sp>
          <p:nvSpPr>
            <p:cNvPr id="260" name="Google Shape;260;p24"/>
            <p:cNvSpPr txBox="1"/>
            <p:nvPr/>
          </p:nvSpPr>
          <p:spPr>
            <a:xfrm>
              <a:off x="2850850" y="2716425"/>
              <a:ext cx="22632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defTabSz="1219170">
                <a:buClr>
                  <a:srgbClr val="000000"/>
                </a:buClr>
                <a:buSzPts val="1200"/>
              </a:pPr>
              <a:r>
                <a:rPr lang="en" sz="1200" b="1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rPr>
                <a:t>Codestral Mamba, </a:t>
              </a:r>
              <a:r>
                <a:rPr lang="en" sz="1200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rPr>
                <a:t>with in-context retrieval capabilities up to 256k token</a:t>
              </a:r>
              <a:endParaRPr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pic>
          <p:nvPicPr>
            <p:cNvPr id="261" name="Google Shape;261;p24"/>
            <p:cNvPicPr preferRelativeResize="0"/>
            <p:nvPr/>
          </p:nvPicPr>
          <p:blipFill rotWithShape="1">
            <a:blip r:embed="rId6">
              <a:alphaModFix/>
            </a:blip>
            <a:srcRect l="29522" t="11011" r="29502" b="11499"/>
            <a:stretch/>
          </p:blipFill>
          <p:spPr>
            <a:xfrm>
              <a:off x="2850839" y="2298424"/>
              <a:ext cx="369792" cy="37691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62" name="Google Shape;262;p24"/>
            <p:cNvSpPr txBox="1"/>
            <p:nvPr/>
          </p:nvSpPr>
          <p:spPr>
            <a:xfrm>
              <a:off x="3333164" y="2442328"/>
              <a:ext cx="673200" cy="2461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defTabSz="1219170">
                <a:buClr>
                  <a:srgbClr val="000000"/>
                </a:buClr>
                <a:buSzPts val="1400"/>
              </a:pPr>
              <a:r>
                <a:rPr lang="en" sz="2133" b="1" kern="0">
                  <a:solidFill>
                    <a:srgbClr val="FF7000"/>
                  </a:solidFill>
                  <a:latin typeface="Consolas"/>
                  <a:ea typeface="Consolas"/>
                  <a:cs typeface="Consolas"/>
                  <a:sym typeface="Consolas"/>
                </a:rPr>
                <a:t>_Mamba</a:t>
              </a:r>
              <a:endParaRPr sz="1867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63" name="Google Shape;263;p24"/>
          <p:cNvGrpSpPr/>
          <p:nvPr/>
        </p:nvGrpSpPr>
        <p:grpSpPr>
          <a:xfrm>
            <a:off x="7936689" y="2972048"/>
            <a:ext cx="3017600" cy="886089"/>
            <a:chOff x="5507076" y="2287832"/>
            <a:chExt cx="2263200" cy="664567"/>
          </a:xfrm>
        </p:grpSpPr>
        <p:sp>
          <p:nvSpPr>
            <p:cNvPr id="264" name="Google Shape;264;p24"/>
            <p:cNvSpPr txBox="1"/>
            <p:nvPr/>
          </p:nvSpPr>
          <p:spPr>
            <a:xfrm>
              <a:off x="5507076" y="2675400"/>
              <a:ext cx="22632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defTabSz="1219170">
                <a:buClr>
                  <a:srgbClr val="000000"/>
                </a:buClr>
                <a:buSzPts val="1200"/>
              </a:pPr>
              <a:r>
                <a:rPr lang="en" sz="1200" b="1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rPr>
                <a:t>MathStral, </a:t>
              </a:r>
              <a:r>
                <a:rPr lang="en" sz="1200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rPr>
                <a:t>our model dedicated to research in STEM subjects</a:t>
              </a:r>
              <a:endParaRPr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265" name="Google Shape;265;p24"/>
            <p:cNvSpPr txBox="1"/>
            <p:nvPr/>
          </p:nvSpPr>
          <p:spPr>
            <a:xfrm>
              <a:off x="5863497" y="2401303"/>
              <a:ext cx="1122000" cy="2461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defTabSz="1219170">
                <a:buClr>
                  <a:srgbClr val="000000"/>
                </a:buClr>
                <a:buSzPts val="1400"/>
              </a:pPr>
              <a:r>
                <a:rPr lang="en" sz="2133" b="1" kern="0">
                  <a:solidFill>
                    <a:srgbClr val="FF7000"/>
                  </a:solidFill>
                  <a:latin typeface="Consolas"/>
                  <a:ea typeface="Consolas"/>
                  <a:cs typeface="Consolas"/>
                  <a:sym typeface="Consolas"/>
                </a:rPr>
                <a:t>_MathStral</a:t>
              </a:r>
              <a:endParaRPr sz="2133" b="1" kern="0">
                <a:solidFill>
                  <a:srgbClr val="FF7000"/>
                </a:solidFill>
                <a:latin typeface="Consolas"/>
                <a:ea typeface="Consolas"/>
                <a:cs typeface="Consolas"/>
                <a:sym typeface="Consolas"/>
              </a:endParaRPr>
            </a:p>
          </p:txBody>
        </p:sp>
        <p:pic>
          <p:nvPicPr>
            <p:cNvPr id="266" name="Google Shape;266;p24"/>
            <p:cNvPicPr preferRelativeResize="0"/>
            <p:nvPr/>
          </p:nvPicPr>
          <p:blipFill rotWithShape="1">
            <a:blip r:embed="rId7">
              <a:alphaModFix/>
            </a:blip>
            <a:srcRect l="27391" t="10865" r="26656" b="10912"/>
            <a:stretch/>
          </p:blipFill>
          <p:spPr>
            <a:xfrm>
              <a:off x="5535348" y="2287832"/>
              <a:ext cx="352531" cy="32345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67" name="Google Shape;267;p24"/>
          <p:cNvPicPr preferRelativeResize="0"/>
          <p:nvPr/>
        </p:nvPicPr>
        <p:blipFill rotWithShape="1">
          <a:blip r:embed="rId8">
            <a:alphaModFix/>
          </a:blip>
          <a:srcRect l="27867" t="26976" r="27920" b="27463"/>
          <a:stretch/>
        </p:blipFill>
        <p:spPr>
          <a:xfrm>
            <a:off x="9368559" y="1721492"/>
            <a:ext cx="808811" cy="449177"/>
          </a:xfrm>
          <a:prstGeom prst="rect">
            <a:avLst/>
          </a:prstGeom>
          <a:noFill/>
          <a:ln>
            <a:noFill/>
          </a:ln>
        </p:spPr>
      </p:pic>
      <p:sp>
        <p:nvSpPr>
          <p:cNvPr id="268" name="Google Shape;268;p24"/>
          <p:cNvSpPr txBox="1"/>
          <p:nvPr/>
        </p:nvSpPr>
        <p:spPr>
          <a:xfrm>
            <a:off x="10253324" y="1932899"/>
            <a:ext cx="662400" cy="28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867" b="1" kern="0">
                <a:solidFill>
                  <a:srgbClr val="FF7000"/>
                </a:solidFill>
                <a:latin typeface="Consolas"/>
                <a:ea typeface="Consolas"/>
                <a:cs typeface="Consolas"/>
                <a:sym typeface="Consolas"/>
              </a:rPr>
              <a:t>_Nemo</a:t>
            </a:r>
            <a:endParaRPr sz="18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9" name="Google Shape;269;p24"/>
          <p:cNvSpPr txBox="1"/>
          <p:nvPr/>
        </p:nvSpPr>
        <p:spPr>
          <a:xfrm>
            <a:off x="8891921" y="2280471"/>
            <a:ext cx="2608400" cy="7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  <a:buSzPts val="12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Our </a:t>
            </a:r>
            <a: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state-of-the-art 12B model</a:t>
            </a: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, built in collaboration with NVIDIA </a:t>
            </a:r>
            <a:endParaRPr sz="1200" i="1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24"/>
          <p:cNvSpPr txBox="1"/>
          <p:nvPr/>
        </p:nvSpPr>
        <p:spPr>
          <a:xfrm>
            <a:off x="-763112" y="2501205"/>
            <a:ext cx="4000000" cy="656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indent="-152396" algn="ctr" defTabSz="1219170">
              <a:buClr>
                <a:srgbClr val="424242"/>
              </a:buClr>
              <a:buSzPts val="1800"/>
              <a:buFont typeface="Quattrocento Sans"/>
              <a:buChar char="​"/>
            </a:pPr>
            <a:r>
              <a:rPr lang="en" sz="2667" b="1" kern="0">
                <a:solidFill>
                  <a:srgbClr val="FF7000"/>
                </a:solidFill>
                <a:latin typeface="Arial"/>
                <a:cs typeface="Arial"/>
                <a:sym typeface="Arial"/>
              </a:rPr>
              <a:t>Free</a:t>
            </a: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71" name="Google Shape;271;p24"/>
          <p:cNvSpPr txBox="1"/>
          <p:nvPr/>
        </p:nvSpPr>
        <p:spPr>
          <a:xfrm>
            <a:off x="390721" y="4898371"/>
            <a:ext cx="1850400" cy="656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indent="-152396" algn="ctr" defTabSz="1219170">
              <a:buClr>
                <a:srgbClr val="424242"/>
              </a:buClr>
              <a:buSzPts val="1800"/>
              <a:buFont typeface="Quattrocento Sans"/>
              <a:buChar char="​"/>
            </a:pPr>
            <a:r>
              <a:rPr lang="en" sz="2667" b="1" kern="0">
                <a:solidFill>
                  <a:srgbClr val="FF7000"/>
                </a:solidFill>
                <a:latin typeface="Arial"/>
                <a:cs typeface="Arial"/>
                <a:sym typeface="Arial"/>
              </a:rPr>
              <a:t>Premier</a:t>
            </a: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72" name="Google Shape;272;p24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3888560" y="1485604"/>
            <a:ext cx="2035601" cy="114504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3" name="Google Shape;273;p24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4956829" y="1612238"/>
            <a:ext cx="2285201" cy="1285481"/>
          </a:xfrm>
          <a:prstGeom prst="rect">
            <a:avLst/>
          </a:prstGeom>
          <a:noFill/>
          <a:ln>
            <a:noFill/>
          </a:ln>
        </p:spPr>
      </p:pic>
      <p:pic>
        <p:nvPicPr>
          <p:cNvPr id="274" name="Google Shape;274;p24"/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3478188" y="5136522"/>
            <a:ext cx="2102801" cy="1182833"/>
          </a:xfrm>
          <a:prstGeom prst="rect">
            <a:avLst/>
          </a:prstGeom>
          <a:noFill/>
          <a:ln>
            <a:noFill/>
          </a:ln>
        </p:spPr>
      </p:pic>
      <p:sp>
        <p:nvSpPr>
          <p:cNvPr id="275" name="Google Shape;275;p24"/>
          <p:cNvSpPr txBox="1"/>
          <p:nvPr/>
        </p:nvSpPr>
        <p:spPr>
          <a:xfrm>
            <a:off x="609600" y="609600"/>
            <a:ext cx="54864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000" b="1" kern="0">
                <a:solidFill>
                  <a:srgbClr val="323131"/>
                </a:solidFill>
                <a:latin typeface="Sora"/>
                <a:ea typeface="Sora"/>
                <a:cs typeface="Sora"/>
                <a:sym typeface="Sora"/>
              </a:rPr>
              <a:t>Models</a:t>
            </a:r>
            <a:endParaRPr sz="2667" kern="0">
              <a:solidFill>
                <a:srgbClr val="FF2327"/>
              </a:solidFill>
              <a:latin typeface="Sora"/>
              <a:ea typeface="Sora"/>
              <a:cs typeface="Sora"/>
              <a:sym typeface="Sora"/>
            </a:endParaRPr>
          </a:p>
        </p:txBody>
      </p:sp>
      <p:pic>
        <p:nvPicPr>
          <p:cNvPr id="276" name="Google Shape;276;p24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1" y="304800"/>
            <a:ext cx="12192004" cy="626864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62FE0E1-6C2A-4D04-F70E-F623ACAC5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45774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D9075E-8425-C804-910B-BB2E87A71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3044280"/>
            <a:ext cx="6178573" cy="769441"/>
          </a:xfrm>
        </p:spPr>
        <p:txBody>
          <a:bodyPr vert="horz"/>
          <a:lstStyle/>
          <a:p>
            <a:r>
              <a:rPr lang="en-US" sz="3600" dirty="0"/>
              <a:t>Challenge present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B9A2BC-AB3F-3C5D-10A7-463486723A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4876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97043866-BD55-02CD-C029-D911313449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6911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97043866-BD55-02CD-C029-D9113134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3BA3BA-58FD-60D2-B6CE-E53BC8CFC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134292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GenAI holds $6-8 trillion potential, amounting to 20-30% of total value from AI</a:t>
            </a:r>
            <a:endParaRPr lang="en-NZ" dirty="0"/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DECDD361-0007-ABDE-9C61-872168D7A98C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AI’s potential impact on the global economy, $ trillion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CD20405D-1A90-BEF2-F5A9-1FEB2B6B18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96123BF-A7D6-455B-B9C4-11DBAF479165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2708275" y="3322638"/>
            <a:ext cx="682625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8350FED-C19F-431D-A2B8-BFEE94AE3CEC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5100638" y="2168525"/>
            <a:ext cx="682625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0330900-A7A2-EE10-4F6B-B2EE53FC220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12491496"/>
              </p:ext>
            </p:extLst>
          </p:nvPr>
        </p:nvGraphicFramePr>
        <p:xfrm>
          <a:off x="576263" y="2085975"/>
          <a:ext cx="7339012" cy="3398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92" name="Text Placeholder 4">
            <a:extLst>
              <a:ext uri="{FF2B5EF4-FFF2-40B4-BE49-F238E27FC236}">
                <a16:creationId xmlns:a16="http://schemas.microsoft.com/office/drawing/2014/main" id="{F22C0A1A-93A1-487B-8863-4F7560F9AA7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86213" y="2654300"/>
            <a:ext cx="517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2064" indent="-28346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0664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716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6.1-7.9</a:t>
            </a:r>
          </a:p>
        </p:txBody>
      </p:sp>
      <p:sp>
        <p:nvSpPr>
          <p:cNvPr id="82" name="Text Placeholder 4">
            <a:extLst>
              <a:ext uri="{FF2B5EF4-FFF2-40B4-BE49-F238E27FC236}">
                <a16:creationId xmlns:a16="http://schemas.microsoft.com/office/drawing/2014/main" id="{F22C0A1A-93A1-487B-8863-4F7560F9AA7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517649" y="3114675"/>
            <a:ext cx="6746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2064" indent="-28346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0664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716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defRPr/>
            </a:pPr>
            <a:fld id="{F69E0FA4-B2C8-47F3-B232-3F6A348D0F21}" type="datetime'''''''''''1''''''''''''''''''''''''''''''''''''''''''1'">
              <a:rPr lang="en-GB" altLang="en-US" sz="1200" smtClean="0">
                <a:solidFill>
                  <a:srgbClr val="FFFFFF"/>
                </a:solidFill>
                <a:cs typeface="+mn-cs"/>
              </a:rPr>
              <a:pPr lvl="0" algn="ctr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t>11</a:t>
            </a:fld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0-17.7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9" name="Text Placeholder 4">
            <a:extLst>
              <a:ext uri="{FF2B5EF4-FFF2-40B4-BE49-F238E27FC236}">
                <a16:creationId xmlns:a16="http://schemas.microsoft.com/office/drawing/2014/main" id="{F22C0A1A-93A1-487B-8863-4F7560F9AA7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294437" y="1960563"/>
            <a:ext cx="6858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2064" indent="-28346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0664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716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7.1-25.6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8746635-C4AD-4A5B-A359-6E1697564CCF}"/>
              </a:ext>
            </a:extLst>
          </p:cNvPr>
          <p:cNvSpPr txBox="1">
            <a:spLocks/>
          </p:cNvSpPr>
          <p:nvPr/>
        </p:nvSpPr>
        <p:spPr>
          <a:xfrm>
            <a:off x="1064179" y="5441673"/>
            <a:ext cx="1581628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ta, AA and traditional AI use case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601090E-F007-4340-BAD0-3137F0F536C1}"/>
              </a:ext>
            </a:extLst>
          </p:cNvPr>
          <p:cNvSpPr txBox="1">
            <a:spLocks/>
          </p:cNvSpPr>
          <p:nvPr/>
        </p:nvSpPr>
        <p:spPr>
          <a:xfrm>
            <a:off x="3454161" y="5441673"/>
            <a:ext cx="1581628" cy="61555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ew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enA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use-cases + higher worker productivity by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enAI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EF59A30-12E7-4A9C-BDBD-5267821F612A}"/>
              </a:ext>
            </a:extLst>
          </p:cNvPr>
          <p:cNvSpPr txBox="1">
            <a:spLocks/>
          </p:cNvSpPr>
          <p:nvPr/>
        </p:nvSpPr>
        <p:spPr>
          <a:xfrm>
            <a:off x="5844143" y="5441673"/>
            <a:ext cx="1581628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tal AI economic potential</a:t>
            </a:r>
          </a:p>
        </p:txBody>
      </p:sp>
      <p:sp>
        <p:nvSpPr>
          <p:cNvPr id="163" name="5. Source">
            <a:extLst>
              <a:ext uri="{FF2B5EF4-FFF2-40B4-BE49-F238E27FC236}">
                <a16:creationId xmlns:a16="http://schemas.microsoft.com/office/drawing/2014/main" id="{C97DCE70-F9DB-47FB-BF88-EC31D02DD79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McKinsey Global Institute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19E2BEE1-ECFE-4290-B13A-B4888859790F}"/>
              </a:ext>
            </a:extLst>
          </p:cNvPr>
          <p:cNvSpPr txBox="1">
            <a:spLocks/>
          </p:cNvSpPr>
          <p:nvPr/>
        </p:nvSpPr>
        <p:spPr>
          <a:xfrm>
            <a:off x="3045488" y="6008053"/>
            <a:ext cx="2369027" cy="1846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ep-dive following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9E417115-5ED9-4511-8280-C06BA49FC1CF}"/>
              </a:ext>
            </a:extLst>
          </p:cNvPr>
          <p:cNvSpPr txBox="1"/>
          <p:nvPr/>
        </p:nvSpPr>
        <p:spPr>
          <a:xfrm>
            <a:off x="3650456" y="3433772"/>
            <a:ext cx="1189038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~20-30%</a:t>
            </a:r>
            <a:b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 total AI potential</a:t>
            </a:r>
          </a:p>
        </p:txBody>
      </p:sp>
      <p:sp>
        <p:nvSpPr>
          <p:cNvPr id="99" name="Arc 98">
            <a:extLst>
              <a:ext uri="{FF2B5EF4-FFF2-40B4-BE49-F238E27FC236}">
                <a16:creationId xmlns:a16="http://schemas.microsoft.com/office/drawing/2014/main" id="{A31C1A4A-DBDF-4950-B26C-B9F390D0F244}"/>
              </a:ext>
            </a:extLst>
          </p:cNvPr>
          <p:cNvSpPr/>
          <p:nvPr/>
        </p:nvSpPr>
        <p:spPr>
          <a:xfrm rot="13499363">
            <a:off x="3151956" y="2863686"/>
            <a:ext cx="914728" cy="913741"/>
          </a:xfrm>
          <a:prstGeom prst="arc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4" name="LineBasicDefault 24">
            <a:extLst>
              <a:ext uri="{FF2B5EF4-FFF2-40B4-BE49-F238E27FC236}">
                <a16:creationId xmlns:a16="http://schemas.microsoft.com/office/drawing/2014/main" id="{BCC81DAA-13E0-4CE1-83F2-43C0F6251EC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3045488" y="5962015"/>
            <a:ext cx="2369027" cy="0"/>
          </a:xfrm>
          <a:prstGeom prst="straightConnector1">
            <a:avLst/>
          </a:prstGeom>
          <a:ln w="1905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041A81F-D02C-4950-A610-52E875009AFE}"/>
              </a:ext>
            </a:extLst>
          </p:cNvPr>
          <p:cNvSpPr txBox="1"/>
          <p:nvPr/>
        </p:nvSpPr>
        <p:spPr>
          <a:xfrm>
            <a:off x="8298435" y="2044948"/>
            <a:ext cx="3338829" cy="32316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he AI total potential is still primarily driven by traditional analytics and AI use cases, with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enA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accounting for</a:t>
            </a:r>
            <a:r>
              <a:rPr lang="en-US" dirty="0">
                <a:solidFill>
                  <a:srgbClr val="FFFFFF"/>
                </a:solidFill>
                <a:latin typeface="Arial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~20-30%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 the total AI potenti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"/>
              </a:rPr>
              <a:t>GenAI both allows for the creation of </a:t>
            </a:r>
            <a:r>
              <a:rPr lang="en-US" sz="2400" b="1" dirty="0">
                <a:solidFill>
                  <a:schemeClr val="accent2"/>
                </a:solidFill>
                <a:latin typeface="+mj-lt"/>
              </a:rPr>
              <a:t>new standalone use-cases</a:t>
            </a:r>
            <a:r>
              <a:rPr lang="en-US" sz="2400" b="1" dirty="0">
                <a:solidFill>
                  <a:srgbClr val="FFFFFF"/>
                </a:solidFill>
                <a:latin typeface="Arial"/>
              </a:rPr>
              <a:t>,</a:t>
            </a:r>
            <a:r>
              <a:rPr lang="en-US" dirty="0">
                <a:solidFill>
                  <a:srgbClr val="FFFFFF"/>
                </a:solidFill>
                <a:latin typeface="Arial"/>
              </a:rPr>
              <a:t> but also enhances the potential of traditional analytics use-case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Sticky">
            <a:extLst>
              <a:ext uri="{FF2B5EF4-FFF2-40B4-BE49-F238E27FC236}">
                <a16:creationId xmlns:a16="http://schemas.microsoft.com/office/drawing/2014/main" id="{019863A9-AF4D-8EBA-FB21-62C91E20F54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2374880" y="0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rgbClr val="000000"/>
                </a:solidFill>
              </a:rPr>
              <a:t>Sylvanus</a:t>
            </a:r>
          </a:p>
        </p:txBody>
      </p:sp>
    </p:spTree>
    <p:extLst>
      <p:ext uri="{BB962C8B-B14F-4D97-AF65-F5344CB8AC3E}">
        <p14:creationId xmlns:p14="http://schemas.microsoft.com/office/powerpoint/2010/main" val="2930679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9EA0A75F-C59C-4F57-A860-2007183ECF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560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395" imgH="396" progId="TCLayout.ActiveDocument.1">
                  <p:embed/>
                </p:oleObj>
              </mc:Choice>
              <mc:Fallback>
                <p:oleObj name="think-cell Slide" r:id="rId56" imgW="395" imgH="396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9EA0A75F-C59C-4F57-A860-2007183ECF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B4BA3F6-006A-10BC-2431-3178B46DC548}"/>
              </a:ext>
            </a:extLst>
          </p:cNvPr>
          <p:cNvSpPr>
            <a:spLocks/>
          </p:cNvSpPr>
          <p:nvPr/>
        </p:nvSpPr>
        <p:spPr>
          <a:xfrm>
            <a:off x="7186235" y="1275968"/>
            <a:ext cx="4405743" cy="5090144"/>
          </a:xfrm>
          <a:prstGeom prst="roundRect">
            <a:avLst>
              <a:gd name="adj" fmla="val 0"/>
            </a:avLst>
          </a:prstGeom>
          <a:solidFill>
            <a:schemeClr val="accent2">
              <a:alpha val="31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6E73EA73-734E-46B5-851D-1A2687A086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7" y="134292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defRPr/>
            </a:pPr>
            <a:r>
              <a:rPr lang="en-US" dirty="0"/>
              <a:t>Retail is the second largest sector that has great potential in leveraging </a:t>
            </a:r>
            <a:r>
              <a:rPr lang="en-US" dirty="0" err="1"/>
              <a:t>GenAI</a:t>
            </a:r>
            <a:r>
              <a:rPr lang="en-US" dirty="0"/>
              <a:t> to drive significant impact</a:t>
            </a:r>
          </a:p>
        </p:txBody>
      </p:sp>
      <p:sp>
        <p:nvSpPr>
          <p:cNvPr id="788" name="5. Source">
            <a:extLst>
              <a:ext uri="{FF2B5EF4-FFF2-40B4-BE49-F238E27FC236}">
                <a16:creationId xmlns:a16="http://schemas.microsoft.com/office/drawing/2014/main" id="{5E61CC7F-E87E-4405-9708-CB036CFF56E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McKinsey report, The economic potential of generative AI: The next productivity fronti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635013C-2C04-4B93-8E1F-E39FE4BBFEEF}"/>
              </a:ext>
            </a:extLst>
          </p:cNvPr>
          <p:cNvSpPr txBox="1">
            <a:spLocks/>
          </p:cNvSpPr>
          <p:nvPr/>
        </p:nvSpPr>
        <p:spPr>
          <a:xfrm>
            <a:off x="554736" y="1423743"/>
            <a:ext cx="4718248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enerative AI productivity impact by sector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tal C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saving, $ bill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8" name="LineBasicVerticalDefault 58">
            <a:extLst>
              <a:ext uri="{FF2B5EF4-FFF2-40B4-BE49-F238E27FC236}">
                <a16:creationId xmlns:a16="http://schemas.microsoft.com/office/drawing/2014/main" id="{02373F4D-7E34-4959-A9E0-9582698C3B8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045897" y="5357863"/>
            <a:ext cx="0" cy="850433"/>
          </a:xfrm>
          <a:prstGeom prst="straightConnector1">
            <a:avLst/>
          </a:prstGeom>
          <a:ln w="3175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LineBasicVerticalDefault 58">
            <a:extLst>
              <a:ext uri="{FF2B5EF4-FFF2-40B4-BE49-F238E27FC236}">
                <a16:creationId xmlns:a16="http://schemas.microsoft.com/office/drawing/2014/main" id="{682B64FA-3AD7-4BA5-9B43-8B8CDB291487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1572584" y="5357863"/>
            <a:ext cx="0" cy="850433"/>
          </a:xfrm>
          <a:prstGeom prst="straightConnector1">
            <a:avLst/>
          </a:prstGeom>
          <a:ln w="3175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LineBasicVerticalDefault 58">
            <a:extLst>
              <a:ext uri="{FF2B5EF4-FFF2-40B4-BE49-F238E27FC236}">
                <a16:creationId xmlns:a16="http://schemas.microsoft.com/office/drawing/2014/main" id="{80CA238A-A850-4830-BB8C-99710ACD09B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2099271" y="5357863"/>
            <a:ext cx="0" cy="850433"/>
          </a:xfrm>
          <a:prstGeom prst="straightConnector1">
            <a:avLst/>
          </a:prstGeom>
          <a:ln w="3175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LineBasicVerticalDefault 58">
            <a:extLst>
              <a:ext uri="{FF2B5EF4-FFF2-40B4-BE49-F238E27FC236}">
                <a16:creationId xmlns:a16="http://schemas.microsoft.com/office/drawing/2014/main" id="{43BDBF59-473A-42DB-9365-7B821754694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2625958" y="5357863"/>
            <a:ext cx="0" cy="850433"/>
          </a:xfrm>
          <a:prstGeom prst="straightConnector1">
            <a:avLst/>
          </a:prstGeom>
          <a:ln w="3175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LineBasicVerticalDefault 58">
            <a:extLst>
              <a:ext uri="{FF2B5EF4-FFF2-40B4-BE49-F238E27FC236}">
                <a16:creationId xmlns:a16="http://schemas.microsoft.com/office/drawing/2014/main" id="{5632BB16-6F72-4354-BB66-AA54943F045D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152645" y="5357863"/>
            <a:ext cx="0" cy="850433"/>
          </a:xfrm>
          <a:prstGeom prst="straightConnector1">
            <a:avLst/>
          </a:prstGeom>
          <a:ln w="3175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LineBasicVerticalDefault 58">
            <a:extLst>
              <a:ext uri="{FF2B5EF4-FFF2-40B4-BE49-F238E27FC236}">
                <a16:creationId xmlns:a16="http://schemas.microsoft.com/office/drawing/2014/main" id="{2716B8B8-859E-432E-8C34-A326812C4250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3679332" y="5357863"/>
            <a:ext cx="0" cy="850433"/>
          </a:xfrm>
          <a:prstGeom prst="straightConnector1">
            <a:avLst/>
          </a:prstGeom>
          <a:ln w="3175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LineBasicVerticalDefault 58">
            <a:extLst>
              <a:ext uri="{FF2B5EF4-FFF2-40B4-BE49-F238E27FC236}">
                <a16:creationId xmlns:a16="http://schemas.microsoft.com/office/drawing/2014/main" id="{67CA7C58-C0C9-46FA-AD65-5972CB565FE9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206019" y="5357863"/>
            <a:ext cx="0" cy="850433"/>
          </a:xfrm>
          <a:prstGeom prst="straightConnector1">
            <a:avLst/>
          </a:prstGeom>
          <a:ln w="3175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LineBasicVerticalDefault 58">
            <a:extLst>
              <a:ext uri="{FF2B5EF4-FFF2-40B4-BE49-F238E27FC236}">
                <a16:creationId xmlns:a16="http://schemas.microsoft.com/office/drawing/2014/main" id="{B3634263-59FD-4677-8151-2F470518930C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4733311" y="5357863"/>
            <a:ext cx="0" cy="850433"/>
          </a:xfrm>
          <a:prstGeom prst="straightConnector1">
            <a:avLst/>
          </a:prstGeom>
          <a:ln w="3175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LineBasicVerticalDefault 58">
            <a:extLst>
              <a:ext uri="{FF2B5EF4-FFF2-40B4-BE49-F238E27FC236}">
                <a16:creationId xmlns:a16="http://schemas.microsoft.com/office/drawing/2014/main" id="{3935FB52-7F85-4139-B2EF-D6250ACB865F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5259998" y="5357863"/>
            <a:ext cx="0" cy="850433"/>
          </a:xfrm>
          <a:prstGeom prst="straightConnector1">
            <a:avLst/>
          </a:prstGeom>
          <a:ln w="3175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LineBasicVerticalDefault 58">
            <a:extLst>
              <a:ext uri="{FF2B5EF4-FFF2-40B4-BE49-F238E27FC236}">
                <a16:creationId xmlns:a16="http://schemas.microsoft.com/office/drawing/2014/main" id="{514794E9-0E88-483B-BC05-C4F2B148A116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5786685" y="5357863"/>
            <a:ext cx="0" cy="850433"/>
          </a:xfrm>
          <a:prstGeom prst="straightConnector1">
            <a:avLst/>
          </a:prstGeom>
          <a:ln w="3175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LineBasicVerticalDefault 58">
            <a:extLst>
              <a:ext uri="{FF2B5EF4-FFF2-40B4-BE49-F238E27FC236}">
                <a16:creationId xmlns:a16="http://schemas.microsoft.com/office/drawing/2014/main" id="{5D9B9920-869C-45D6-A1FD-DEEF61C9A420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>
          <a:xfrm>
            <a:off x="6313372" y="5357863"/>
            <a:ext cx="0" cy="850433"/>
          </a:xfrm>
          <a:prstGeom prst="straightConnector1">
            <a:avLst/>
          </a:prstGeom>
          <a:ln w="3175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4" name="Line 54">
            <a:extLst>
              <a:ext uri="{FF2B5EF4-FFF2-40B4-BE49-F238E27FC236}">
                <a16:creationId xmlns:a16="http://schemas.microsoft.com/office/drawing/2014/main" id="{C8284853-9003-4C90-BAE5-97B6C611A5A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7584" y="5357863"/>
            <a:ext cx="6219227" cy="0"/>
          </a:xfrm>
          <a:prstGeom prst="line">
            <a:avLst/>
          </a:prstGeom>
          <a:noFill/>
          <a:ln w="9525" cap="flat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D63B2256-039C-4253-A68E-1635421D63D4}"/>
              </a:ext>
            </a:extLst>
          </p:cNvPr>
          <p:cNvSpPr txBox="1">
            <a:spLocks/>
          </p:cNvSpPr>
          <p:nvPr/>
        </p:nvSpPr>
        <p:spPr>
          <a:xfrm>
            <a:off x="532196" y="5478384"/>
            <a:ext cx="50071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igh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ech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55D8AAE4-3A43-45DB-9A5B-0D965E97C1FA}"/>
              </a:ext>
            </a:extLst>
          </p:cNvPr>
          <p:cNvSpPr txBox="1">
            <a:spLocks/>
          </p:cNvSpPr>
          <p:nvPr/>
        </p:nvSpPr>
        <p:spPr>
          <a:xfrm>
            <a:off x="572458" y="2253368"/>
            <a:ext cx="420190" cy="138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40-460</a:t>
            </a:r>
          </a:p>
        </p:txBody>
      </p:sp>
      <p:sp>
        <p:nvSpPr>
          <p:cNvPr id="461" name="Rectangle: Rounded Corners 460">
            <a:extLst>
              <a:ext uri="{FF2B5EF4-FFF2-40B4-BE49-F238E27FC236}">
                <a16:creationId xmlns:a16="http://schemas.microsoft.com/office/drawing/2014/main" id="{38ADEBC1-0A25-4CB5-9838-F03C77476284}"/>
              </a:ext>
            </a:extLst>
          </p:cNvPr>
          <p:cNvSpPr>
            <a:spLocks/>
          </p:cNvSpPr>
          <p:nvPr/>
        </p:nvSpPr>
        <p:spPr>
          <a:xfrm>
            <a:off x="573924" y="2477028"/>
            <a:ext cx="417259" cy="2880833"/>
          </a:xfrm>
          <a:prstGeom prst="round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48D7D979-489F-49F5-93BB-658E295655D8}"/>
              </a:ext>
            </a:extLst>
          </p:cNvPr>
          <p:cNvSpPr txBox="1">
            <a:spLocks/>
          </p:cNvSpPr>
          <p:nvPr/>
        </p:nvSpPr>
        <p:spPr>
          <a:xfrm>
            <a:off x="1058883" y="5478384"/>
            <a:ext cx="500715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tail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CF437F4B-2EC3-485C-8B41-C56C6BEB3D36}"/>
              </a:ext>
            </a:extLst>
          </p:cNvPr>
          <p:cNvSpPr txBox="1">
            <a:spLocks/>
          </p:cNvSpPr>
          <p:nvPr/>
        </p:nvSpPr>
        <p:spPr>
          <a:xfrm>
            <a:off x="1099145" y="2511222"/>
            <a:ext cx="420190" cy="138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40-390</a:t>
            </a:r>
          </a:p>
        </p:txBody>
      </p:sp>
      <p:sp>
        <p:nvSpPr>
          <p:cNvPr id="238" name="Rectangle: Rounded Corners 237">
            <a:extLst>
              <a:ext uri="{FF2B5EF4-FFF2-40B4-BE49-F238E27FC236}">
                <a16:creationId xmlns:a16="http://schemas.microsoft.com/office/drawing/2014/main" id="{25C686DE-D088-469F-9E45-F61CE350CAB1}"/>
              </a:ext>
            </a:extLst>
          </p:cNvPr>
          <p:cNvSpPr>
            <a:spLocks/>
          </p:cNvSpPr>
          <p:nvPr/>
        </p:nvSpPr>
        <p:spPr>
          <a:xfrm>
            <a:off x="1100611" y="2722018"/>
            <a:ext cx="417259" cy="2635842"/>
          </a:xfrm>
          <a:prstGeom prst="round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4" name="CustomIcon">
            <a:extLst>
              <a:ext uri="{FF2B5EF4-FFF2-40B4-BE49-F238E27FC236}">
                <a16:creationId xmlns:a16="http://schemas.microsoft.com/office/drawing/2014/main" id="{5E29BC0E-967B-4D05-A382-AAD661B87C8A}"/>
              </a:ext>
            </a:extLst>
          </p:cNvPr>
          <p:cNvPicPr>
            <a:picLocks/>
          </p:cNvPicPr>
          <p:nvPr>
            <p:custDataLst>
              <p:tags r:id="rId15"/>
            </p:custDataLst>
          </p:nvPr>
        </p:nvPicPr>
        <p:blipFill>
          <a:blip r:embed="rId5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1150244" y="2800633"/>
            <a:ext cx="311933" cy="311933"/>
          </a:xfrm>
          <a:prstGeom prst="rect">
            <a:avLst/>
          </a:prstGeom>
        </p:spPr>
      </p:pic>
      <p:sp>
        <p:nvSpPr>
          <p:cNvPr id="168" name="TextBox 167">
            <a:extLst>
              <a:ext uri="{FF2B5EF4-FFF2-40B4-BE49-F238E27FC236}">
                <a16:creationId xmlns:a16="http://schemas.microsoft.com/office/drawing/2014/main" id="{28FDBA69-AC31-4B48-B9FE-959B1AD8CBD7}"/>
              </a:ext>
            </a:extLst>
          </p:cNvPr>
          <p:cNvSpPr txBox="1">
            <a:spLocks/>
          </p:cNvSpPr>
          <p:nvPr/>
        </p:nvSpPr>
        <p:spPr>
          <a:xfrm>
            <a:off x="1585570" y="5478384"/>
            <a:ext cx="500715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anking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8FD6539F-9323-40C7-81B6-DCB842A05932}"/>
              </a:ext>
            </a:extLst>
          </p:cNvPr>
          <p:cNvSpPr txBox="1">
            <a:spLocks/>
          </p:cNvSpPr>
          <p:nvPr/>
        </p:nvSpPr>
        <p:spPr>
          <a:xfrm>
            <a:off x="1625832" y="2823413"/>
            <a:ext cx="420190" cy="138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00-340</a:t>
            </a:r>
          </a:p>
        </p:txBody>
      </p:sp>
      <p:sp>
        <p:nvSpPr>
          <p:cNvPr id="239" name="Rectangle: Rounded Corners 238">
            <a:extLst>
              <a:ext uri="{FF2B5EF4-FFF2-40B4-BE49-F238E27FC236}">
                <a16:creationId xmlns:a16="http://schemas.microsoft.com/office/drawing/2014/main" id="{2E514184-535F-430E-88D8-3AC637F960C2}"/>
              </a:ext>
            </a:extLst>
          </p:cNvPr>
          <p:cNvSpPr>
            <a:spLocks/>
          </p:cNvSpPr>
          <p:nvPr/>
        </p:nvSpPr>
        <p:spPr>
          <a:xfrm>
            <a:off x="1627297" y="3037623"/>
            <a:ext cx="417259" cy="2320240"/>
          </a:xfrm>
          <a:prstGeom prst="round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5" name="CustomIcon">
            <a:extLst>
              <a:ext uri="{FF2B5EF4-FFF2-40B4-BE49-F238E27FC236}">
                <a16:creationId xmlns:a16="http://schemas.microsoft.com/office/drawing/2014/main" id="{D3DB54DF-59E1-43B9-BAAE-F5B985483551}"/>
              </a:ext>
            </a:extLst>
          </p:cNvPr>
          <p:cNvPicPr>
            <a:picLocks/>
          </p:cNvPicPr>
          <p:nvPr>
            <p:custDataLst>
              <p:tags r:id="rId16"/>
            </p:custDataLst>
          </p:nvPr>
        </p:nvPicPr>
        <p:blipFill>
          <a:blip r:embed="rId6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670624" y="3111900"/>
            <a:ext cx="311933" cy="311933"/>
          </a:xfrm>
          <a:prstGeom prst="rect">
            <a:avLst/>
          </a:prstGeom>
        </p:spPr>
      </p:pic>
      <p:sp>
        <p:nvSpPr>
          <p:cNvPr id="154" name="TextBox 153">
            <a:extLst>
              <a:ext uri="{FF2B5EF4-FFF2-40B4-BE49-F238E27FC236}">
                <a16:creationId xmlns:a16="http://schemas.microsoft.com/office/drawing/2014/main" id="{FFE6D572-9919-48BB-8E62-BC7FA4E3C069}"/>
              </a:ext>
            </a:extLst>
          </p:cNvPr>
          <p:cNvSpPr txBox="1">
            <a:spLocks/>
          </p:cNvSpPr>
          <p:nvPr/>
        </p:nvSpPr>
        <p:spPr>
          <a:xfrm>
            <a:off x="2112257" y="5478384"/>
            <a:ext cx="500715" cy="49244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vel,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nsport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&amp;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ogistics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185465F6-36DD-4945-B102-5299DFEF3404}"/>
              </a:ext>
            </a:extLst>
          </p:cNvPr>
          <p:cNvSpPr txBox="1">
            <a:spLocks/>
          </p:cNvSpPr>
          <p:nvPr/>
        </p:nvSpPr>
        <p:spPr>
          <a:xfrm>
            <a:off x="2152519" y="3041076"/>
            <a:ext cx="420190" cy="138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80-300</a:t>
            </a:r>
          </a:p>
        </p:txBody>
      </p:sp>
      <p:sp>
        <p:nvSpPr>
          <p:cNvPr id="240" name="Rectangle: Rounded Corners 239">
            <a:extLst>
              <a:ext uri="{FF2B5EF4-FFF2-40B4-BE49-F238E27FC236}">
                <a16:creationId xmlns:a16="http://schemas.microsoft.com/office/drawing/2014/main" id="{CEB8492D-E1A7-4222-9D08-BC991B4C8D3B}"/>
              </a:ext>
            </a:extLst>
          </p:cNvPr>
          <p:cNvSpPr>
            <a:spLocks/>
          </p:cNvSpPr>
          <p:nvPr/>
        </p:nvSpPr>
        <p:spPr>
          <a:xfrm>
            <a:off x="2153985" y="3246587"/>
            <a:ext cx="417259" cy="2111276"/>
          </a:xfrm>
          <a:prstGeom prst="round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6" name="CustomIcon">
            <a:extLst>
              <a:ext uri="{FF2B5EF4-FFF2-40B4-BE49-F238E27FC236}">
                <a16:creationId xmlns:a16="http://schemas.microsoft.com/office/drawing/2014/main" id="{35F526AE-04DF-403E-94D9-988C6BB4CD6C}"/>
              </a:ext>
            </a:extLst>
          </p:cNvPr>
          <p:cNvPicPr>
            <a:picLocks/>
          </p:cNvPicPr>
          <p:nvPr>
            <p:custDataLst>
              <p:tags r:id="rId17"/>
            </p:custDataLst>
          </p:nvPr>
        </p:nvPicPr>
        <p:blipFill>
          <a:blip r:embed="rId6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2216230" y="3322572"/>
            <a:ext cx="311933" cy="311933"/>
          </a:xfrm>
          <a:prstGeom prst="rect">
            <a:avLst/>
          </a:prstGeom>
        </p:spPr>
      </p:pic>
      <p:sp>
        <p:nvSpPr>
          <p:cNvPr id="157" name="TextBox 156">
            <a:extLst>
              <a:ext uri="{FF2B5EF4-FFF2-40B4-BE49-F238E27FC236}">
                <a16:creationId xmlns:a16="http://schemas.microsoft.com/office/drawing/2014/main" id="{265AC54C-4682-44FA-BBF8-8696E141D54D}"/>
              </a:ext>
            </a:extLst>
          </p:cNvPr>
          <p:cNvSpPr txBox="1">
            <a:spLocks/>
          </p:cNvSpPr>
          <p:nvPr/>
        </p:nvSpPr>
        <p:spPr>
          <a:xfrm>
            <a:off x="3165631" y="5478384"/>
            <a:ext cx="500715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sumer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ckaged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oods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A877EC9F-2475-4FEC-98B6-2167EA5411CE}"/>
              </a:ext>
            </a:extLst>
          </p:cNvPr>
          <p:cNvSpPr txBox="1">
            <a:spLocks/>
          </p:cNvSpPr>
          <p:nvPr/>
        </p:nvSpPr>
        <p:spPr>
          <a:xfrm>
            <a:off x="3205894" y="3215013"/>
            <a:ext cx="420190" cy="138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60-270</a:t>
            </a:r>
          </a:p>
        </p:txBody>
      </p:sp>
      <p:sp>
        <p:nvSpPr>
          <p:cNvPr id="242" name="Rectangle: Rounded Corners 241">
            <a:extLst>
              <a:ext uri="{FF2B5EF4-FFF2-40B4-BE49-F238E27FC236}">
                <a16:creationId xmlns:a16="http://schemas.microsoft.com/office/drawing/2014/main" id="{23F99652-FDCA-4389-AFAA-30E2C14831E0}"/>
              </a:ext>
            </a:extLst>
          </p:cNvPr>
          <p:cNvSpPr>
            <a:spLocks/>
          </p:cNvSpPr>
          <p:nvPr/>
        </p:nvSpPr>
        <p:spPr>
          <a:xfrm>
            <a:off x="3207359" y="3423843"/>
            <a:ext cx="417259" cy="1934015"/>
          </a:xfrm>
          <a:prstGeom prst="round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7" name="CustomIcon">
            <a:extLst>
              <a:ext uri="{FF2B5EF4-FFF2-40B4-BE49-F238E27FC236}">
                <a16:creationId xmlns:a16="http://schemas.microsoft.com/office/drawing/2014/main" id="{69AEC486-7965-436B-89D1-79FBF3943E51}"/>
              </a:ext>
            </a:extLst>
          </p:cNvPr>
          <p:cNvPicPr>
            <a:picLocks/>
          </p:cNvPicPr>
          <p:nvPr>
            <p:custDataLst>
              <p:tags r:id="rId18"/>
            </p:custDataLst>
          </p:nvPr>
        </p:nvPicPr>
        <p:blipFill>
          <a:blip r:embed="rId6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3263298" y="3473507"/>
            <a:ext cx="311933" cy="311933"/>
          </a:xfrm>
          <a:prstGeom prst="rect">
            <a:avLst/>
          </a:prstGeom>
        </p:spPr>
      </p:pic>
      <p:sp>
        <p:nvSpPr>
          <p:cNvPr id="161" name="TextBox 160">
            <a:extLst>
              <a:ext uri="{FF2B5EF4-FFF2-40B4-BE49-F238E27FC236}">
                <a16:creationId xmlns:a16="http://schemas.microsoft.com/office/drawing/2014/main" id="{5A88B04E-24AD-4AFE-9BD1-51EFE69062C1}"/>
              </a:ext>
            </a:extLst>
          </p:cNvPr>
          <p:cNvSpPr txBox="1">
            <a:spLocks/>
          </p:cNvSpPr>
          <p:nvPr/>
        </p:nvSpPr>
        <p:spPr>
          <a:xfrm>
            <a:off x="2638944" y="5478384"/>
            <a:ext cx="500715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dvanced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anu-facturing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AB37C93B-FC6C-43CC-94EE-48FB7FF37F72}"/>
              </a:ext>
            </a:extLst>
          </p:cNvPr>
          <p:cNvSpPr txBox="1">
            <a:spLocks/>
          </p:cNvSpPr>
          <p:nvPr/>
        </p:nvSpPr>
        <p:spPr>
          <a:xfrm>
            <a:off x="2679206" y="3112557"/>
            <a:ext cx="420190" cy="1397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70-290</a:t>
            </a:r>
          </a:p>
        </p:txBody>
      </p:sp>
      <p:sp>
        <p:nvSpPr>
          <p:cNvPr id="241" name="Rectangle: Rounded Corners 240">
            <a:extLst>
              <a:ext uri="{FF2B5EF4-FFF2-40B4-BE49-F238E27FC236}">
                <a16:creationId xmlns:a16="http://schemas.microsoft.com/office/drawing/2014/main" id="{01A73995-C839-421E-AF8A-057616E9387B}"/>
              </a:ext>
            </a:extLst>
          </p:cNvPr>
          <p:cNvSpPr>
            <a:spLocks/>
          </p:cNvSpPr>
          <p:nvPr/>
        </p:nvSpPr>
        <p:spPr>
          <a:xfrm>
            <a:off x="2680672" y="3317201"/>
            <a:ext cx="417259" cy="2040662"/>
          </a:xfrm>
          <a:prstGeom prst="round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8" name="CustomIcon">
            <a:extLst>
              <a:ext uri="{FF2B5EF4-FFF2-40B4-BE49-F238E27FC236}">
                <a16:creationId xmlns:a16="http://schemas.microsoft.com/office/drawing/2014/main" id="{93603A51-F889-4F7A-A583-6A682F0232BA}"/>
              </a:ext>
            </a:extLst>
          </p:cNvPr>
          <p:cNvPicPr>
            <a:picLocks/>
          </p:cNvPicPr>
          <p:nvPr>
            <p:custDataLst>
              <p:tags r:id="rId19"/>
            </p:custDataLst>
          </p:nvPr>
        </p:nvPicPr>
        <p:blipFill>
          <a:blip r:embed="rId6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2730305" y="3356032"/>
            <a:ext cx="311933" cy="311933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D8DDEB82-93B4-421E-942C-614884E700E1}"/>
              </a:ext>
            </a:extLst>
          </p:cNvPr>
          <p:cNvSpPr txBox="1">
            <a:spLocks/>
          </p:cNvSpPr>
          <p:nvPr/>
        </p:nvSpPr>
        <p:spPr>
          <a:xfrm>
            <a:off x="3692318" y="5478384"/>
            <a:ext cx="50071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ealth-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ar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FA125954-575C-4C75-A7BF-4B62E826F29F}"/>
              </a:ext>
            </a:extLst>
          </p:cNvPr>
          <p:cNvSpPr txBox="1">
            <a:spLocks/>
          </p:cNvSpPr>
          <p:nvPr/>
        </p:nvSpPr>
        <p:spPr>
          <a:xfrm>
            <a:off x="3732581" y="3293489"/>
            <a:ext cx="420190" cy="138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50-260</a:t>
            </a:r>
          </a:p>
        </p:txBody>
      </p:sp>
      <p:sp>
        <p:nvSpPr>
          <p:cNvPr id="243" name="Rectangle: Rounded Corners 242">
            <a:extLst>
              <a:ext uri="{FF2B5EF4-FFF2-40B4-BE49-F238E27FC236}">
                <a16:creationId xmlns:a16="http://schemas.microsoft.com/office/drawing/2014/main" id="{D5FFECFA-CD8D-45DD-958B-D5A75D1C8162}"/>
              </a:ext>
            </a:extLst>
          </p:cNvPr>
          <p:cNvSpPr>
            <a:spLocks/>
          </p:cNvSpPr>
          <p:nvPr/>
        </p:nvSpPr>
        <p:spPr>
          <a:xfrm>
            <a:off x="3734046" y="3493016"/>
            <a:ext cx="417259" cy="1864847"/>
          </a:xfrm>
          <a:prstGeom prst="round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9" name="CustomIcon">
            <a:extLst>
              <a:ext uri="{FF2B5EF4-FFF2-40B4-BE49-F238E27FC236}">
                <a16:creationId xmlns:a16="http://schemas.microsoft.com/office/drawing/2014/main" id="{A9FD6609-6AFD-40E5-A3F7-DB3091FBC290}"/>
              </a:ext>
            </a:extLst>
          </p:cNvPr>
          <p:cNvPicPr>
            <a:picLocks/>
          </p:cNvPicPr>
          <p:nvPr>
            <p:custDataLst>
              <p:tags r:id="rId20"/>
            </p:custDataLst>
          </p:nvPr>
        </p:nvPicPr>
        <p:blipFill>
          <a:blip r:embed="rId6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3783679" y="3571655"/>
            <a:ext cx="311933" cy="311933"/>
          </a:xfrm>
          <a:prstGeom prst="rect">
            <a:avLst/>
          </a:prstGeom>
        </p:spPr>
      </p:pic>
      <p:sp>
        <p:nvSpPr>
          <p:cNvPr id="146" name="TextBox 145">
            <a:extLst>
              <a:ext uri="{FF2B5EF4-FFF2-40B4-BE49-F238E27FC236}">
                <a16:creationId xmlns:a16="http://schemas.microsoft.com/office/drawing/2014/main" id="{7F36BD2B-0AC7-43FB-8607-8145C143029B}"/>
              </a:ext>
            </a:extLst>
          </p:cNvPr>
          <p:cNvSpPr txBox="1">
            <a:spLocks/>
          </p:cNvSpPr>
          <p:nvPr/>
        </p:nvSpPr>
        <p:spPr>
          <a:xfrm>
            <a:off x="4219610" y="5478384"/>
            <a:ext cx="500715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dministra-tive &amp;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ofession-al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ervice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BC181E21-3716-4708-8A56-4C53BB3C9F76}"/>
              </a:ext>
            </a:extLst>
          </p:cNvPr>
          <p:cNvSpPr txBox="1">
            <a:spLocks/>
          </p:cNvSpPr>
          <p:nvPr/>
        </p:nvSpPr>
        <p:spPr>
          <a:xfrm>
            <a:off x="4259873" y="3335442"/>
            <a:ext cx="420190" cy="1397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50-250</a:t>
            </a:r>
          </a:p>
        </p:txBody>
      </p:sp>
      <p:sp>
        <p:nvSpPr>
          <p:cNvPr id="244" name="Rectangle: Rounded Corners 243">
            <a:extLst>
              <a:ext uri="{FF2B5EF4-FFF2-40B4-BE49-F238E27FC236}">
                <a16:creationId xmlns:a16="http://schemas.microsoft.com/office/drawing/2014/main" id="{ADB6711E-4FFB-4118-97AF-9FC84593BF24}"/>
              </a:ext>
            </a:extLst>
          </p:cNvPr>
          <p:cNvSpPr>
            <a:spLocks/>
          </p:cNvSpPr>
          <p:nvPr/>
        </p:nvSpPr>
        <p:spPr>
          <a:xfrm>
            <a:off x="4261338" y="3529046"/>
            <a:ext cx="417259" cy="1828817"/>
          </a:xfrm>
          <a:prstGeom prst="round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0" name="CustomIcon">
            <a:extLst>
              <a:ext uri="{FF2B5EF4-FFF2-40B4-BE49-F238E27FC236}">
                <a16:creationId xmlns:a16="http://schemas.microsoft.com/office/drawing/2014/main" id="{7E65C656-CE1D-4C91-BBEE-A23D53F8CB3F}"/>
              </a:ext>
            </a:extLst>
          </p:cNvPr>
          <p:cNvPicPr>
            <a:picLocks/>
          </p:cNvPicPr>
          <p:nvPr>
            <p:custDataLst>
              <p:tags r:id="rId21"/>
            </p:custDataLst>
          </p:nvPr>
        </p:nvPicPr>
        <p:blipFill>
          <a:blip r:embed="rId7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4310971" y="3608150"/>
            <a:ext cx="311933" cy="311933"/>
          </a:xfrm>
          <a:prstGeom prst="rect">
            <a:avLst/>
          </a:prstGeom>
        </p:spPr>
      </p:pic>
      <p:sp>
        <p:nvSpPr>
          <p:cNvPr id="150" name="TextBox 149">
            <a:extLst>
              <a:ext uri="{FF2B5EF4-FFF2-40B4-BE49-F238E27FC236}">
                <a16:creationId xmlns:a16="http://schemas.microsoft.com/office/drawing/2014/main" id="{FC168C9F-A6F3-4A48-B2F7-AEE875233455}"/>
              </a:ext>
            </a:extLst>
          </p:cNvPr>
          <p:cNvSpPr txBox="1">
            <a:spLocks/>
          </p:cNvSpPr>
          <p:nvPr/>
        </p:nvSpPr>
        <p:spPr>
          <a:xfrm>
            <a:off x="4746297" y="5478384"/>
            <a:ext cx="500715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nergy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3C4F29D5-079D-454D-860F-C46A800A11E0}"/>
              </a:ext>
            </a:extLst>
          </p:cNvPr>
          <p:cNvSpPr txBox="1">
            <a:spLocks/>
          </p:cNvSpPr>
          <p:nvPr/>
        </p:nvSpPr>
        <p:spPr>
          <a:xfrm>
            <a:off x="4786560" y="3369776"/>
            <a:ext cx="420190" cy="1397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50-240</a:t>
            </a:r>
          </a:p>
        </p:txBody>
      </p:sp>
      <p:sp>
        <p:nvSpPr>
          <p:cNvPr id="245" name="Rectangle: Rounded Corners 244">
            <a:extLst>
              <a:ext uri="{FF2B5EF4-FFF2-40B4-BE49-F238E27FC236}">
                <a16:creationId xmlns:a16="http://schemas.microsoft.com/office/drawing/2014/main" id="{4A0460D8-FC93-46C4-B1AB-F0BB3AE830CA}"/>
              </a:ext>
            </a:extLst>
          </p:cNvPr>
          <p:cNvSpPr>
            <a:spLocks/>
          </p:cNvSpPr>
          <p:nvPr/>
        </p:nvSpPr>
        <p:spPr>
          <a:xfrm>
            <a:off x="4788026" y="3563632"/>
            <a:ext cx="417259" cy="1794225"/>
          </a:xfrm>
          <a:prstGeom prst="round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1" name="CustomIcon">
            <a:extLst>
              <a:ext uri="{FF2B5EF4-FFF2-40B4-BE49-F238E27FC236}">
                <a16:creationId xmlns:a16="http://schemas.microsoft.com/office/drawing/2014/main" id="{7292FF7A-BF85-4E4B-A34B-B61AE5F2921B}"/>
              </a:ext>
            </a:extLst>
          </p:cNvPr>
          <p:cNvPicPr>
            <a:picLocks/>
          </p:cNvPicPr>
          <p:nvPr>
            <p:custDataLst>
              <p:tags r:id="rId22"/>
            </p:custDataLst>
          </p:nvPr>
        </p:nvPicPr>
        <p:blipFill>
          <a:blip r:embed="rId7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4831353" y="3624289"/>
            <a:ext cx="311933" cy="311933"/>
          </a:xfrm>
          <a:prstGeom prst="rect">
            <a:avLst/>
          </a:prstGeom>
        </p:spPr>
      </p:pic>
      <p:sp>
        <p:nvSpPr>
          <p:cNvPr id="148" name="TextBox 147">
            <a:extLst>
              <a:ext uri="{FF2B5EF4-FFF2-40B4-BE49-F238E27FC236}">
                <a16:creationId xmlns:a16="http://schemas.microsoft.com/office/drawing/2014/main" id="{1471E7BC-4397-4CD3-8A8A-FC92D4BD51BB}"/>
              </a:ext>
            </a:extLst>
          </p:cNvPr>
          <p:cNvSpPr txBox="1">
            <a:spLocks/>
          </p:cNvSpPr>
          <p:nvPr/>
        </p:nvSpPr>
        <p:spPr>
          <a:xfrm>
            <a:off x="5272984" y="5478384"/>
            <a:ext cx="50071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asic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aterial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E12F30BC-1DE9-4878-9115-AF297CBCB89D}"/>
              </a:ext>
            </a:extLst>
          </p:cNvPr>
          <p:cNvSpPr txBox="1">
            <a:spLocks/>
          </p:cNvSpPr>
          <p:nvPr/>
        </p:nvSpPr>
        <p:spPr>
          <a:xfrm>
            <a:off x="5313247" y="3488927"/>
            <a:ext cx="420190" cy="138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20-200</a:t>
            </a:r>
          </a:p>
        </p:txBody>
      </p:sp>
      <p:sp>
        <p:nvSpPr>
          <p:cNvPr id="246" name="Rectangle: Rounded Corners 245">
            <a:extLst>
              <a:ext uri="{FF2B5EF4-FFF2-40B4-BE49-F238E27FC236}">
                <a16:creationId xmlns:a16="http://schemas.microsoft.com/office/drawing/2014/main" id="{B9EFABCE-FE21-493C-A1BA-86941F3B3075}"/>
              </a:ext>
            </a:extLst>
          </p:cNvPr>
          <p:cNvSpPr>
            <a:spLocks/>
          </p:cNvSpPr>
          <p:nvPr/>
        </p:nvSpPr>
        <p:spPr>
          <a:xfrm>
            <a:off x="5314712" y="3668833"/>
            <a:ext cx="417259" cy="1689029"/>
          </a:xfrm>
          <a:prstGeom prst="round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2" name="CustomIcon">
            <a:extLst>
              <a:ext uri="{FF2B5EF4-FFF2-40B4-BE49-F238E27FC236}">
                <a16:creationId xmlns:a16="http://schemas.microsoft.com/office/drawing/2014/main" id="{E1F32141-DA4F-415C-8DD3-3C2C4FA69028}"/>
              </a:ext>
            </a:extLst>
          </p:cNvPr>
          <p:cNvPicPr>
            <a:picLocks/>
          </p:cNvPicPr>
          <p:nvPr>
            <p:custDataLst>
              <p:tags r:id="rId23"/>
            </p:custDataLst>
          </p:nvPr>
        </p:nvPicPr>
        <p:blipFill>
          <a:blip r:embed="rId7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5358039" y="3731082"/>
            <a:ext cx="311933" cy="311933"/>
          </a:xfrm>
          <a:prstGeom prst="rect">
            <a:avLst/>
          </a:prstGeom>
        </p:spPr>
      </p:pic>
      <p:sp>
        <p:nvSpPr>
          <p:cNvPr id="152" name="TextBox 151">
            <a:extLst>
              <a:ext uri="{FF2B5EF4-FFF2-40B4-BE49-F238E27FC236}">
                <a16:creationId xmlns:a16="http://schemas.microsoft.com/office/drawing/2014/main" id="{37DCA943-5883-4C70-8361-08D97B9878D7}"/>
              </a:ext>
            </a:extLst>
          </p:cNvPr>
          <p:cNvSpPr txBox="1">
            <a:spLocks/>
          </p:cNvSpPr>
          <p:nvPr/>
        </p:nvSpPr>
        <p:spPr>
          <a:xfrm>
            <a:off x="5799671" y="5478384"/>
            <a:ext cx="500715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ducation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DF8E1859-40D4-4441-BBE7-8F35B9C157CA}"/>
              </a:ext>
            </a:extLst>
          </p:cNvPr>
          <p:cNvSpPr txBox="1">
            <a:spLocks/>
          </p:cNvSpPr>
          <p:nvPr/>
        </p:nvSpPr>
        <p:spPr>
          <a:xfrm>
            <a:off x="5839934" y="3527115"/>
            <a:ext cx="420190" cy="138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20-230</a:t>
            </a:r>
          </a:p>
        </p:txBody>
      </p:sp>
      <p:sp>
        <p:nvSpPr>
          <p:cNvPr id="247" name="Rectangle: Rounded Corners 246">
            <a:extLst>
              <a:ext uri="{FF2B5EF4-FFF2-40B4-BE49-F238E27FC236}">
                <a16:creationId xmlns:a16="http://schemas.microsoft.com/office/drawing/2014/main" id="{2B06DB31-8B5B-4D9C-99F8-F0D990584A58}"/>
              </a:ext>
            </a:extLst>
          </p:cNvPr>
          <p:cNvSpPr>
            <a:spLocks/>
          </p:cNvSpPr>
          <p:nvPr/>
        </p:nvSpPr>
        <p:spPr>
          <a:xfrm>
            <a:off x="5841399" y="3703421"/>
            <a:ext cx="417259" cy="1654434"/>
          </a:xfrm>
          <a:prstGeom prst="round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3" name="CustomIcon">
            <a:extLst>
              <a:ext uri="{FF2B5EF4-FFF2-40B4-BE49-F238E27FC236}">
                <a16:creationId xmlns:a16="http://schemas.microsoft.com/office/drawing/2014/main" id="{CE3E97E3-44A3-4C47-AA66-C4B4508AE744}"/>
              </a:ext>
            </a:extLst>
          </p:cNvPr>
          <p:cNvPicPr>
            <a:picLocks/>
          </p:cNvPicPr>
          <p:nvPr>
            <p:custDataLst>
              <p:tags r:id="rId24"/>
            </p:custDataLst>
          </p:nvPr>
        </p:nvPicPr>
        <p:blipFill>
          <a:blip r:embed="rId7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5891032" y="3778864"/>
            <a:ext cx="311933" cy="311933"/>
          </a:xfrm>
          <a:prstGeom prst="rect">
            <a:avLst/>
          </a:prstGeom>
        </p:spPr>
      </p:pic>
      <p:sp>
        <p:nvSpPr>
          <p:cNvPr id="151" name="TextBox 150">
            <a:extLst>
              <a:ext uri="{FF2B5EF4-FFF2-40B4-BE49-F238E27FC236}">
                <a16:creationId xmlns:a16="http://schemas.microsoft.com/office/drawing/2014/main" id="{4C708737-D7A9-4405-9F17-47F229CFF0C1}"/>
              </a:ext>
            </a:extLst>
          </p:cNvPr>
          <p:cNvSpPr txBox="1">
            <a:spLocks/>
          </p:cNvSpPr>
          <p:nvPr/>
        </p:nvSpPr>
        <p:spPr>
          <a:xfrm>
            <a:off x="6326358" y="5478384"/>
            <a:ext cx="50071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al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state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D5C4ADC0-4C0E-480F-A7DB-871A1BE05C16}"/>
              </a:ext>
            </a:extLst>
          </p:cNvPr>
          <p:cNvSpPr txBox="1">
            <a:spLocks/>
          </p:cNvSpPr>
          <p:nvPr/>
        </p:nvSpPr>
        <p:spPr>
          <a:xfrm>
            <a:off x="6366621" y="3714440"/>
            <a:ext cx="420190" cy="138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10-180</a:t>
            </a:r>
          </a:p>
        </p:txBody>
      </p:sp>
      <p:sp>
        <p:nvSpPr>
          <p:cNvPr id="248" name="Rectangle: Rounded Corners 247">
            <a:extLst>
              <a:ext uri="{FF2B5EF4-FFF2-40B4-BE49-F238E27FC236}">
                <a16:creationId xmlns:a16="http://schemas.microsoft.com/office/drawing/2014/main" id="{B4FED069-BD56-4D8F-AE24-FB9DAB702A2D}"/>
              </a:ext>
            </a:extLst>
          </p:cNvPr>
          <p:cNvSpPr>
            <a:spLocks/>
          </p:cNvSpPr>
          <p:nvPr/>
        </p:nvSpPr>
        <p:spPr>
          <a:xfrm>
            <a:off x="6368086" y="3913823"/>
            <a:ext cx="417259" cy="1444039"/>
          </a:xfrm>
          <a:prstGeom prst="round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4" name="CustomIcon">
            <a:extLst>
              <a:ext uri="{FF2B5EF4-FFF2-40B4-BE49-F238E27FC236}">
                <a16:creationId xmlns:a16="http://schemas.microsoft.com/office/drawing/2014/main" id="{205ABFAB-62B6-4267-93BF-3D67C840FD04}"/>
              </a:ext>
            </a:extLst>
          </p:cNvPr>
          <p:cNvPicPr>
            <a:picLocks/>
          </p:cNvPicPr>
          <p:nvPr>
            <p:custDataLst>
              <p:tags r:id="rId25"/>
            </p:custDataLst>
          </p:nvPr>
        </p:nvPicPr>
        <p:blipFill>
          <a:blip r:embed="rId7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6424025" y="3981056"/>
            <a:ext cx="311933" cy="31193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0B78BED-A38B-2AA0-0B1C-077D12D9FB6D}"/>
              </a:ext>
            </a:extLst>
          </p:cNvPr>
          <p:cNvCxnSpPr>
            <a:cxnSpLocks/>
          </p:cNvCxnSpPr>
          <p:nvPr/>
        </p:nvCxnSpPr>
        <p:spPr>
          <a:xfrm>
            <a:off x="1620843" y="2580278"/>
            <a:ext cx="5530730" cy="0"/>
          </a:xfrm>
          <a:prstGeom prst="line">
            <a:avLst/>
          </a:prstGeom>
          <a:ln w="19050" cap="flat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BEB7FC9-98B9-0380-9C21-2C832A3BBA14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10826750" y="4300538"/>
            <a:ext cx="0" cy="130175"/>
          </a:xfrm>
          <a:prstGeom prst="line">
            <a:avLst/>
          </a:prstGeom>
          <a:ln w="9525" cap="flat" cmpd="sng" algn="ctr">
            <a:solidFill>
              <a:srgbClr val="E6E6E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76D73FF-1E20-70D3-0B0A-C4E4D5EC95C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10980738" y="5675313"/>
            <a:ext cx="0" cy="130175"/>
          </a:xfrm>
          <a:prstGeom prst="line">
            <a:avLst/>
          </a:prstGeom>
          <a:ln w="9525" cap="flat" cmpd="sng" algn="ctr">
            <a:solidFill>
              <a:srgbClr val="E6E6E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C6BC937-C40F-887B-8E58-80793C9628D5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10958513" y="5216525"/>
            <a:ext cx="0" cy="130175"/>
          </a:xfrm>
          <a:prstGeom prst="line">
            <a:avLst/>
          </a:prstGeom>
          <a:ln w="9525" cap="flat" cmpd="sng" algn="ctr">
            <a:solidFill>
              <a:srgbClr val="E6E6E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476FE27-33D9-98E5-2180-943CE3A2B3AF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10918825" y="4759325"/>
            <a:ext cx="0" cy="130175"/>
          </a:xfrm>
          <a:prstGeom prst="line">
            <a:avLst/>
          </a:prstGeom>
          <a:ln w="9525" cap="flat" cmpd="sng" algn="ctr">
            <a:solidFill>
              <a:srgbClr val="E6E6E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7958B94-BEC4-97AD-BA41-BF3B3BB7A7D9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10706100" y="3841750"/>
            <a:ext cx="0" cy="130175"/>
          </a:xfrm>
          <a:prstGeom prst="line">
            <a:avLst/>
          </a:prstGeom>
          <a:ln w="9525" cap="flat" cmpd="sng" algn="ctr">
            <a:solidFill>
              <a:srgbClr val="E6E6E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D86BF71-D177-5034-20ED-C29D21C87195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10553700" y="3382963"/>
            <a:ext cx="0" cy="130175"/>
          </a:xfrm>
          <a:prstGeom prst="line">
            <a:avLst/>
          </a:prstGeom>
          <a:ln w="9525" cap="flat" cmpd="sng" algn="ctr">
            <a:solidFill>
              <a:srgbClr val="E6E6E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8ED2934-2203-37F1-27D9-45D3D8865FD0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10199688" y="2925763"/>
            <a:ext cx="0" cy="130175"/>
          </a:xfrm>
          <a:prstGeom prst="line">
            <a:avLst/>
          </a:prstGeom>
          <a:ln w="9525" cap="flat" cmpd="sng" algn="ctr">
            <a:solidFill>
              <a:srgbClr val="E6E6E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02284A5-4D70-B756-5D45-1D40AC933B14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9772650" y="2466975"/>
            <a:ext cx="0" cy="130175"/>
          </a:xfrm>
          <a:prstGeom prst="line">
            <a:avLst/>
          </a:prstGeom>
          <a:ln w="9525" cap="flat" cmpd="sng" algn="ctr">
            <a:solidFill>
              <a:srgbClr val="E6E6E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CF0810C-89F7-D7C2-3AF0-50EE6E2F3EB5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302375031"/>
              </p:ext>
            </p:extLst>
          </p:nvPr>
        </p:nvGraphicFramePr>
        <p:xfrm>
          <a:off x="8990013" y="1990725"/>
          <a:ext cx="2073275" cy="4291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0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09865AEB-BD16-2C32-34B4-7F8D506134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685088" y="5434013"/>
            <a:ext cx="1127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1211ABF1-679F-417A-BC72-30A359429281}" type="datetime'''''''''''''''''''''''''''''''''''''I''''''T''''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I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76E674D4-7D6F-08DF-6664-DE71C07265D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685088" y="4900613"/>
            <a:ext cx="12890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alent &amp; organization</a:t>
            </a:r>
            <a:b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incl. HR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0807FC30-552B-A080-E11B-E6D6677C7951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685088" y="4518025"/>
            <a:ext cx="1146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7C29B9E9-A2C6-4187-B54E-F68DFA95AF36}" type="datetime'St''''r''a''t''''e''gy ''&amp; F''''in''''''''an''ce'">
              <a:rPr kumimoji="0" lang="en-GB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Strategy &amp; Fin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9CC0ED4-CA70-65BD-E67C-0D96B4BF63D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685088" y="4059238"/>
            <a:ext cx="758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AD42A2A5-3E02-43B6-A4A2-9EBE26E2A26E}" type="datetime'R''''i''''s''''''''k'''' ''''''&amp;'''''' L''eg''al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Risk &amp; Leg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3E928FF-0486-DC57-5F1D-054E161A373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685088" y="5816600"/>
            <a:ext cx="11747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tal Retail </a:t>
            </a:r>
            <a:b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oductivity Impact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306198E-2B54-4A24-F987-639FED8A938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685088" y="3524250"/>
            <a:ext cx="9715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upply Chain &amp; 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peration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B2C278B-8B40-0AFE-D033-F61914FE1EA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685088" y="3143250"/>
            <a:ext cx="1295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58D91431-07C4-416D-AF4B-D050F34CB47B}" type="datetime'C''us''''t''''''o''mer'''' O''''pe''''r''''''ati''o''''''ns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Customer Operations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858AD33-1346-1D82-8AB1-BFEE0400B750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685088" y="2684463"/>
            <a:ext cx="1301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C0757285-CD0E-4DD0-AA5D-6D2EF6FB1538}" type="datetime'Sof''tw''a''''re'' ''En''g''''i''n''e''''''''e''rin''g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Software Engineering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8449411-1763-4C0D-CF4B-FED8EAF83A38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9798050" y="2225675"/>
            <a:ext cx="496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91 - 138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E146CE2D-5F34-E166-8A35-83144907A78A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10225088" y="2684463"/>
            <a:ext cx="461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5 - 95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B15F2FA8-A00B-605A-DA32-DC7B89D2136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0579100" y="3143250"/>
            <a:ext cx="461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9 - 67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139E9269-FFF3-B78D-1CDE-1A460EF6EB50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0731500" y="3600450"/>
            <a:ext cx="461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 - 33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37CCA67-B0C2-70C3-A780-04EF012E04CF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0852150" y="4059238"/>
            <a:ext cx="461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6 - 23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62B4B60-3DFB-1485-BF80-811E3B929B4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0944225" y="4518025"/>
            <a:ext cx="461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 - 21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18BADEF-42AC-4104-2B34-70158D91E27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0983913" y="497681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 - 8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99E9A61-251C-07DE-2A90-D06DD7531F5E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1006138" y="543401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- 4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60" name="Text Placeholder 4">
            <a:extLst>
              <a:ext uri="{FF2B5EF4-FFF2-40B4-BE49-F238E27FC236}">
                <a16:creationId xmlns:a16="http://schemas.microsoft.com/office/drawing/2014/main" id="{F22C0A1A-93A1-487B-8863-4F7560F9AA72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1006138" y="5892800"/>
            <a:ext cx="496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39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599" indent="-228599" algn="l" defTabSz="91439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2062" indent="-283463" algn="l" defTabSz="91439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0661" indent="-182880" algn="l" defTabSz="91439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396" indent="-137160" algn="l" defTabSz="91439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46" indent="-171449" algn="l" defTabSz="91439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46" indent="-171449" algn="l" defTabSz="91439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46" indent="-171449" algn="l" defTabSz="91439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46" indent="-171449" algn="l" defTabSz="91439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40-390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2A91D75-8965-D84E-F36F-AE34AFFC2D6B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685088" y="2225675"/>
            <a:ext cx="10890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fld id="{2A3B5F03-1346-4C42-9A2C-D11CAD47953F}" type="datetime'''''''Mark''''eti''n''g'' &amp;'''''' ''''''S''''a''''''''les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t>Marketing &amp; Sales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475" name="CustomIcon">
            <a:extLst>
              <a:ext uri="{FF2B5EF4-FFF2-40B4-BE49-F238E27FC236}">
                <a16:creationId xmlns:a16="http://schemas.microsoft.com/office/drawing/2014/main" id="{3F539789-5EF9-DF1A-EB8E-32D7E25BF928}"/>
              </a:ext>
            </a:extLst>
          </p:cNvPr>
          <p:cNvPicPr>
            <a:picLocks/>
          </p:cNvPicPr>
          <p:nvPr>
            <p:custDataLst>
              <p:tags r:id="rId53"/>
            </p:custDataLst>
          </p:nvPr>
        </p:nvPicPr>
        <p:blipFill>
          <a:blip r:embed="rId81">
            <a:extLs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603889" y="2556113"/>
            <a:ext cx="311933" cy="311933"/>
          </a:xfrm>
          <a:prstGeom prst="rect">
            <a:avLst/>
          </a:prstGeom>
        </p:spPr>
      </p:pic>
      <p:sp>
        <p:nvSpPr>
          <p:cNvPr id="500" name="TextBox 499">
            <a:extLst>
              <a:ext uri="{FF2B5EF4-FFF2-40B4-BE49-F238E27FC236}">
                <a16:creationId xmlns:a16="http://schemas.microsoft.com/office/drawing/2014/main" id="{1E50796D-8FF1-BEF1-A1F5-09649D8DC141}"/>
              </a:ext>
            </a:extLst>
          </p:cNvPr>
          <p:cNvSpPr txBox="1">
            <a:spLocks/>
          </p:cNvSpPr>
          <p:nvPr/>
        </p:nvSpPr>
        <p:spPr>
          <a:xfrm>
            <a:off x="7323138" y="1423743"/>
            <a:ext cx="4131936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enerative AI productivity impact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y function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tal C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saving, $ bill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D2C2CBA2-E46A-6755-66F4-ACB4AB14DDE8}"/>
              </a:ext>
            </a:extLst>
          </p:cNvPr>
          <p:cNvSpPr>
            <a:spLocks/>
          </p:cNvSpPr>
          <p:nvPr/>
        </p:nvSpPr>
        <p:spPr>
          <a:xfrm>
            <a:off x="7141845" y="1275968"/>
            <a:ext cx="59524" cy="5090144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78" name="Graphic 477">
            <a:extLst>
              <a:ext uri="{FF2B5EF4-FFF2-40B4-BE49-F238E27FC236}">
                <a16:creationId xmlns:a16="http://schemas.microsoft.com/office/drawing/2014/main" id="{83ACCD25-EF18-C869-155C-C622D908BE15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7347746" y="2179311"/>
            <a:ext cx="246362" cy="246362"/>
          </a:xfrm>
          <a:prstGeom prst="rect">
            <a:avLst/>
          </a:prstGeom>
        </p:spPr>
      </p:pic>
      <p:pic>
        <p:nvPicPr>
          <p:cNvPr id="482" name="Graphic 481">
            <a:extLst>
              <a:ext uri="{FF2B5EF4-FFF2-40B4-BE49-F238E27FC236}">
                <a16:creationId xmlns:a16="http://schemas.microsoft.com/office/drawing/2014/main" id="{5C22B680-2028-9BBD-B0C8-A7EA15583998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7347746" y="2637745"/>
            <a:ext cx="246362" cy="246362"/>
          </a:xfrm>
          <a:prstGeom prst="rect">
            <a:avLst/>
          </a:prstGeom>
        </p:spPr>
      </p:pic>
      <p:pic>
        <p:nvPicPr>
          <p:cNvPr id="486" name="Graphic 485">
            <a:extLst>
              <a:ext uri="{FF2B5EF4-FFF2-40B4-BE49-F238E27FC236}">
                <a16:creationId xmlns:a16="http://schemas.microsoft.com/office/drawing/2014/main" id="{D5921F5F-15F4-6FFA-5B29-9E9E8C32DC47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96DAC541-7B7A-43D3-8B79-37D633B846F1}">
                <asvg:svgBlip xmlns:asvg="http://schemas.microsoft.com/office/drawing/2016/SVG/main" r:embed="rId88"/>
              </a:ext>
            </a:extLst>
          </a:blip>
          <a:stretch>
            <a:fillRect/>
          </a:stretch>
        </p:blipFill>
        <p:spPr>
          <a:xfrm>
            <a:off x="7347746" y="3096179"/>
            <a:ext cx="246362" cy="246362"/>
          </a:xfrm>
          <a:prstGeom prst="rect">
            <a:avLst/>
          </a:prstGeom>
        </p:spPr>
      </p:pic>
      <p:pic>
        <p:nvPicPr>
          <p:cNvPr id="490" name="Graphic 489">
            <a:extLst>
              <a:ext uri="{FF2B5EF4-FFF2-40B4-BE49-F238E27FC236}">
                <a16:creationId xmlns:a16="http://schemas.microsoft.com/office/drawing/2014/main" id="{72C4D5E2-ABCE-9DA1-D468-D49DB4D210AF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96DAC541-7B7A-43D3-8B79-37D633B846F1}">
                <asvg:svgBlip xmlns:asvg="http://schemas.microsoft.com/office/drawing/2016/SVG/main" r:embed="rId90"/>
              </a:ext>
            </a:extLst>
          </a:blip>
          <a:stretch>
            <a:fillRect/>
          </a:stretch>
        </p:blipFill>
        <p:spPr>
          <a:xfrm>
            <a:off x="7347746" y="3554613"/>
            <a:ext cx="246362" cy="246362"/>
          </a:xfrm>
          <a:prstGeom prst="rect">
            <a:avLst/>
          </a:prstGeom>
        </p:spPr>
      </p:pic>
      <p:pic>
        <p:nvPicPr>
          <p:cNvPr id="494" name="Graphic 493">
            <a:extLst>
              <a:ext uri="{FF2B5EF4-FFF2-40B4-BE49-F238E27FC236}">
                <a16:creationId xmlns:a16="http://schemas.microsoft.com/office/drawing/2014/main" id="{78BEF563-589E-4C3D-0E74-116940BB687F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96DAC541-7B7A-43D3-8B79-37D633B846F1}">
                <asvg:svgBlip xmlns:asvg="http://schemas.microsoft.com/office/drawing/2016/SVG/main" r:embed="rId92"/>
              </a:ext>
            </a:extLst>
          </a:blip>
          <a:stretch>
            <a:fillRect/>
          </a:stretch>
        </p:blipFill>
        <p:spPr>
          <a:xfrm>
            <a:off x="7347746" y="4013047"/>
            <a:ext cx="246362" cy="246362"/>
          </a:xfrm>
          <a:prstGeom prst="rect">
            <a:avLst/>
          </a:prstGeom>
        </p:spPr>
      </p:pic>
      <p:pic>
        <p:nvPicPr>
          <p:cNvPr id="503" name="Graphic 502">
            <a:extLst>
              <a:ext uri="{FF2B5EF4-FFF2-40B4-BE49-F238E27FC236}">
                <a16:creationId xmlns:a16="http://schemas.microsoft.com/office/drawing/2014/main" id="{93690151-1B01-50E2-13A6-A71EA3A41C33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96DAC541-7B7A-43D3-8B79-37D633B846F1}">
                <asvg:svgBlip xmlns:asvg="http://schemas.microsoft.com/office/drawing/2016/SVG/main" r:embed="rId94"/>
              </a:ext>
            </a:extLst>
          </a:blip>
          <a:stretch>
            <a:fillRect/>
          </a:stretch>
        </p:blipFill>
        <p:spPr>
          <a:xfrm>
            <a:off x="7347746" y="4929915"/>
            <a:ext cx="246362" cy="246362"/>
          </a:xfrm>
          <a:prstGeom prst="rect">
            <a:avLst/>
          </a:prstGeom>
        </p:spPr>
      </p:pic>
      <p:pic>
        <p:nvPicPr>
          <p:cNvPr id="507" name="Graphic 506">
            <a:extLst>
              <a:ext uri="{FF2B5EF4-FFF2-40B4-BE49-F238E27FC236}">
                <a16:creationId xmlns:a16="http://schemas.microsoft.com/office/drawing/2014/main" id="{4F971661-92EA-B231-132B-79832E7D83C5}"/>
              </a:ext>
            </a:extLst>
          </p:cNvPr>
          <p:cNvPicPr>
            <a:picLocks noChangeAspect="1"/>
          </p:cNvPicPr>
          <p:nvPr/>
        </p:nvPicPr>
        <p:blipFill>
          <a:blip r:embed="rId95">
            <a:extLst>
              <a:ext uri="{96DAC541-7B7A-43D3-8B79-37D633B846F1}">
                <asvg:svgBlip xmlns:asvg="http://schemas.microsoft.com/office/drawing/2016/SVG/main" r:embed="rId96"/>
              </a:ext>
            </a:extLst>
          </a:blip>
          <a:stretch>
            <a:fillRect/>
          </a:stretch>
        </p:blipFill>
        <p:spPr>
          <a:xfrm>
            <a:off x="7347746" y="5388349"/>
            <a:ext cx="246362" cy="246362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AA4DD41D-E309-6F5C-AD7D-C6FD814E6604}"/>
              </a:ext>
            </a:extLst>
          </p:cNvPr>
          <p:cNvPicPr>
            <a:picLocks noChangeAspect="1"/>
          </p:cNvPicPr>
          <p:nvPr/>
        </p:nvPicPr>
        <p:blipFill>
          <a:blip r:embed="rId97">
            <a:extLst>
              <a:ext uri="{96DAC541-7B7A-43D3-8B79-37D633B846F1}">
                <asvg:svgBlip xmlns:asvg="http://schemas.microsoft.com/office/drawing/2016/SVG/main" r:embed="rId98"/>
              </a:ext>
            </a:extLst>
          </a:blip>
          <a:stretch>
            <a:fillRect/>
          </a:stretch>
        </p:blipFill>
        <p:spPr>
          <a:xfrm>
            <a:off x="7347746" y="4471481"/>
            <a:ext cx="246362" cy="246362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65B0B116-17B0-5922-6433-CDE8859C7F6F}"/>
              </a:ext>
            </a:extLst>
          </p:cNvPr>
          <p:cNvPicPr>
            <a:picLocks/>
          </p:cNvPicPr>
          <p:nvPr/>
        </p:nvPicPr>
        <p:blipFill>
          <a:blip r:embed="rId99">
            <a:extLst>
              <a:ext uri="{96DAC541-7B7A-43D3-8B79-37D633B846F1}">
                <asvg:svgBlip xmlns:asvg="http://schemas.microsoft.com/office/drawing/2016/SVG/main" r:embed="rId100"/>
              </a:ext>
            </a:extLst>
          </a:blip>
          <a:stretch>
            <a:fillRect/>
          </a:stretch>
        </p:blipFill>
        <p:spPr>
          <a:xfrm>
            <a:off x="7347746" y="5845819"/>
            <a:ext cx="246362" cy="24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9041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2" hidden="1">
            <a:extLst>
              <a:ext uri="{FF2B5EF4-FFF2-40B4-BE49-F238E27FC236}">
                <a16:creationId xmlns:a16="http://schemas.microsoft.com/office/drawing/2014/main" id="{A2E561F2-E447-484D-97C5-8DD6782CA9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6340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10" name="Object 2" hidden="1">
                        <a:extLst>
                          <a:ext uri="{FF2B5EF4-FFF2-40B4-BE49-F238E27FC236}">
                            <a16:creationId xmlns:a16="http://schemas.microsoft.com/office/drawing/2014/main" id="{A2E561F2-E447-484D-97C5-8DD6782CA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07" name="Oval 2506">
            <a:extLst>
              <a:ext uri="{FF2B5EF4-FFF2-40B4-BE49-F238E27FC236}">
                <a16:creationId xmlns:a16="http://schemas.microsoft.com/office/drawing/2014/main" id="{D0EDC931-4B8F-CF04-A5C7-CAC76529DFF5}"/>
              </a:ext>
            </a:extLst>
          </p:cNvPr>
          <p:cNvSpPr/>
          <p:nvPr/>
        </p:nvSpPr>
        <p:spPr>
          <a:xfrm>
            <a:off x="2154649" y="3181411"/>
            <a:ext cx="910042" cy="91004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429EB2B2-E89C-495C-9024-73007D58BDB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7" y="134292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noAutofit/>
          </a:bodyPr>
          <a:lstStyle/>
          <a:p>
            <a:pPr>
              <a:buClr>
                <a:schemeClr val="tx2"/>
              </a:buClr>
            </a:pPr>
            <a:r>
              <a:rPr lang="en-US" dirty="0"/>
              <a:t>We see various examples of use cases across the entire retail internal value chain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D3196C61-4A79-5A91-81F9-7F0B9696E92E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57" name="sticker">
            <a:extLst>
              <a:ext uri="{FF2B5EF4-FFF2-40B4-BE49-F238E27FC236}">
                <a16:creationId xmlns:a16="http://schemas.microsoft.com/office/drawing/2014/main" id="{BDAB943F-2F69-B8FA-9192-6CEEEC0A8B52}"/>
              </a:ext>
            </a:extLst>
          </p:cNvPr>
          <p:cNvGrpSpPr/>
          <p:nvPr/>
        </p:nvGrpSpPr>
        <p:grpSpPr>
          <a:xfrm>
            <a:off x="559460" y="1289273"/>
            <a:ext cx="654025" cy="156966"/>
            <a:chOff x="559460" y="1289273"/>
            <a:chExt cx="654025" cy="156966"/>
          </a:xfrm>
        </p:grpSpPr>
        <p:sp>
          <p:nvSpPr>
            <p:cNvPr id="15" name="StickerRectangle">
              <a:extLst>
                <a:ext uri="{FF2B5EF4-FFF2-40B4-BE49-F238E27FC236}">
                  <a16:creationId xmlns:a16="http://schemas.microsoft.com/office/drawing/2014/main" id="{6B097605-12B0-5DBB-960D-39AF9768986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59460" y="1289273"/>
              <a:ext cx="654025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marL="0" marR="0" lvl="0" indent="0" algn="l" defTabSz="1193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50" normalizeH="0" baseline="0" noProof="0" dirty="0">
                  <a:ln w="3175"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StickerUnderline">
              <a:extLst>
                <a:ext uri="{FF2B5EF4-FFF2-40B4-BE49-F238E27FC236}">
                  <a16:creationId xmlns:a16="http://schemas.microsoft.com/office/drawing/2014/main" id="{ADB98562-477F-A291-1FE8-CB99A3335B55}"/>
                </a:ext>
              </a:extLst>
            </p:cNvPr>
            <p:cNvCxnSpPr>
              <a:cxnSpLocks noChangeShapeType="1"/>
              <a:stCxn id="15" idx="4"/>
              <a:endCxn id="15" idx="6"/>
            </p:cNvCxnSpPr>
            <p:nvPr/>
          </p:nvCxnSpPr>
          <p:spPr bwMode="gray">
            <a:xfrm>
              <a:off x="559460" y="1446239"/>
              <a:ext cx="654025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11" name="Oval 2310">
            <a:extLst>
              <a:ext uri="{FF2B5EF4-FFF2-40B4-BE49-F238E27FC236}">
                <a16:creationId xmlns:a16="http://schemas.microsoft.com/office/drawing/2014/main" id="{3B79B209-1156-11AC-913E-F03D3266D3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87227" y="2930750"/>
            <a:ext cx="1605912" cy="1606825"/>
          </a:xfrm>
          <a:prstGeom prst="ellipse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13" name="Arc 2312">
            <a:hlinkClick r:id="" action="ppaction://noaction"/>
            <a:extLst>
              <a:ext uri="{FF2B5EF4-FFF2-40B4-BE49-F238E27FC236}">
                <a16:creationId xmlns:a16="http://schemas.microsoft.com/office/drawing/2014/main" id="{C283AED8-CFE5-8EA6-A8B2-17F433AEE827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1789010" y="2978247"/>
            <a:ext cx="1605914" cy="1606824"/>
          </a:xfrm>
          <a:prstGeom prst="arc">
            <a:avLst>
              <a:gd name="adj1" fmla="val 10794074"/>
              <a:gd name="adj2" fmla="val 21567262"/>
            </a:avLst>
          </a:prstGeom>
          <a:noFill/>
          <a:ln w="190500" cap="rnd" cmpd="sng" algn="ctr">
            <a:solidFill>
              <a:schemeClr val="accent6">
                <a:lumMod val="90000"/>
              </a:schemeClr>
            </a:solidFill>
            <a:prstDash val="solid"/>
            <a:miter lim="800000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14" name="Arc 2313">
            <a:hlinkClick r:id="" action="ppaction://noaction"/>
            <a:extLst>
              <a:ext uri="{FF2B5EF4-FFF2-40B4-BE49-F238E27FC236}">
                <a16:creationId xmlns:a16="http://schemas.microsoft.com/office/drawing/2014/main" id="{E0D195AA-BCDE-A805-90A8-3CAC9465BA7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3393543" y="2981613"/>
            <a:ext cx="1605893" cy="1600092"/>
          </a:xfrm>
          <a:prstGeom prst="arc">
            <a:avLst>
              <a:gd name="adj1" fmla="val 23275"/>
              <a:gd name="adj2" fmla="val 10820338"/>
            </a:avLst>
          </a:prstGeom>
          <a:noFill/>
          <a:ln w="190500" cap="rnd" cmpd="sng" algn="ctr">
            <a:solidFill>
              <a:schemeClr val="accent2"/>
            </a:solidFill>
            <a:prstDash val="solid"/>
            <a:miter lim="800000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15" name="Arc 2314">
            <a:hlinkClick r:id="" action="ppaction://noaction"/>
            <a:extLst>
              <a:ext uri="{FF2B5EF4-FFF2-40B4-BE49-F238E27FC236}">
                <a16:creationId xmlns:a16="http://schemas.microsoft.com/office/drawing/2014/main" id="{E5834207-CE74-FA75-0B2C-FDA9A13D5DF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5000232" y="2978247"/>
            <a:ext cx="1605914" cy="1606824"/>
          </a:xfrm>
          <a:prstGeom prst="arc">
            <a:avLst>
              <a:gd name="adj1" fmla="val 10794074"/>
              <a:gd name="adj2" fmla="val 21567262"/>
            </a:avLst>
          </a:prstGeom>
          <a:noFill/>
          <a:ln w="190500" cap="rnd" cmpd="sng" algn="ctr">
            <a:solidFill>
              <a:schemeClr val="accent3"/>
            </a:solidFill>
            <a:prstDash val="solid"/>
            <a:miter lim="800000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16" name="Arc 2315">
            <a:hlinkClick r:id="" action="ppaction://noaction"/>
            <a:extLst>
              <a:ext uri="{FF2B5EF4-FFF2-40B4-BE49-F238E27FC236}">
                <a16:creationId xmlns:a16="http://schemas.microsoft.com/office/drawing/2014/main" id="{F86E5573-74E4-B7A7-F4E5-92A4FF56E571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6605367" y="2981613"/>
            <a:ext cx="1605893" cy="1600092"/>
          </a:xfrm>
          <a:prstGeom prst="arc">
            <a:avLst>
              <a:gd name="adj1" fmla="val 23275"/>
              <a:gd name="adj2" fmla="val 10820338"/>
            </a:avLst>
          </a:prstGeom>
          <a:noFill/>
          <a:ln w="190500" cap="rnd" cmpd="sng" algn="ctr">
            <a:solidFill>
              <a:schemeClr val="accent4"/>
            </a:solidFill>
            <a:prstDash val="solid"/>
            <a:miter lim="800000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17" name="Arc 2316">
            <a:hlinkClick r:id="" action="ppaction://noaction"/>
            <a:extLst>
              <a:ext uri="{FF2B5EF4-FFF2-40B4-BE49-F238E27FC236}">
                <a16:creationId xmlns:a16="http://schemas.microsoft.com/office/drawing/2014/main" id="{6A0267CF-23F6-3DBE-36CD-1CC63D2764D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8214661" y="2978247"/>
            <a:ext cx="1605914" cy="1606824"/>
          </a:xfrm>
          <a:prstGeom prst="arc">
            <a:avLst>
              <a:gd name="adj1" fmla="val 10794074"/>
              <a:gd name="adj2" fmla="val 21567262"/>
            </a:avLst>
          </a:prstGeom>
          <a:noFill/>
          <a:ln w="190500" cap="rnd" cmpd="sng" algn="ctr">
            <a:solidFill>
              <a:srgbClr val="084D91"/>
            </a:solidFill>
            <a:prstDash val="solid"/>
            <a:miter lim="800000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19" name="TextBox 2318">
            <a:extLst>
              <a:ext uri="{FF2B5EF4-FFF2-40B4-BE49-F238E27FC236}">
                <a16:creationId xmlns:a16="http://schemas.microsoft.com/office/drawing/2014/main" id="{907324E8-9795-5613-DCEF-15ECFFCD1CED}"/>
              </a:ext>
            </a:extLst>
          </p:cNvPr>
          <p:cNvSpPr txBox="1">
            <a:spLocks/>
          </p:cNvSpPr>
          <p:nvPr/>
        </p:nvSpPr>
        <p:spPr>
          <a:xfrm>
            <a:off x="3492827" y="3192742"/>
            <a:ext cx="1407325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istribution</a:t>
            </a:r>
          </a:p>
        </p:txBody>
      </p:sp>
      <p:sp>
        <p:nvSpPr>
          <p:cNvPr id="2320" name="TextBox 2319">
            <a:extLst>
              <a:ext uri="{FF2B5EF4-FFF2-40B4-BE49-F238E27FC236}">
                <a16:creationId xmlns:a16="http://schemas.microsoft.com/office/drawing/2014/main" id="{F70A36C9-15F5-D515-A478-2AE19711C9C5}"/>
              </a:ext>
            </a:extLst>
          </p:cNvPr>
          <p:cNvSpPr txBox="1">
            <a:spLocks/>
          </p:cNvSpPr>
          <p:nvPr/>
        </p:nvSpPr>
        <p:spPr>
          <a:xfrm>
            <a:off x="6704651" y="3192742"/>
            <a:ext cx="1407325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-store operations</a:t>
            </a:r>
          </a:p>
        </p:txBody>
      </p:sp>
      <p:sp>
        <p:nvSpPr>
          <p:cNvPr id="2321" name="TextBox 2320">
            <a:extLst>
              <a:ext uri="{FF2B5EF4-FFF2-40B4-BE49-F238E27FC236}">
                <a16:creationId xmlns:a16="http://schemas.microsoft.com/office/drawing/2014/main" id="{BC1B1ED2-CFAF-DD0A-D487-4953BF4AF840}"/>
              </a:ext>
            </a:extLst>
          </p:cNvPr>
          <p:cNvSpPr txBox="1">
            <a:spLocks/>
          </p:cNvSpPr>
          <p:nvPr/>
        </p:nvSpPr>
        <p:spPr>
          <a:xfrm>
            <a:off x="1758905" y="4100023"/>
            <a:ext cx="1649819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ocuremen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322" name="TextBox 2321">
            <a:extLst>
              <a:ext uri="{FF2B5EF4-FFF2-40B4-BE49-F238E27FC236}">
                <a16:creationId xmlns:a16="http://schemas.microsoft.com/office/drawing/2014/main" id="{04567612-8A21-BA09-63A6-77023BBD47FC}"/>
              </a:ext>
            </a:extLst>
          </p:cNvPr>
          <p:cNvSpPr txBox="1">
            <a:spLocks/>
          </p:cNvSpPr>
          <p:nvPr/>
        </p:nvSpPr>
        <p:spPr>
          <a:xfrm>
            <a:off x="8339356" y="4100023"/>
            <a:ext cx="1407325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ack-office</a:t>
            </a:r>
          </a:p>
        </p:txBody>
      </p:sp>
      <p:sp>
        <p:nvSpPr>
          <p:cNvPr id="2323" name="TextBox 2322">
            <a:extLst>
              <a:ext uri="{FF2B5EF4-FFF2-40B4-BE49-F238E27FC236}">
                <a16:creationId xmlns:a16="http://schemas.microsoft.com/office/drawing/2014/main" id="{F29492F4-290E-31B6-1666-D825D166ACE5}"/>
              </a:ext>
            </a:extLst>
          </p:cNvPr>
          <p:cNvSpPr txBox="1">
            <a:spLocks/>
          </p:cNvSpPr>
          <p:nvPr/>
        </p:nvSpPr>
        <p:spPr>
          <a:xfrm>
            <a:off x="5099527" y="4100023"/>
            <a:ext cx="1407325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-commerce</a:t>
            </a:r>
          </a:p>
        </p:txBody>
      </p:sp>
      <p:sp>
        <p:nvSpPr>
          <p:cNvPr id="2324" name="TextBox 2323">
            <a:extLst>
              <a:ext uri="{FF2B5EF4-FFF2-40B4-BE49-F238E27FC236}">
                <a16:creationId xmlns:a16="http://schemas.microsoft.com/office/drawing/2014/main" id="{9C8F6D27-5848-5371-F090-F88C13585937}"/>
              </a:ext>
            </a:extLst>
          </p:cNvPr>
          <p:cNvSpPr txBox="1"/>
          <p:nvPr/>
        </p:nvSpPr>
        <p:spPr>
          <a:xfrm>
            <a:off x="566934" y="3366099"/>
            <a:ext cx="1031267" cy="646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tail value chain segments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</a:t>
            </a:r>
            <a:r>
              <a:rPr kumimoji="0" lang="en-US" sz="14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327" name="TextBox 2326">
            <a:extLst>
              <a:ext uri="{FF2B5EF4-FFF2-40B4-BE49-F238E27FC236}">
                <a16:creationId xmlns:a16="http://schemas.microsoft.com/office/drawing/2014/main" id="{0BE8A31F-5B14-B2D2-596E-8688ACA55CDE}"/>
              </a:ext>
            </a:extLst>
          </p:cNvPr>
          <p:cNvSpPr txBox="1">
            <a:spLocks/>
          </p:cNvSpPr>
          <p:nvPr/>
        </p:nvSpPr>
        <p:spPr>
          <a:xfrm>
            <a:off x="9923259" y="3192742"/>
            <a:ext cx="1407325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arketing</a:t>
            </a:r>
          </a:p>
        </p:txBody>
      </p:sp>
      <p:sp>
        <p:nvSpPr>
          <p:cNvPr id="2461" name="Arc 2460">
            <a:hlinkClick r:id="" action="ppaction://noaction"/>
            <a:extLst>
              <a:ext uri="{FF2B5EF4-FFF2-40B4-BE49-F238E27FC236}">
                <a16:creationId xmlns:a16="http://schemas.microsoft.com/office/drawing/2014/main" id="{A76870B5-5DE6-896C-952A-A47A285E0C9B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9823975" y="2981613"/>
            <a:ext cx="1605893" cy="1600092"/>
          </a:xfrm>
          <a:prstGeom prst="arc">
            <a:avLst>
              <a:gd name="adj1" fmla="val 23275"/>
              <a:gd name="adj2" fmla="val 10820338"/>
            </a:avLst>
          </a:prstGeom>
          <a:noFill/>
          <a:ln w="190500" cap="rnd" cmpd="sng" algn="ctr">
            <a:solidFill>
              <a:schemeClr val="accent6"/>
            </a:solidFill>
            <a:prstDash val="solid"/>
            <a:miter lim="800000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5. Source">
            <a:extLst>
              <a:ext uri="{FF2B5EF4-FFF2-40B4-BE49-F238E27FC236}">
                <a16:creationId xmlns:a16="http://schemas.microsoft.com/office/drawing/2014/main" id="{5A804DF1-A5FC-C67D-4F06-6B53F275069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McKinsey client examp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EE8D0E-4248-E15F-981D-61A8C313663F}"/>
              </a:ext>
            </a:extLst>
          </p:cNvPr>
          <p:cNvCxnSpPr>
            <a:cxnSpLocks/>
          </p:cNvCxnSpPr>
          <p:nvPr/>
        </p:nvCxnSpPr>
        <p:spPr>
          <a:xfrm flipH="1" flipV="1">
            <a:off x="2590184" y="4322131"/>
            <a:ext cx="1790" cy="52921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EE4CDCE-8FB0-8D90-39B9-7C58FE53430E}"/>
              </a:ext>
            </a:extLst>
          </p:cNvPr>
          <p:cNvCxnSpPr>
            <a:cxnSpLocks/>
          </p:cNvCxnSpPr>
          <p:nvPr/>
        </p:nvCxnSpPr>
        <p:spPr>
          <a:xfrm>
            <a:off x="554736" y="4851341"/>
            <a:ext cx="3638929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3. Subtitle">
            <a:extLst>
              <a:ext uri="{FF2B5EF4-FFF2-40B4-BE49-F238E27FC236}">
                <a16:creationId xmlns:a16="http://schemas.microsoft.com/office/drawing/2014/main" id="{ED98168B-4E66-7AF7-353B-3AF49A9902E2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7" y="919251"/>
            <a:ext cx="11082528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 dirty="0" err="1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GenAI</a:t>
            </a:r>
            <a:r>
              <a:rPr kumimoji="0" lang="en-US" strike="noStrike" kern="1200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-powered use-cases, not exhaustiv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17C0F7D-735E-4AEB-030A-66E3802B6A1F}"/>
              </a:ext>
            </a:extLst>
          </p:cNvPr>
          <p:cNvCxnSpPr>
            <a:cxnSpLocks/>
          </p:cNvCxnSpPr>
          <p:nvPr/>
        </p:nvCxnSpPr>
        <p:spPr>
          <a:xfrm flipV="1">
            <a:off x="4193665" y="2729557"/>
            <a:ext cx="0" cy="410957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E08EACB-A683-9087-DB4B-5B16A745E608}"/>
              </a:ext>
            </a:extLst>
          </p:cNvPr>
          <p:cNvCxnSpPr>
            <a:cxnSpLocks/>
          </p:cNvCxnSpPr>
          <p:nvPr/>
        </p:nvCxnSpPr>
        <p:spPr>
          <a:xfrm>
            <a:off x="554736" y="2729557"/>
            <a:ext cx="4118164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00B74E0-9965-393D-5A83-6681FDE50367}"/>
              </a:ext>
            </a:extLst>
          </p:cNvPr>
          <p:cNvCxnSpPr>
            <a:cxnSpLocks/>
          </p:cNvCxnSpPr>
          <p:nvPr/>
        </p:nvCxnSpPr>
        <p:spPr>
          <a:xfrm flipH="1" flipV="1">
            <a:off x="5846771" y="4322131"/>
            <a:ext cx="1790" cy="52921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7A7738A-85AB-D828-B008-CA5E01506700}"/>
              </a:ext>
            </a:extLst>
          </p:cNvPr>
          <p:cNvCxnSpPr>
            <a:cxnSpLocks/>
          </p:cNvCxnSpPr>
          <p:nvPr/>
        </p:nvCxnSpPr>
        <p:spPr>
          <a:xfrm>
            <a:off x="4300832" y="4851341"/>
            <a:ext cx="3228778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338E996-4278-2E13-DFD2-9A84B7DA7E8A}"/>
              </a:ext>
            </a:extLst>
          </p:cNvPr>
          <p:cNvCxnSpPr>
            <a:cxnSpLocks/>
          </p:cNvCxnSpPr>
          <p:nvPr/>
        </p:nvCxnSpPr>
        <p:spPr>
          <a:xfrm flipH="1" flipV="1">
            <a:off x="7408136" y="2729557"/>
            <a:ext cx="178" cy="410957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615C5BD-C0E6-3902-A186-047BAAD05118}"/>
              </a:ext>
            </a:extLst>
          </p:cNvPr>
          <p:cNvCxnSpPr>
            <a:cxnSpLocks/>
          </p:cNvCxnSpPr>
          <p:nvPr/>
        </p:nvCxnSpPr>
        <p:spPr>
          <a:xfrm>
            <a:off x="4830611" y="2729557"/>
            <a:ext cx="2913093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E533445-2BA5-8910-58F8-744E2812962F}"/>
              </a:ext>
            </a:extLst>
          </p:cNvPr>
          <p:cNvCxnSpPr>
            <a:cxnSpLocks/>
          </p:cNvCxnSpPr>
          <p:nvPr/>
        </p:nvCxnSpPr>
        <p:spPr>
          <a:xfrm flipH="1" flipV="1">
            <a:off x="9031308" y="4322131"/>
            <a:ext cx="1790" cy="52921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6F5CFA3-7198-F8E8-DA40-36CDFDE57C77}"/>
              </a:ext>
            </a:extLst>
          </p:cNvPr>
          <p:cNvCxnSpPr>
            <a:cxnSpLocks/>
          </p:cNvCxnSpPr>
          <p:nvPr/>
        </p:nvCxnSpPr>
        <p:spPr>
          <a:xfrm>
            <a:off x="7662025" y="4851341"/>
            <a:ext cx="3972763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24099C5-70BC-F02A-B45D-85421F22A691}"/>
              </a:ext>
            </a:extLst>
          </p:cNvPr>
          <p:cNvCxnSpPr>
            <a:cxnSpLocks/>
          </p:cNvCxnSpPr>
          <p:nvPr/>
        </p:nvCxnSpPr>
        <p:spPr>
          <a:xfrm flipH="1" flipV="1">
            <a:off x="10623913" y="2729557"/>
            <a:ext cx="178" cy="410957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26819AE-380E-E39E-7B50-7245E4A583E8}"/>
              </a:ext>
            </a:extLst>
          </p:cNvPr>
          <p:cNvCxnSpPr>
            <a:cxnSpLocks/>
          </p:cNvCxnSpPr>
          <p:nvPr/>
        </p:nvCxnSpPr>
        <p:spPr>
          <a:xfrm>
            <a:off x="7899569" y="2729557"/>
            <a:ext cx="3737696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4. Footnote">
            <a:extLst>
              <a:ext uri="{FF2B5EF4-FFF2-40B4-BE49-F238E27FC236}">
                <a16:creationId xmlns:a16="http://schemas.microsoft.com/office/drawing/2014/main" id="{A8E69DCB-5454-4B0A-30FD-2409617C9C93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3972" y="6275900"/>
            <a:ext cx="7278624" cy="12561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R="0" lvl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.	Commercial use-cases are not included due to limited potential for GenAI to be employed for commercial purpose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Legend1">
            <a:extLst>
              <a:ext uri="{FF2B5EF4-FFF2-40B4-BE49-F238E27FC236}">
                <a16:creationId xmlns:a16="http://schemas.microsoft.com/office/drawing/2014/main" id="{E057F53C-E3FB-DCB5-B4E2-D01E9A642E44}"/>
              </a:ext>
            </a:extLst>
          </p:cNvPr>
          <p:cNvSpPr txBox="1"/>
          <p:nvPr/>
        </p:nvSpPr>
        <p:spPr>
          <a:xfrm>
            <a:off x="10487911" y="1296448"/>
            <a:ext cx="468077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follow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DA3C673-B9D8-17C5-B1B4-CD8C83026D7F}"/>
              </a:ext>
            </a:extLst>
          </p:cNvPr>
          <p:cNvSpPr txBox="1">
            <a:spLocks/>
          </p:cNvSpPr>
          <p:nvPr/>
        </p:nvSpPr>
        <p:spPr>
          <a:xfrm>
            <a:off x="554735" y="6006466"/>
            <a:ext cx="11082528" cy="1692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 defTabSz="9143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599" lvl="1" indent="-22859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2" lvl="2" indent="-283463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1" lvl="3" indent="-18288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396" lvl="4" indent="-13716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>
                <a:solidFill>
                  <a:schemeClr val="accent2"/>
                </a:solidFill>
              </a:rPr>
              <a:t>End-to-end value chain:</a:t>
            </a:r>
            <a:r>
              <a:rPr lang="en-US" sz="1100" dirty="0"/>
              <a:t> </a:t>
            </a:r>
            <a:r>
              <a:rPr lang="en-US" sz="1100" dirty="0" err="1"/>
              <a:t>GenAI</a:t>
            </a:r>
            <a:r>
              <a:rPr lang="en-US" sz="1100" dirty="0"/>
              <a:t>-enabled Trading AI system to suggest personalized and straightforward recommendations for every stakeholder 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7B45027-057B-CF9C-3AB6-B3AF8156EF07}"/>
              </a:ext>
            </a:extLst>
          </p:cNvPr>
          <p:cNvCxnSpPr>
            <a:cxnSpLocks/>
          </p:cNvCxnSpPr>
          <p:nvPr/>
        </p:nvCxnSpPr>
        <p:spPr>
          <a:xfrm>
            <a:off x="554737" y="5943600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A8BD4B06-44E6-32F1-4963-494314DBA42B}"/>
              </a:ext>
            </a:extLst>
          </p:cNvPr>
          <p:cNvSpPr/>
          <p:nvPr/>
        </p:nvSpPr>
        <p:spPr>
          <a:xfrm>
            <a:off x="2447134" y="3271553"/>
            <a:ext cx="526477" cy="540032"/>
          </a:xfrm>
          <a:custGeom>
            <a:avLst/>
            <a:gdLst>
              <a:gd name="connsiteX0" fmla="*/ 0 w 526477"/>
              <a:gd name="connsiteY0" fmla="*/ 540032 h 540032"/>
              <a:gd name="connsiteX1" fmla="*/ 282632 w 526477"/>
              <a:gd name="connsiteY1" fmla="*/ 540032 h 540032"/>
              <a:gd name="connsiteX2" fmla="*/ 453423 w 526477"/>
              <a:gd name="connsiteY2" fmla="*/ 402475 h 540032"/>
              <a:gd name="connsiteX3" fmla="*/ 525057 w 526477"/>
              <a:gd name="connsiteY3" fmla="*/ 73848 h 540032"/>
              <a:gd name="connsiteX4" fmla="*/ 465562 w 526477"/>
              <a:gd name="connsiteY4" fmla="*/ 0 h 540032"/>
              <a:gd name="connsiteX5" fmla="*/ 187029 w 526477"/>
              <a:gd name="connsiteY5" fmla="*/ 0 h 540032"/>
              <a:gd name="connsiteX6" fmla="*/ 102964 w 526477"/>
              <a:gd name="connsiteY6" fmla="*/ 67710 h 540032"/>
              <a:gd name="connsiteX7" fmla="*/ 0 w 526477"/>
              <a:gd name="connsiteY7" fmla="*/ 540032 h 540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6477" h="540032">
                <a:moveTo>
                  <a:pt x="0" y="540032"/>
                </a:moveTo>
                <a:lnTo>
                  <a:pt x="282632" y="540032"/>
                </a:lnTo>
                <a:cubicBezTo>
                  <a:pt x="364813" y="540032"/>
                  <a:pt x="435903" y="482772"/>
                  <a:pt x="453423" y="402475"/>
                </a:cubicBezTo>
                <a:lnTo>
                  <a:pt x="525057" y="73848"/>
                </a:lnTo>
                <a:cubicBezTo>
                  <a:pt x="533331" y="35895"/>
                  <a:pt x="504409" y="0"/>
                  <a:pt x="465562" y="0"/>
                </a:cubicBezTo>
                <a:lnTo>
                  <a:pt x="187029" y="0"/>
                </a:lnTo>
                <a:cubicBezTo>
                  <a:pt x="146570" y="0"/>
                  <a:pt x="111588" y="28184"/>
                  <a:pt x="102964" y="67710"/>
                </a:cubicBezTo>
                <a:lnTo>
                  <a:pt x="0" y="540032"/>
                </a:ln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A646A550-A0B3-AA5C-19FD-29DBE754F4A7}"/>
              </a:ext>
            </a:extLst>
          </p:cNvPr>
          <p:cNvSpPr/>
          <p:nvPr/>
        </p:nvSpPr>
        <p:spPr>
          <a:xfrm>
            <a:off x="2334711" y="3981638"/>
            <a:ext cx="34010" cy="42056"/>
          </a:xfrm>
          <a:custGeom>
            <a:avLst/>
            <a:gdLst>
              <a:gd name="connsiteX0" fmla="*/ 30942 w 34010"/>
              <a:gd name="connsiteY0" fmla="*/ 30456 h 42056"/>
              <a:gd name="connsiteX1" fmla="*/ 34011 w 34010"/>
              <a:gd name="connsiteY1" fmla="*/ 9479 h 42056"/>
              <a:gd name="connsiteX2" fmla="*/ 16763 w 34010"/>
              <a:gd name="connsiteY2" fmla="*/ 0 h 42056"/>
              <a:gd name="connsiteX3" fmla="*/ 12023 w 34010"/>
              <a:gd name="connsiteY3" fmla="*/ 9673 h 42056"/>
              <a:gd name="connsiteX4" fmla="*/ 0 w 34010"/>
              <a:gd name="connsiteY4" fmla="*/ 32845 h 42056"/>
              <a:gd name="connsiteX5" fmla="*/ 30922 w 34010"/>
              <a:gd name="connsiteY5" fmla="*/ 30476 h 42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010" h="42056">
                <a:moveTo>
                  <a:pt x="30942" y="30456"/>
                </a:moveTo>
                <a:cubicBezTo>
                  <a:pt x="21133" y="23502"/>
                  <a:pt x="32981" y="14004"/>
                  <a:pt x="34011" y="9479"/>
                </a:cubicBezTo>
                <a:lnTo>
                  <a:pt x="16763" y="0"/>
                </a:lnTo>
                <a:lnTo>
                  <a:pt x="12023" y="9673"/>
                </a:lnTo>
                <a:cubicBezTo>
                  <a:pt x="10877" y="12023"/>
                  <a:pt x="3710" y="22900"/>
                  <a:pt x="0" y="32845"/>
                </a:cubicBezTo>
                <a:cubicBezTo>
                  <a:pt x="16996" y="45626"/>
                  <a:pt x="40848" y="45354"/>
                  <a:pt x="30922" y="30476"/>
                </a:cubicBezTo>
                <a:close/>
              </a:path>
            </a:pathLst>
          </a:custGeom>
          <a:solidFill>
            <a:srgbClr val="FB6D7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569B0E3F-07B7-24DB-6939-B4D85E4AA057}"/>
              </a:ext>
            </a:extLst>
          </p:cNvPr>
          <p:cNvSpPr/>
          <p:nvPr/>
        </p:nvSpPr>
        <p:spPr>
          <a:xfrm>
            <a:off x="2332529" y="4012113"/>
            <a:ext cx="59190" cy="18180"/>
          </a:xfrm>
          <a:custGeom>
            <a:avLst/>
            <a:gdLst>
              <a:gd name="connsiteX0" fmla="*/ 47614 w 59190"/>
              <a:gd name="connsiteY0" fmla="*/ 7556 h 18180"/>
              <a:gd name="connsiteX1" fmla="*/ 33415 w 59190"/>
              <a:gd name="connsiteY1" fmla="*/ 214 h 18180"/>
              <a:gd name="connsiteX2" fmla="*/ 33143 w 59190"/>
              <a:gd name="connsiteY2" fmla="*/ 0 h 18180"/>
              <a:gd name="connsiteX3" fmla="*/ 33784 w 59190"/>
              <a:gd name="connsiteY3" fmla="*/ 4720 h 18180"/>
              <a:gd name="connsiteX4" fmla="*/ 2221 w 59190"/>
              <a:gd name="connsiteY4" fmla="*/ 2370 h 18180"/>
              <a:gd name="connsiteX5" fmla="*/ 2221 w 59190"/>
              <a:gd name="connsiteY5" fmla="*/ 18180 h 18180"/>
              <a:gd name="connsiteX6" fmla="*/ 59190 w 59190"/>
              <a:gd name="connsiteY6" fmla="*/ 18180 h 18180"/>
              <a:gd name="connsiteX7" fmla="*/ 47633 w 59190"/>
              <a:gd name="connsiteY7" fmla="*/ 7575 h 18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190" h="18180">
                <a:moveTo>
                  <a:pt x="47614" y="7556"/>
                </a:moveTo>
                <a:cubicBezTo>
                  <a:pt x="42486" y="5963"/>
                  <a:pt x="37863" y="3205"/>
                  <a:pt x="33415" y="214"/>
                </a:cubicBezTo>
                <a:cubicBezTo>
                  <a:pt x="33299" y="136"/>
                  <a:pt x="33241" y="58"/>
                  <a:pt x="33143" y="0"/>
                </a:cubicBezTo>
                <a:cubicBezTo>
                  <a:pt x="33649" y="1534"/>
                  <a:pt x="34270" y="3069"/>
                  <a:pt x="33784" y="4720"/>
                </a:cubicBezTo>
                <a:cubicBezTo>
                  <a:pt x="24908" y="7109"/>
                  <a:pt x="10282" y="4118"/>
                  <a:pt x="2221" y="2370"/>
                </a:cubicBezTo>
                <a:cubicBezTo>
                  <a:pt x="-246" y="8993"/>
                  <a:pt x="-1197" y="15189"/>
                  <a:pt x="2221" y="18180"/>
                </a:cubicBezTo>
                <a:lnTo>
                  <a:pt x="59190" y="18180"/>
                </a:lnTo>
                <a:cubicBezTo>
                  <a:pt x="59190" y="14160"/>
                  <a:pt x="57598" y="10664"/>
                  <a:pt x="47633" y="7575"/>
                </a:cubicBezTo>
                <a:close/>
              </a:path>
            </a:pathLst>
          </a:custGeom>
          <a:solidFill>
            <a:srgbClr val="26479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04" name="Freeform: Shape 2303">
            <a:extLst>
              <a:ext uri="{FF2B5EF4-FFF2-40B4-BE49-F238E27FC236}">
                <a16:creationId xmlns:a16="http://schemas.microsoft.com/office/drawing/2014/main" id="{541F169C-A16D-5B30-644C-D4B4529D87B3}"/>
              </a:ext>
            </a:extLst>
          </p:cNvPr>
          <p:cNvSpPr/>
          <p:nvPr/>
        </p:nvSpPr>
        <p:spPr>
          <a:xfrm>
            <a:off x="2334124" y="3768387"/>
            <a:ext cx="74299" cy="42634"/>
          </a:xfrm>
          <a:custGeom>
            <a:avLst/>
            <a:gdLst>
              <a:gd name="connsiteX0" fmla="*/ 74280 w 74299"/>
              <a:gd name="connsiteY0" fmla="*/ 26338 h 42634"/>
              <a:gd name="connsiteX1" fmla="*/ 74280 w 74299"/>
              <a:gd name="connsiteY1" fmla="*/ 26319 h 42634"/>
              <a:gd name="connsiteX2" fmla="*/ 3384 w 74299"/>
              <a:gd name="connsiteY2" fmla="*/ 0 h 42634"/>
              <a:gd name="connsiteX3" fmla="*/ 3384 w 74299"/>
              <a:gd name="connsiteY3" fmla="*/ 0 h 42634"/>
              <a:gd name="connsiteX4" fmla="*/ 16262 w 74299"/>
              <a:gd name="connsiteY4" fmla="*/ 31350 h 42634"/>
              <a:gd name="connsiteX5" fmla="*/ 68978 w 74299"/>
              <a:gd name="connsiteY5" fmla="*/ 42635 h 42634"/>
              <a:gd name="connsiteX6" fmla="*/ 74300 w 74299"/>
              <a:gd name="connsiteY6" fmla="*/ 26358 h 42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4299" h="42634">
                <a:moveTo>
                  <a:pt x="74280" y="26338"/>
                </a:moveTo>
                <a:cubicBezTo>
                  <a:pt x="74280" y="26338"/>
                  <a:pt x="74280" y="26338"/>
                  <a:pt x="74280" y="26319"/>
                </a:cubicBezTo>
                <a:lnTo>
                  <a:pt x="3384" y="0"/>
                </a:lnTo>
                <a:lnTo>
                  <a:pt x="3384" y="0"/>
                </a:lnTo>
                <a:cubicBezTo>
                  <a:pt x="-4540" y="12062"/>
                  <a:pt x="2141" y="28320"/>
                  <a:pt x="16262" y="31350"/>
                </a:cubicBezTo>
                <a:lnTo>
                  <a:pt x="68978" y="42635"/>
                </a:lnTo>
                <a:lnTo>
                  <a:pt x="74300" y="26358"/>
                </a:ln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05" name="Freeform: Shape 2304">
            <a:extLst>
              <a:ext uri="{FF2B5EF4-FFF2-40B4-BE49-F238E27FC236}">
                <a16:creationId xmlns:a16="http://schemas.microsoft.com/office/drawing/2014/main" id="{C2B42CEF-FF1C-BB35-7D8F-FE4D470A152B}"/>
              </a:ext>
            </a:extLst>
          </p:cNvPr>
          <p:cNvSpPr/>
          <p:nvPr/>
        </p:nvSpPr>
        <p:spPr>
          <a:xfrm>
            <a:off x="2447134" y="3736863"/>
            <a:ext cx="61380" cy="74722"/>
          </a:xfrm>
          <a:custGeom>
            <a:avLst/>
            <a:gdLst>
              <a:gd name="connsiteX0" fmla="*/ 0 w 61380"/>
              <a:gd name="connsiteY0" fmla="*/ 74722 h 74722"/>
              <a:gd name="connsiteX1" fmla="*/ 47121 w 61380"/>
              <a:gd name="connsiteY1" fmla="*/ 74722 h 74722"/>
              <a:gd name="connsiteX2" fmla="*/ 61184 w 61380"/>
              <a:gd name="connsiteY2" fmla="*/ 10217 h 74722"/>
              <a:gd name="connsiteX3" fmla="*/ 52949 w 61380"/>
              <a:gd name="connsiteY3" fmla="*/ 0 h 74722"/>
              <a:gd name="connsiteX4" fmla="*/ 25872 w 61380"/>
              <a:gd name="connsiteY4" fmla="*/ 0 h 74722"/>
              <a:gd name="connsiteX5" fmla="*/ 14237 w 61380"/>
              <a:gd name="connsiteY5" fmla="*/ 9362 h 74722"/>
              <a:gd name="connsiteX6" fmla="*/ 0 w 61380"/>
              <a:gd name="connsiteY6" fmla="*/ 74722 h 74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380" h="74722">
                <a:moveTo>
                  <a:pt x="0" y="74722"/>
                </a:moveTo>
                <a:lnTo>
                  <a:pt x="47121" y="74722"/>
                </a:lnTo>
                <a:lnTo>
                  <a:pt x="61184" y="10217"/>
                </a:lnTo>
                <a:cubicBezTo>
                  <a:pt x="62330" y="4972"/>
                  <a:pt x="58329" y="0"/>
                  <a:pt x="52949" y="0"/>
                </a:cubicBezTo>
                <a:lnTo>
                  <a:pt x="25872" y="0"/>
                </a:lnTo>
                <a:cubicBezTo>
                  <a:pt x="20278" y="0"/>
                  <a:pt x="15442" y="3904"/>
                  <a:pt x="14237" y="9362"/>
                </a:cubicBezTo>
                <a:lnTo>
                  <a:pt x="0" y="74722"/>
                </a:ln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06" name="Freeform: Shape 2305">
            <a:extLst>
              <a:ext uri="{FF2B5EF4-FFF2-40B4-BE49-F238E27FC236}">
                <a16:creationId xmlns:a16="http://schemas.microsoft.com/office/drawing/2014/main" id="{56432210-5305-0324-3BA5-2017F1794133}"/>
              </a:ext>
            </a:extLst>
          </p:cNvPr>
          <p:cNvSpPr/>
          <p:nvPr/>
        </p:nvSpPr>
        <p:spPr>
          <a:xfrm>
            <a:off x="2425594" y="3804398"/>
            <a:ext cx="65146" cy="7186"/>
          </a:xfrm>
          <a:custGeom>
            <a:avLst/>
            <a:gdLst>
              <a:gd name="connsiteX0" fmla="*/ 19 w 65146"/>
              <a:gd name="connsiteY0" fmla="*/ 0 h 7186"/>
              <a:gd name="connsiteX1" fmla="*/ 57960 w 65146"/>
              <a:gd name="connsiteY1" fmla="*/ 0 h 7186"/>
              <a:gd name="connsiteX2" fmla="*/ 65147 w 65146"/>
              <a:gd name="connsiteY2" fmla="*/ 7187 h 7186"/>
              <a:gd name="connsiteX3" fmla="*/ 0 w 65146"/>
              <a:gd name="connsiteY3" fmla="*/ 7187 h 7186"/>
              <a:gd name="connsiteX4" fmla="*/ 0 w 65146"/>
              <a:gd name="connsiteY4" fmla="*/ 0 h 7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146" h="7186">
                <a:moveTo>
                  <a:pt x="19" y="0"/>
                </a:moveTo>
                <a:lnTo>
                  <a:pt x="57960" y="0"/>
                </a:lnTo>
                <a:cubicBezTo>
                  <a:pt x="61942" y="0"/>
                  <a:pt x="65147" y="3224"/>
                  <a:pt x="65147" y="7187"/>
                </a:cubicBezTo>
                <a:lnTo>
                  <a:pt x="0" y="7187"/>
                </a:lnTo>
                <a:lnTo>
                  <a:pt x="0" y="0"/>
                </a:lnTo>
                <a:close/>
              </a:path>
            </a:pathLst>
          </a:custGeom>
          <a:solidFill>
            <a:srgbClr val="9EC5F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07" name="Freeform: Shape 2306">
            <a:extLst>
              <a:ext uri="{FF2B5EF4-FFF2-40B4-BE49-F238E27FC236}">
                <a16:creationId xmlns:a16="http://schemas.microsoft.com/office/drawing/2014/main" id="{CD12F651-16ED-444C-1D8A-7AE9BA70D0BA}"/>
              </a:ext>
            </a:extLst>
          </p:cNvPr>
          <p:cNvSpPr/>
          <p:nvPr/>
        </p:nvSpPr>
        <p:spPr>
          <a:xfrm rot="10800000">
            <a:off x="2401528" y="3804398"/>
            <a:ext cx="24085" cy="7186"/>
          </a:xfrm>
          <a:custGeom>
            <a:avLst/>
            <a:gdLst>
              <a:gd name="connsiteX0" fmla="*/ 0 w 24085"/>
              <a:gd name="connsiteY0" fmla="*/ 0 h 7186"/>
              <a:gd name="connsiteX1" fmla="*/ 24085 w 24085"/>
              <a:gd name="connsiteY1" fmla="*/ 0 h 7186"/>
              <a:gd name="connsiteX2" fmla="*/ 24085 w 24085"/>
              <a:gd name="connsiteY2" fmla="*/ 7187 h 7186"/>
              <a:gd name="connsiteX3" fmla="*/ 0 w 24085"/>
              <a:gd name="connsiteY3" fmla="*/ 7187 h 7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85" h="7186">
                <a:moveTo>
                  <a:pt x="0" y="0"/>
                </a:moveTo>
                <a:lnTo>
                  <a:pt x="24085" y="0"/>
                </a:lnTo>
                <a:lnTo>
                  <a:pt x="24085" y="7187"/>
                </a:lnTo>
                <a:lnTo>
                  <a:pt x="0" y="7187"/>
                </a:ln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08" name="Freeform: Shape 2307">
            <a:extLst>
              <a:ext uri="{FF2B5EF4-FFF2-40B4-BE49-F238E27FC236}">
                <a16:creationId xmlns:a16="http://schemas.microsoft.com/office/drawing/2014/main" id="{A73B954C-05DB-1C81-FDC9-C284624ACAFA}"/>
              </a:ext>
            </a:extLst>
          </p:cNvPr>
          <p:cNvSpPr/>
          <p:nvPr/>
        </p:nvSpPr>
        <p:spPr>
          <a:xfrm>
            <a:off x="2397740" y="3787512"/>
            <a:ext cx="39895" cy="24442"/>
          </a:xfrm>
          <a:custGeom>
            <a:avLst/>
            <a:gdLst>
              <a:gd name="connsiteX0" fmla="*/ 39876 w 39895"/>
              <a:gd name="connsiteY0" fmla="*/ 24287 h 24442"/>
              <a:gd name="connsiteX1" fmla="*/ 58 w 39895"/>
              <a:gd name="connsiteY1" fmla="*/ 24442 h 24442"/>
              <a:gd name="connsiteX2" fmla="*/ 0 w 39895"/>
              <a:gd name="connsiteY2" fmla="*/ 10011 h 24442"/>
              <a:gd name="connsiteX3" fmla="*/ 21987 w 39895"/>
              <a:gd name="connsiteY3" fmla="*/ 920 h 24442"/>
              <a:gd name="connsiteX4" fmla="*/ 36439 w 39895"/>
              <a:gd name="connsiteY4" fmla="*/ 5096 h 24442"/>
              <a:gd name="connsiteX5" fmla="*/ 36439 w 39895"/>
              <a:gd name="connsiteY5" fmla="*/ 5096 h 24442"/>
              <a:gd name="connsiteX6" fmla="*/ 39857 w 39895"/>
              <a:gd name="connsiteY6" fmla="*/ 15740 h 24442"/>
              <a:gd name="connsiteX7" fmla="*/ 39896 w 39895"/>
              <a:gd name="connsiteY7" fmla="*/ 24306 h 24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895" h="24442">
                <a:moveTo>
                  <a:pt x="39876" y="24287"/>
                </a:moveTo>
                <a:lnTo>
                  <a:pt x="58" y="24442"/>
                </a:lnTo>
                <a:lnTo>
                  <a:pt x="0" y="10011"/>
                </a:lnTo>
                <a:lnTo>
                  <a:pt x="21987" y="920"/>
                </a:lnTo>
                <a:cubicBezTo>
                  <a:pt x="27193" y="-1236"/>
                  <a:pt x="33175" y="493"/>
                  <a:pt x="36439" y="5096"/>
                </a:cubicBezTo>
                <a:lnTo>
                  <a:pt x="36439" y="5096"/>
                </a:lnTo>
                <a:cubicBezTo>
                  <a:pt x="38653" y="8204"/>
                  <a:pt x="39838" y="11933"/>
                  <a:pt x="39857" y="15740"/>
                </a:cubicBezTo>
                <a:lnTo>
                  <a:pt x="39896" y="24306"/>
                </a:lnTo>
                <a:close/>
              </a:path>
            </a:pathLst>
          </a:custGeom>
          <a:solidFill>
            <a:srgbClr val="FB6D7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09" name="Freeform: Shape 2308">
            <a:extLst>
              <a:ext uri="{FF2B5EF4-FFF2-40B4-BE49-F238E27FC236}">
                <a16:creationId xmlns:a16="http://schemas.microsoft.com/office/drawing/2014/main" id="{35507C67-67A1-122A-A12D-3540319C7106}"/>
              </a:ext>
            </a:extLst>
          </p:cNvPr>
          <p:cNvSpPr/>
          <p:nvPr/>
        </p:nvSpPr>
        <p:spPr>
          <a:xfrm>
            <a:off x="2318900" y="3850176"/>
            <a:ext cx="105673" cy="153993"/>
          </a:xfrm>
          <a:custGeom>
            <a:avLst/>
            <a:gdLst>
              <a:gd name="connsiteX0" fmla="*/ 835 w 105673"/>
              <a:gd name="connsiteY0" fmla="*/ 32888 h 153993"/>
              <a:gd name="connsiteX1" fmla="*/ 56756 w 105673"/>
              <a:gd name="connsiteY1" fmla="*/ 51146 h 153993"/>
              <a:gd name="connsiteX2" fmla="*/ 26455 w 105673"/>
              <a:gd name="connsiteY2" fmla="*/ 142903 h 153993"/>
              <a:gd name="connsiteX3" fmla="*/ 55085 w 105673"/>
              <a:gd name="connsiteY3" fmla="*/ 153993 h 153993"/>
              <a:gd name="connsiteX4" fmla="*/ 103683 w 105673"/>
              <a:gd name="connsiteY4" fmla="*/ 52855 h 153993"/>
              <a:gd name="connsiteX5" fmla="*/ 93194 w 105673"/>
              <a:gd name="connsiteY5" fmla="*/ 25565 h 153993"/>
              <a:gd name="connsiteX6" fmla="*/ 35953 w 105673"/>
              <a:gd name="connsiteY6" fmla="*/ 2102 h 153993"/>
              <a:gd name="connsiteX7" fmla="*/ 0 w 105673"/>
              <a:gd name="connsiteY7" fmla="*/ 16028 h 153993"/>
              <a:gd name="connsiteX8" fmla="*/ 835 w 105673"/>
              <a:gd name="connsiteY8" fmla="*/ 32888 h 15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673" h="153993">
                <a:moveTo>
                  <a:pt x="835" y="32888"/>
                </a:moveTo>
                <a:lnTo>
                  <a:pt x="56756" y="51146"/>
                </a:lnTo>
                <a:lnTo>
                  <a:pt x="26455" y="142903"/>
                </a:lnTo>
                <a:lnTo>
                  <a:pt x="55085" y="153993"/>
                </a:lnTo>
                <a:lnTo>
                  <a:pt x="103683" y="52855"/>
                </a:lnTo>
                <a:cubicBezTo>
                  <a:pt x="108694" y="42444"/>
                  <a:pt x="103896" y="29955"/>
                  <a:pt x="93194" y="25565"/>
                </a:cubicBezTo>
                <a:lnTo>
                  <a:pt x="35953" y="2102"/>
                </a:lnTo>
                <a:cubicBezTo>
                  <a:pt x="22182" y="-3551"/>
                  <a:pt x="6390" y="2568"/>
                  <a:pt x="0" y="16028"/>
                </a:cubicBezTo>
                <a:lnTo>
                  <a:pt x="835" y="32888"/>
                </a:ln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10" name="Freeform: Shape 2309">
            <a:extLst>
              <a:ext uri="{FF2B5EF4-FFF2-40B4-BE49-F238E27FC236}">
                <a16:creationId xmlns:a16="http://schemas.microsoft.com/office/drawing/2014/main" id="{9F1D4AC9-A339-B4F2-3C13-82358CA64782}"/>
              </a:ext>
            </a:extLst>
          </p:cNvPr>
          <p:cNvSpPr/>
          <p:nvPr/>
        </p:nvSpPr>
        <p:spPr>
          <a:xfrm>
            <a:off x="2291863" y="3953318"/>
            <a:ext cx="17267" cy="50675"/>
          </a:xfrm>
          <a:custGeom>
            <a:avLst/>
            <a:gdLst>
              <a:gd name="connsiteX0" fmla="*/ 0 w 17267"/>
              <a:gd name="connsiteY0" fmla="*/ 0 h 50675"/>
              <a:gd name="connsiteX1" fmla="*/ 17268 w 17267"/>
              <a:gd name="connsiteY1" fmla="*/ 0 h 50675"/>
              <a:gd name="connsiteX2" fmla="*/ 17268 w 17267"/>
              <a:gd name="connsiteY2" fmla="*/ 50676 h 50675"/>
              <a:gd name="connsiteX3" fmla="*/ 0 w 17267"/>
              <a:gd name="connsiteY3" fmla="*/ 50676 h 50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67" h="50675">
                <a:moveTo>
                  <a:pt x="0" y="0"/>
                </a:moveTo>
                <a:lnTo>
                  <a:pt x="17268" y="0"/>
                </a:lnTo>
                <a:lnTo>
                  <a:pt x="17268" y="50676"/>
                </a:lnTo>
                <a:lnTo>
                  <a:pt x="0" y="50676"/>
                </a:lnTo>
                <a:close/>
              </a:path>
            </a:pathLst>
          </a:custGeom>
          <a:solidFill>
            <a:srgbClr val="9EC5F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62" name="Freeform: Shape 2461">
            <a:extLst>
              <a:ext uri="{FF2B5EF4-FFF2-40B4-BE49-F238E27FC236}">
                <a16:creationId xmlns:a16="http://schemas.microsoft.com/office/drawing/2014/main" id="{1A8A920B-616D-2F1C-AC18-C2C83123CD6B}"/>
              </a:ext>
            </a:extLst>
          </p:cNvPr>
          <p:cNvSpPr/>
          <p:nvPr/>
        </p:nvSpPr>
        <p:spPr>
          <a:xfrm>
            <a:off x="2224813" y="3993875"/>
            <a:ext cx="75693" cy="18316"/>
          </a:xfrm>
          <a:custGeom>
            <a:avLst/>
            <a:gdLst>
              <a:gd name="connsiteX0" fmla="*/ 75693 w 75693"/>
              <a:gd name="connsiteY0" fmla="*/ 0 h 18316"/>
              <a:gd name="connsiteX1" fmla="*/ 8100 w 75693"/>
              <a:gd name="connsiteY1" fmla="*/ 9051 h 18316"/>
              <a:gd name="connsiteX2" fmla="*/ 0 w 75693"/>
              <a:gd name="connsiteY2" fmla="*/ 18316 h 18316"/>
              <a:gd name="connsiteX3" fmla="*/ 75693 w 75693"/>
              <a:gd name="connsiteY3" fmla="*/ 18316 h 18316"/>
              <a:gd name="connsiteX4" fmla="*/ 75693 w 75693"/>
              <a:gd name="connsiteY4" fmla="*/ 19 h 18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93" h="18316">
                <a:moveTo>
                  <a:pt x="75693" y="0"/>
                </a:moveTo>
                <a:lnTo>
                  <a:pt x="8100" y="9051"/>
                </a:lnTo>
                <a:cubicBezTo>
                  <a:pt x="3457" y="9673"/>
                  <a:pt x="0" y="13635"/>
                  <a:pt x="0" y="18316"/>
                </a:cubicBezTo>
                <a:lnTo>
                  <a:pt x="75693" y="18316"/>
                </a:lnTo>
                <a:lnTo>
                  <a:pt x="75693" y="19"/>
                </a:ln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63" name="Freeform: Shape 2462">
            <a:extLst>
              <a:ext uri="{FF2B5EF4-FFF2-40B4-BE49-F238E27FC236}">
                <a16:creationId xmlns:a16="http://schemas.microsoft.com/office/drawing/2014/main" id="{E9B8CF77-06F7-77CA-AD51-519ED10689AF}"/>
              </a:ext>
            </a:extLst>
          </p:cNvPr>
          <p:cNvSpPr/>
          <p:nvPr/>
        </p:nvSpPr>
        <p:spPr>
          <a:xfrm>
            <a:off x="2300506" y="3993855"/>
            <a:ext cx="75693" cy="18316"/>
          </a:xfrm>
          <a:custGeom>
            <a:avLst/>
            <a:gdLst>
              <a:gd name="connsiteX0" fmla="*/ 0 w 75693"/>
              <a:gd name="connsiteY0" fmla="*/ 18316 h 18316"/>
              <a:gd name="connsiteX1" fmla="*/ 75693 w 75693"/>
              <a:gd name="connsiteY1" fmla="*/ 18316 h 18316"/>
              <a:gd name="connsiteX2" fmla="*/ 67594 w 75693"/>
              <a:gd name="connsiteY2" fmla="*/ 9051 h 18316"/>
              <a:gd name="connsiteX3" fmla="*/ 0 w 75693"/>
              <a:gd name="connsiteY3" fmla="*/ 0 h 18316"/>
              <a:gd name="connsiteX4" fmla="*/ 0 w 75693"/>
              <a:gd name="connsiteY4" fmla="*/ 18297 h 18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693" h="18316">
                <a:moveTo>
                  <a:pt x="0" y="18316"/>
                </a:moveTo>
                <a:lnTo>
                  <a:pt x="75693" y="18316"/>
                </a:lnTo>
                <a:cubicBezTo>
                  <a:pt x="75693" y="13635"/>
                  <a:pt x="72236" y="9673"/>
                  <a:pt x="67594" y="9051"/>
                </a:cubicBezTo>
                <a:lnTo>
                  <a:pt x="0" y="0"/>
                </a:lnTo>
                <a:lnTo>
                  <a:pt x="0" y="18297"/>
                </a:lnTo>
                <a:close/>
              </a:path>
            </a:pathLst>
          </a:custGeom>
          <a:solidFill>
            <a:srgbClr val="9EC5F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64" name="Freeform: Shape 2463">
            <a:extLst>
              <a:ext uri="{FF2B5EF4-FFF2-40B4-BE49-F238E27FC236}">
                <a16:creationId xmlns:a16="http://schemas.microsoft.com/office/drawing/2014/main" id="{46F08501-0490-89D8-961F-5D53431A9EF0}"/>
              </a:ext>
            </a:extLst>
          </p:cNvPr>
          <p:cNvSpPr/>
          <p:nvPr/>
        </p:nvSpPr>
        <p:spPr>
          <a:xfrm>
            <a:off x="2213062" y="4012172"/>
            <a:ext cx="18102" cy="18102"/>
          </a:xfrm>
          <a:custGeom>
            <a:avLst/>
            <a:gdLst>
              <a:gd name="connsiteX0" fmla="*/ 9051 w 18102"/>
              <a:gd name="connsiteY0" fmla="*/ 18103 h 18102"/>
              <a:gd name="connsiteX1" fmla="*/ 9051 w 18102"/>
              <a:gd name="connsiteY1" fmla="*/ 18103 h 18102"/>
              <a:gd name="connsiteX2" fmla="*/ 0 w 18102"/>
              <a:gd name="connsiteY2" fmla="*/ 9051 h 18102"/>
              <a:gd name="connsiteX3" fmla="*/ 0 w 18102"/>
              <a:gd name="connsiteY3" fmla="*/ 9051 h 18102"/>
              <a:gd name="connsiteX4" fmla="*/ 9051 w 18102"/>
              <a:gd name="connsiteY4" fmla="*/ 0 h 18102"/>
              <a:gd name="connsiteX5" fmla="*/ 18103 w 18102"/>
              <a:gd name="connsiteY5" fmla="*/ 0 h 18102"/>
              <a:gd name="connsiteX6" fmla="*/ 18103 w 18102"/>
              <a:gd name="connsiteY6" fmla="*/ 9051 h 18102"/>
              <a:gd name="connsiteX7" fmla="*/ 9051 w 18102"/>
              <a:gd name="connsiteY7" fmla="*/ 18103 h 1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02" h="18102">
                <a:moveTo>
                  <a:pt x="9051" y="18103"/>
                </a:moveTo>
                <a:lnTo>
                  <a:pt x="9051" y="18103"/>
                </a:lnTo>
                <a:cubicBezTo>
                  <a:pt x="4060" y="18103"/>
                  <a:pt x="0" y="14043"/>
                  <a:pt x="0" y="9051"/>
                </a:cubicBezTo>
                <a:lnTo>
                  <a:pt x="0" y="9051"/>
                </a:lnTo>
                <a:cubicBezTo>
                  <a:pt x="0" y="4060"/>
                  <a:pt x="4060" y="0"/>
                  <a:pt x="9051" y="0"/>
                </a:cubicBezTo>
                <a:lnTo>
                  <a:pt x="18103" y="0"/>
                </a:lnTo>
                <a:lnTo>
                  <a:pt x="18103" y="9051"/>
                </a:lnTo>
                <a:cubicBezTo>
                  <a:pt x="18103" y="14043"/>
                  <a:pt x="14043" y="18103"/>
                  <a:pt x="9051" y="18103"/>
                </a:cubicBezTo>
                <a:close/>
              </a:path>
            </a:pathLst>
          </a:custGeom>
          <a:solidFill>
            <a:srgbClr val="9EC5F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65" name="Freeform: Shape 2464">
            <a:extLst>
              <a:ext uri="{FF2B5EF4-FFF2-40B4-BE49-F238E27FC236}">
                <a16:creationId xmlns:a16="http://schemas.microsoft.com/office/drawing/2014/main" id="{0319BA51-2529-3FE4-6D4F-7B8BD2717BE1}"/>
              </a:ext>
            </a:extLst>
          </p:cNvPr>
          <p:cNvSpPr/>
          <p:nvPr/>
        </p:nvSpPr>
        <p:spPr>
          <a:xfrm>
            <a:off x="2272789" y="4012172"/>
            <a:ext cx="18102" cy="18102"/>
          </a:xfrm>
          <a:custGeom>
            <a:avLst/>
            <a:gdLst>
              <a:gd name="connsiteX0" fmla="*/ 9051 w 18102"/>
              <a:gd name="connsiteY0" fmla="*/ 18103 h 18102"/>
              <a:gd name="connsiteX1" fmla="*/ 9051 w 18102"/>
              <a:gd name="connsiteY1" fmla="*/ 18103 h 18102"/>
              <a:gd name="connsiteX2" fmla="*/ 0 w 18102"/>
              <a:gd name="connsiteY2" fmla="*/ 9051 h 18102"/>
              <a:gd name="connsiteX3" fmla="*/ 0 w 18102"/>
              <a:gd name="connsiteY3" fmla="*/ 9051 h 18102"/>
              <a:gd name="connsiteX4" fmla="*/ 9051 w 18102"/>
              <a:gd name="connsiteY4" fmla="*/ 0 h 18102"/>
              <a:gd name="connsiteX5" fmla="*/ 18103 w 18102"/>
              <a:gd name="connsiteY5" fmla="*/ 0 h 18102"/>
              <a:gd name="connsiteX6" fmla="*/ 18103 w 18102"/>
              <a:gd name="connsiteY6" fmla="*/ 9051 h 18102"/>
              <a:gd name="connsiteX7" fmla="*/ 9051 w 18102"/>
              <a:gd name="connsiteY7" fmla="*/ 18103 h 1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02" h="18102">
                <a:moveTo>
                  <a:pt x="9051" y="18103"/>
                </a:moveTo>
                <a:lnTo>
                  <a:pt x="9051" y="18103"/>
                </a:lnTo>
                <a:cubicBezTo>
                  <a:pt x="4060" y="18103"/>
                  <a:pt x="0" y="14043"/>
                  <a:pt x="0" y="9051"/>
                </a:cubicBezTo>
                <a:lnTo>
                  <a:pt x="0" y="9051"/>
                </a:lnTo>
                <a:cubicBezTo>
                  <a:pt x="0" y="4060"/>
                  <a:pt x="4060" y="0"/>
                  <a:pt x="9051" y="0"/>
                </a:cubicBezTo>
                <a:lnTo>
                  <a:pt x="18103" y="0"/>
                </a:lnTo>
                <a:lnTo>
                  <a:pt x="18103" y="9051"/>
                </a:lnTo>
                <a:cubicBezTo>
                  <a:pt x="18103" y="14043"/>
                  <a:pt x="14043" y="18103"/>
                  <a:pt x="9051" y="18103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72" name="Freeform: Shape 2471">
            <a:extLst>
              <a:ext uri="{FF2B5EF4-FFF2-40B4-BE49-F238E27FC236}">
                <a16:creationId xmlns:a16="http://schemas.microsoft.com/office/drawing/2014/main" id="{EA30E10D-4846-42B1-2B04-64D0B1748DF0}"/>
              </a:ext>
            </a:extLst>
          </p:cNvPr>
          <p:cNvSpPr/>
          <p:nvPr/>
        </p:nvSpPr>
        <p:spPr>
          <a:xfrm>
            <a:off x="2358116" y="4012172"/>
            <a:ext cx="18102" cy="18102"/>
          </a:xfrm>
          <a:custGeom>
            <a:avLst/>
            <a:gdLst>
              <a:gd name="connsiteX0" fmla="*/ 9051 w 18102"/>
              <a:gd name="connsiteY0" fmla="*/ 18103 h 18102"/>
              <a:gd name="connsiteX1" fmla="*/ 9051 w 18102"/>
              <a:gd name="connsiteY1" fmla="*/ 18103 h 18102"/>
              <a:gd name="connsiteX2" fmla="*/ 0 w 18102"/>
              <a:gd name="connsiteY2" fmla="*/ 9051 h 18102"/>
              <a:gd name="connsiteX3" fmla="*/ 0 w 18102"/>
              <a:gd name="connsiteY3" fmla="*/ 9051 h 18102"/>
              <a:gd name="connsiteX4" fmla="*/ 9051 w 18102"/>
              <a:gd name="connsiteY4" fmla="*/ 0 h 18102"/>
              <a:gd name="connsiteX5" fmla="*/ 18103 w 18102"/>
              <a:gd name="connsiteY5" fmla="*/ 0 h 18102"/>
              <a:gd name="connsiteX6" fmla="*/ 18103 w 18102"/>
              <a:gd name="connsiteY6" fmla="*/ 9051 h 18102"/>
              <a:gd name="connsiteX7" fmla="*/ 9051 w 18102"/>
              <a:gd name="connsiteY7" fmla="*/ 18103 h 1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02" h="18102">
                <a:moveTo>
                  <a:pt x="9051" y="18103"/>
                </a:moveTo>
                <a:lnTo>
                  <a:pt x="9051" y="18103"/>
                </a:lnTo>
                <a:cubicBezTo>
                  <a:pt x="4060" y="18103"/>
                  <a:pt x="0" y="14043"/>
                  <a:pt x="0" y="9051"/>
                </a:cubicBezTo>
                <a:lnTo>
                  <a:pt x="0" y="9051"/>
                </a:lnTo>
                <a:cubicBezTo>
                  <a:pt x="0" y="4060"/>
                  <a:pt x="4060" y="0"/>
                  <a:pt x="9051" y="0"/>
                </a:cubicBezTo>
                <a:lnTo>
                  <a:pt x="18103" y="0"/>
                </a:lnTo>
                <a:lnTo>
                  <a:pt x="18103" y="9051"/>
                </a:lnTo>
                <a:cubicBezTo>
                  <a:pt x="18103" y="14043"/>
                  <a:pt x="14043" y="18103"/>
                  <a:pt x="9051" y="18103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73" name="Freeform: Shape 2472">
            <a:extLst>
              <a:ext uri="{FF2B5EF4-FFF2-40B4-BE49-F238E27FC236}">
                <a16:creationId xmlns:a16="http://schemas.microsoft.com/office/drawing/2014/main" id="{55B97312-0BE4-B3DE-AB98-E6AFAA26556B}"/>
              </a:ext>
            </a:extLst>
          </p:cNvPr>
          <p:cNvSpPr/>
          <p:nvPr/>
        </p:nvSpPr>
        <p:spPr>
          <a:xfrm>
            <a:off x="2310121" y="4012172"/>
            <a:ext cx="18102" cy="18102"/>
          </a:xfrm>
          <a:custGeom>
            <a:avLst/>
            <a:gdLst>
              <a:gd name="connsiteX0" fmla="*/ 9051 w 18102"/>
              <a:gd name="connsiteY0" fmla="*/ 18103 h 18102"/>
              <a:gd name="connsiteX1" fmla="*/ 9051 w 18102"/>
              <a:gd name="connsiteY1" fmla="*/ 18103 h 18102"/>
              <a:gd name="connsiteX2" fmla="*/ 0 w 18102"/>
              <a:gd name="connsiteY2" fmla="*/ 9051 h 18102"/>
              <a:gd name="connsiteX3" fmla="*/ 0 w 18102"/>
              <a:gd name="connsiteY3" fmla="*/ 9051 h 18102"/>
              <a:gd name="connsiteX4" fmla="*/ 9051 w 18102"/>
              <a:gd name="connsiteY4" fmla="*/ 0 h 18102"/>
              <a:gd name="connsiteX5" fmla="*/ 18103 w 18102"/>
              <a:gd name="connsiteY5" fmla="*/ 0 h 18102"/>
              <a:gd name="connsiteX6" fmla="*/ 18103 w 18102"/>
              <a:gd name="connsiteY6" fmla="*/ 9051 h 18102"/>
              <a:gd name="connsiteX7" fmla="*/ 9051 w 18102"/>
              <a:gd name="connsiteY7" fmla="*/ 18103 h 1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02" h="18102">
                <a:moveTo>
                  <a:pt x="9051" y="18103"/>
                </a:moveTo>
                <a:lnTo>
                  <a:pt x="9051" y="18103"/>
                </a:lnTo>
                <a:cubicBezTo>
                  <a:pt x="4060" y="18103"/>
                  <a:pt x="0" y="14043"/>
                  <a:pt x="0" y="9051"/>
                </a:cubicBezTo>
                <a:lnTo>
                  <a:pt x="0" y="9051"/>
                </a:lnTo>
                <a:cubicBezTo>
                  <a:pt x="0" y="4060"/>
                  <a:pt x="4060" y="0"/>
                  <a:pt x="9051" y="0"/>
                </a:cubicBezTo>
                <a:lnTo>
                  <a:pt x="18103" y="0"/>
                </a:lnTo>
                <a:lnTo>
                  <a:pt x="18103" y="9051"/>
                </a:lnTo>
                <a:cubicBezTo>
                  <a:pt x="18103" y="14043"/>
                  <a:pt x="14043" y="18103"/>
                  <a:pt x="9051" y="18103"/>
                </a:cubicBezTo>
                <a:close/>
              </a:path>
            </a:pathLst>
          </a:custGeom>
          <a:solidFill>
            <a:srgbClr val="9EC5F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74" name="Freeform: Shape 2473">
            <a:extLst>
              <a:ext uri="{FF2B5EF4-FFF2-40B4-BE49-F238E27FC236}">
                <a16:creationId xmlns:a16="http://schemas.microsoft.com/office/drawing/2014/main" id="{FD5B9035-567B-779B-918C-B8B8F064138C}"/>
              </a:ext>
            </a:extLst>
          </p:cNvPr>
          <p:cNvSpPr/>
          <p:nvPr/>
        </p:nvSpPr>
        <p:spPr>
          <a:xfrm>
            <a:off x="2374005" y="3983464"/>
            <a:ext cx="30475" cy="41270"/>
          </a:xfrm>
          <a:custGeom>
            <a:avLst/>
            <a:gdLst>
              <a:gd name="connsiteX0" fmla="*/ 30476 w 30475"/>
              <a:gd name="connsiteY0" fmla="*/ 27426 h 41270"/>
              <a:gd name="connsiteX1" fmla="*/ 24843 w 30475"/>
              <a:gd name="connsiteY1" fmla="*/ 641 h 41270"/>
              <a:gd name="connsiteX2" fmla="*/ 5167 w 30475"/>
              <a:gd name="connsiteY2" fmla="*/ 0 h 41270"/>
              <a:gd name="connsiteX3" fmla="*/ 5322 w 30475"/>
              <a:gd name="connsiteY3" fmla="*/ 10761 h 41270"/>
              <a:gd name="connsiteX4" fmla="*/ 427 w 30475"/>
              <a:gd name="connsiteY4" fmla="*/ 30961 h 41270"/>
              <a:gd name="connsiteX5" fmla="*/ 0 w 30475"/>
              <a:gd name="connsiteY5" fmla="*/ 34127 h 41270"/>
              <a:gd name="connsiteX6" fmla="*/ 30456 w 30475"/>
              <a:gd name="connsiteY6" fmla="*/ 27426 h 41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475" h="41270">
                <a:moveTo>
                  <a:pt x="30476" y="27426"/>
                </a:moveTo>
                <a:cubicBezTo>
                  <a:pt x="18685" y="16316"/>
                  <a:pt x="25950" y="5011"/>
                  <a:pt x="24843" y="641"/>
                </a:cubicBezTo>
                <a:lnTo>
                  <a:pt x="5167" y="0"/>
                </a:lnTo>
                <a:lnTo>
                  <a:pt x="5322" y="10761"/>
                </a:lnTo>
                <a:cubicBezTo>
                  <a:pt x="5458" y="19385"/>
                  <a:pt x="971" y="27465"/>
                  <a:pt x="427" y="30961"/>
                </a:cubicBezTo>
                <a:cubicBezTo>
                  <a:pt x="272" y="32010"/>
                  <a:pt x="117" y="33078"/>
                  <a:pt x="0" y="34127"/>
                </a:cubicBezTo>
                <a:cubicBezTo>
                  <a:pt x="14529" y="42052"/>
                  <a:pt x="27989" y="47471"/>
                  <a:pt x="30456" y="27426"/>
                </a:cubicBezTo>
                <a:close/>
              </a:path>
            </a:pathLst>
          </a:custGeom>
          <a:solidFill>
            <a:srgbClr val="FB6D7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75" name="Freeform: Shape 2474">
            <a:extLst>
              <a:ext uri="{FF2B5EF4-FFF2-40B4-BE49-F238E27FC236}">
                <a16:creationId xmlns:a16="http://schemas.microsoft.com/office/drawing/2014/main" id="{449246ED-8954-94F5-6108-DD7029DFCBCC}"/>
              </a:ext>
            </a:extLst>
          </p:cNvPr>
          <p:cNvSpPr/>
          <p:nvPr/>
        </p:nvSpPr>
        <p:spPr>
          <a:xfrm>
            <a:off x="2373620" y="4010890"/>
            <a:ext cx="58208" cy="19423"/>
          </a:xfrm>
          <a:custGeom>
            <a:avLst/>
            <a:gdLst>
              <a:gd name="connsiteX0" fmla="*/ 46651 w 58208"/>
              <a:gd name="connsiteY0" fmla="*/ 8779 h 19423"/>
              <a:gd name="connsiteX1" fmla="*/ 32453 w 58208"/>
              <a:gd name="connsiteY1" fmla="*/ 1437 h 19423"/>
              <a:gd name="connsiteX2" fmla="*/ 30879 w 58208"/>
              <a:gd name="connsiteY2" fmla="*/ 0 h 19423"/>
              <a:gd name="connsiteX3" fmla="*/ 28335 w 58208"/>
              <a:gd name="connsiteY3" fmla="*/ 1690 h 19423"/>
              <a:gd name="connsiteX4" fmla="*/ 22586 w 58208"/>
              <a:gd name="connsiteY4" fmla="*/ 9964 h 19423"/>
              <a:gd name="connsiteX5" fmla="*/ 423 w 58208"/>
              <a:gd name="connsiteY5" fmla="*/ 6721 h 19423"/>
              <a:gd name="connsiteX6" fmla="*/ 1239 w 58208"/>
              <a:gd name="connsiteY6" fmla="*/ 19424 h 19423"/>
              <a:gd name="connsiteX7" fmla="*/ 58208 w 58208"/>
              <a:gd name="connsiteY7" fmla="*/ 19424 h 19423"/>
              <a:gd name="connsiteX8" fmla="*/ 46651 w 58208"/>
              <a:gd name="connsiteY8" fmla="*/ 8818 h 19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208" h="19423">
                <a:moveTo>
                  <a:pt x="46651" y="8779"/>
                </a:moveTo>
                <a:cubicBezTo>
                  <a:pt x="41523" y="7187"/>
                  <a:pt x="36609" y="4856"/>
                  <a:pt x="32453" y="1437"/>
                </a:cubicBezTo>
                <a:cubicBezTo>
                  <a:pt x="31870" y="952"/>
                  <a:pt x="31384" y="486"/>
                  <a:pt x="30879" y="0"/>
                </a:cubicBezTo>
                <a:cubicBezTo>
                  <a:pt x="29830" y="466"/>
                  <a:pt x="28956" y="1010"/>
                  <a:pt x="28335" y="1690"/>
                </a:cubicBezTo>
                <a:cubicBezTo>
                  <a:pt x="25577" y="4584"/>
                  <a:pt x="27752" y="9012"/>
                  <a:pt x="22586" y="9964"/>
                </a:cubicBezTo>
                <a:cubicBezTo>
                  <a:pt x="18040" y="10799"/>
                  <a:pt x="6736" y="8760"/>
                  <a:pt x="423" y="6721"/>
                </a:cubicBezTo>
                <a:cubicBezTo>
                  <a:pt x="-237" y="12528"/>
                  <a:pt x="-237" y="18122"/>
                  <a:pt x="1239" y="19424"/>
                </a:cubicBezTo>
                <a:lnTo>
                  <a:pt x="58208" y="19424"/>
                </a:lnTo>
                <a:cubicBezTo>
                  <a:pt x="58208" y="15403"/>
                  <a:pt x="56616" y="11907"/>
                  <a:pt x="46651" y="8818"/>
                </a:cubicBezTo>
                <a:close/>
              </a:path>
            </a:pathLst>
          </a:custGeom>
          <a:solidFill>
            <a:srgbClr val="26479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76" name="Freeform: Shape 2475">
            <a:extLst>
              <a:ext uri="{FF2B5EF4-FFF2-40B4-BE49-F238E27FC236}">
                <a16:creationId xmlns:a16="http://schemas.microsoft.com/office/drawing/2014/main" id="{93BC785C-5668-340B-2002-2DA1297AA3B4}"/>
              </a:ext>
            </a:extLst>
          </p:cNvPr>
          <p:cNvSpPr/>
          <p:nvPr/>
        </p:nvSpPr>
        <p:spPr>
          <a:xfrm>
            <a:off x="2307926" y="3626343"/>
            <a:ext cx="59169" cy="86065"/>
          </a:xfrm>
          <a:custGeom>
            <a:avLst/>
            <a:gdLst>
              <a:gd name="connsiteX0" fmla="*/ 55610 w 59169"/>
              <a:gd name="connsiteY0" fmla="*/ 44033 h 86065"/>
              <a:gd name="connsiteX1" fmla="*/ 53492 w 59169"/>
              <a:gd name="connsiteY1" fmla="*/ 36031 h 86065"/>
              <a:gd name="connsiteX2" fmla="*/ 53823 w 59169"/>
              <a:gd name="connsiteY2" fmla="*/ 32865 h 86065"/>
              <a:gd name="connsiteX3" fmla="*/ 45626 w 59169"/>
              <a:gd name="connsiteY3" fmla="*/ 5225 h 86065"/>
              <a:gd name="connsiteX4" fmla="*/ 41683 w 59169"/>
              <a:gd name="connsiteY4" fmla="*/ 0 h 86065"/>
              <a:gd name="connsiteX5" fmla="*/ 28747 w 59169"/>
              <a:gd name="connsiteY5" fmla="*/ 1670 h 86065"/>
              <a:gd name="connsiteX6" fmla="*/ 3555 w 59169"/>
              <a:gd name="connsiteY6" fmla="*/ 37798 h 86065"/>
              <a:gd name="connsiteX7" fmla="*/ 3555 w 59169"/>
              <a:gd name="connsiteY7" fmla="*/ 37798 h 86065"/>
              <a:gd name="connsiteX8" fmla="*/ 5924 w 59169"/>
              <a:gd name="connsiteY8" fmla="*/ 41741 h 86065"/>
              <a:gd name="connsiteX9" fmla="*/ 1534 w 59169"/>
              <a:gd name="connsiteY9" fmla="*/ 60194 h 86065"/>
              <a:gd name="connsiteX10" fmla="*/ 0 w 59169"/>
              <a:gd name="connsiteY10" fmla="*/ 63457 h 86065"/>
              <a:gd name="connsiteX11" fmla="*/ 18802 w 59169"/>
              <a:gd name="connsiteY11" fmla="*/ 86066 h 86065"/>
              <a:gd name="connsiteX12" fmla="*/ 22376 w 59169"/>
              <a:gd name="connsiteY12" fmla="*/ 76101 h 86065"/>
              <a:gd name="connsiteX13" fmla="*/ 32748 w 59169"/>
              <a:gd name="connsiteY13" fmla="*/ 70721 h 86065"/>
              <a:gd name="connsiteX14" fmla="*/ 36846 w 59169"/>
              <a:gd name="connsiteY14" fmla="*/ 71848 h 86065"/>
              <a:gd name="connsiteX15" fmla="*/ 50579 w 59169"/>
              <a:gd name="connsiteY15" fmla="*/ 65088 h 86065"/>
              <a:gd name="connsiteX16" fmla="*/ 53687 w 59169"/>
              <a:gd name="connsiteY16" fmla="*/ 56192 h 86065"/>
              <a:gd name="connsiteX17" fmla="*/ 56037 w 59169"/>
              <a:gd name="connsiteY17" fmla="*/ 55241 h 86065"/>
              <a:gd name="connsiteX18" fmla="*/ 58232 w 59169"/>
              <a:gd name="connsiteY18" fmla="*/ 47685 h 86065"/>
              <a:gd name="connsiteX19" fmla="*/ 55629 w 59169"/>
              <a:gd name="connsiteY19" fmla="*/ 44033 h 8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9169" h="86065">
                <a:moveTo>
                  <a:pt x="55610" y="44033"/>
                </a:moveTo>
                <a:cubicBezTo>
                  <a:pt x="53939" y="41722"/>
                  <a:pt x="53182" y="38866"/>
                  <a:pt x="53492" y="36031"/>
                </a:cubicBezTo>
                <a:lnTo>
                  <a:pt x="53823" y="32865"/>
                </a:lnTo>
                <a:cubicBezTo>
                  <a:pt x="54600" y="23095"/>
                  <a:pt x="51686" y="13247"/>
                  <a:pt x="45626" y="5225"/>
                </a:cubicBezTo>
                <a:lnTo>
                  <a:pt x="41683" y="0"/>
                </a:lnTo>
                <a:lnTo>
                  <a:pt x="28747" y="1670"/>
                </a:lnTo>
                <a:cubicBezTo>
                  <a:pt x="11207" y="3924"/>
                  <a:pt x="-272" y="20375"/>
                  <a:pt x="3555" y="37798"/>
                </a:cubicBezTo>
                <a:lnTo>
                  <a:pt x="3555" y="37798"/>
                </a:lnTo>
                <a:lnTo>
                  <a:pt x="5924" y="41741"/>
                </a:lnTo>
                <a:cubicBezTo>
                  <a:pt x="5730" y="48151"/>
                  <a:pt x="4254" y="54444"/>
                  <a:pt x="1534" y="60194"/>
                </a:cubicBezTo>
                <a:lnTo>
                  <a:pt x="0" y="63457"/>
                </a:lnTo>
                <a:lnTo>
                  <a:pt x="18802" y="86066"/>
                </a:lnTo>
                <a:cubicBezTo>
                  <a:pt x="20375" y="81657"/>
                  <a:pt x="21541" y="78452"/>
                  <a:pt x="22376" y="76101"/>
                </a:cubicBezTo>
                <a:cubicBezTo>
                  <a:pt x="23891" y="71867"/>
                  <a:pt x="28417" y="69536"/>
                  <a:pt x="32748" y="70721"/>
                </a:cubicBezTo>
                <a:lnTo>
                  <a:pt x="36846" y="71848"/>
                </a:lnTo>
                <a:cubicBezTo>
                  <a:pt x="42654" y="73596"/>
                  <a:pt x="48636" y="70643"/>
                  <a:pt x="50579" y="65088"/>
                </a:cubicBezTo>
                <a:lnTo>
                  <a:pt x="53687" y="56192"/>
                </a:lnTo>
                <a:lnTo>
                  <a:pt x="56037" y="55241"/>
                </a:lnTo>
                <a:cubicBezTo>
                  <a:pt x="59047" y="54036"/>
                  <a:pt x="60116" y="50326"/>
                  <a:pt x="58232" y="47685"/>
                </a:cubicBezTo>
                <a:lnTo>
                  <a:pt x="55629" y="44033"/>
                </a:lnTo>
                <a:close/>
              </a:path>
            </a:pathLst>
          </a:custGeom>
          <a:solidFill>
            <a:srgbClr val="FB6D7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77" name="Freeform: Shape 2476">
            <a:extLst>
              <a:ext uri="{FF2B5EF4-FFF2-40B4-BE49-F238E27FC236}">
                <a16:creationId xmlns:a16="http://schemas.microsoft.com/office/drawing/2014/main" id="{A5B7961A-9A15-A2CE-92D2-D2F383A9586D}"/>
              </a:ext>
            </a:extLst>
          </p:cNvPr>
          <p:cNvSpPr/>
          <p:nvPr/>
        </p:nvSpPr>
        <p:spPr>
          <a:xfrm>
            <a:off x="2300470" y="3623325"/>
            <a:ext cx="64812" cy="54062"/>
          </a:xfrm>
          <a:custGeom>
            <a:avLst/>
            <a:gdLst>
              <a:gd name="connsiteX0" fmla="*/ 15692 w 64812"/>
              <a:gd name="connsiteY0" fmla="*/ 12419 h 54062"/>
              <a:gd name="connsiteX1" fmla="*/ 34105 w 64812"/>
              <a:gd name="connsiteY1" fmla="*/ 2785 h 54062"/>
              <a:gd name="connsiteX2" fmla="*/ 55316 w 64812"/>
              <a:gd name="connsiteY2" fmla="*/ 66 h 54062"/>
              <a:gd name="connsiteX3" fmla="*/ 64697 w 64812"/>
              <a:gd name="connsiteY3" fmla="*/ 7058 h 54062"/>
              <a:gd name="connsiteX4" fmla="*/ 62580 w 64812"/>
              <a:gd name="connsiteY4" fmla="*/ 13895 h 54062"/>
              <a:gd name="connsiteX5" fmla="*/ 56695 w 64812"/>
              <a:gd name="connsiteY5" fmla="*/ 19819 h 54062"/>
              <a:gd name="connsiteX6" fmla="*/ 53665 w 64812"/>
              <a:gd name="connsiteY6" fmla="*/ 25530 h 54062"/>
              <a:gd name="connsiteX7" fmla="*/ 48479 w 64812"/>
              <a:gd name="connsiteY7" fmla="*/ 32930 h 54062"/>
              <a:gd name="connsiteX8" fmla="*/ 45915 w 64812"/>
              <a:gd name="connsiteY8" fmla="*/ 39884 h 54062"/>
              <a:gd name="connsiteX9" fmla="*/ 47410 w 64812"/>
              <a:gd name="connsiteY9" fmla="*/ 44681 h 54062"/>
              <a:gd name="connsiteX10" fmla="*/ 45351 w 64812"/>
              <a:gd name="connsiteY10" fmla="*/ 47925 h 54062"/>
              <a:gd name="connsiteX11" fmla="*/ 42729 w 64812"/>
              <a:gd name="connsiteY11" fmla="*/ 46682 h 54062"/>
              <a:gd name="connsiteX12" fmla="*/ 38631 w 64812"/>
              <a:gd name="connsiteY12" fmla="*/ 40292 h 54062"/>
              <a:gd name="connsiteX13" fmla="*/ 29910 w 64812"/>
              <a:gd name="connsiteY13" fmla="*/ 38019 h 54062"/>
              <a:gd name="connsiteX14" fmla="*/ 29696 w 64812"/>
              <a:gd name="connsiteY14" fmla="*/ 38136 h 54062"/>
              <a:gd name="connsiteX15" fmla="*/ 24296 w 64812"/>
              <a:gd name="connsiteY15" fmla="*/ 45186 h 54062"/>
              <a:gd name="connsiteX16" fmla="*/ 14410 w 64812"/>
              <a:gd name="connsiteY16" fmla="*/ 53752 h 54062"/>
              <a:gd name="connsiteX17" fmla="*/ 14410 w 64812"/>
              <a:gd name="connsiteY17" fmla="*/ 53752 h 54062"/>
              <a:gd name="connsiteX18" fmla="*/ 11982 w 64812"/>
              <a:gd name="connsiteY18" fmla="*/ 54063 h 54062"/>
              <a:gd name="connsiteX19" fmla="*/ 11982 w 64812"/>
              <a:gd name="connsiteY19" fmla="*/ 54063 h 54062"/>
              <a:gd name="connsiteX20" fmla="*/ 3843 w 64812"/>
              <a:gd name="connsiteY20" fmla="*/ 41263 h 54062"/>
              <a:gd name="connsiteX21" fmla="*/ 15692 w 64812"/>
              <a:gd name="connsiteY21" fmla="*/ 12419 h 54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4812" h="54062">
                <a:moveTo>
                  <a:pt x="15692" y="12419"/>
                </a:moveTo>
                <a:cubicBezTo>
                  <a:pt x="20256" y="7311"/>
                  <a:pt x="26627" y="3737"/>
                  <a:pt x="34105" y="2785"/>
                </a:cubicBezTo>
                <a:lnTo>
                  <a:pt x="55316" y="66"/>
                </a:lnTo>
                <a:cubicBezTo>
                  <a:pt x="59744" y="-498"/>
                  <a:pt x="63940" y="2630"/>
                  <a:pt x="64697" y="7058"/>
                </a:cubicBezTo>
                <a:cubicBezTo>
                  <a:pt x="65125" y="9583"/>
                  <a:pt x="64348" y="12108"/>
                  <a:pt x="62580" y="13895"/>
                </a:cubicBezTo>
                <a:lnTo>
                  <a:pt x="56695" y="19819"/>
                </a:lnTo>
                <a:cubicBezTo>
                  <a:pt x="55160" y="21373"/>
                  <a:pt x="54112" y="23354"/>
                  <a:pt x="53665" y="25530"/>
                </a:cubicBezTo>
                <a:cubicBezTo>
                  <a:pt x="53043" y="28638"/>
                  <a:pt x="51179" y="31318"/>
                  <a:pt x="48479" y="32930"/>
                </a:cubicBezTo>
                <a:cubicBezTo>
                  <a:pt x="46128" y="34348"/>
                  <a:pt x="45080" y="37203"/>
                  <a:pt x="45915" y="39884"/>
                </a:cubicBezTo>
                <a:lnTo>
                  <a:pt x="47410" y="44681"/>
                </a:lnTo>
                <a:cubicBezTo>
                  <a:pt x="47877" y="46196"/>
                  <a:pt x="46925" y="47731"/>
                  <a:pt x="45351" y="47925"/>
                </a:cubicBezTo>
                <a:cubicBezTo>
                  <a:pt x="44322" y="48061"/>
                  <a:pt x="43293" y="47576"/>
                  <a:pt x="42729" y="46682"/>
                </a:cubicBezTo>
                <a:lnTo>
                  <a:pt x="38631" y="40292"/>
                </a:lnTo>
                <a:cubicBezTo>
                  <a:pt x="36727" y="37320"/>
                  <a:pt x="32862" y="36310"/>
                  <a:pt x="29910" y="38019"/>
                </a:cubicBezTo>
                <a:lnTo>
                  <a:pt x="29696" y="38136"/>
                </a:lnTo>
                <a:cubicBezTo>
                  <a:pt x="27035" y="39690"/>
                  <a:pt x="25093" y="42195"/>
                  <a:pt x="24296" y="45186"/>
                </a:cubicBezTo>
                <a:cubicBezTo>
                  <a:pt x="23053" y="49790"/>
                  <a:pt x="19188" y="53131"/>
                  <a:pt x="14410" y="53752"/>
                </a:cubicBezTo>
                <a:lnTo>
                  <a:pt x="14410" y="53752"/>
                </a:lnTo>
                <a:lnTo>
                  <a:pt x="11982" y="54063"/>
                </a:lnTo>
                <a:lnTo>
                  <a:pt x="11982" y="54063"/>
                </a:lnTo>
                <a:cubicBezTo>
                  <a:pt x="11982" y="54063"/>
                  <a:pt x="3843" y="41263"/>
                  <a:pt x="3843" y="41263"/>
                </a:cubicBezTo>
                <a:cubicBezTo>
                  <a:pt x="-4373" y="28327"/>
                  <a:pt x="1046" y="15915"/>
                  <a:pt x="15692" y="12419"/>
                </a:cubicBezTo>
                <a:close/>
              </a:path>
            </a:pathLst>
          </a:custGeom>
          <a:solidFill>
            <a:srgbClr val="26479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79" name="Freeform: Shape 2478">
            <a:extLst>
              <a:ext uri="{FF2B5EF4-FFF2-40B4-BE49-F238E27FC236}">
                <a16:creationId xmlns:a16="http://schemas.microsoft.com/office/drawing/2014/main" id="{3EC62B99-9BFE-ED47-0B26-81428249F6E9}"/>
              </a:ext>
            </a:extLst>
          </p:cNvPr>
          <p:cNvSpPr/>
          <p:nvPr/>
        </p:nvSpPr>
        <p:spPr>
          <a:xfrm>
            <a:off x="2300195" y="3688323"/>
            <a:ext cx="30867" cy="28338"/>
          </a:xfrm>
          <a:custGeom>
            <a:avLst/>
            <a:gdLst>
              <a:gd name="connsiteX0" fmla="*/ 30145 w 30867"/>
              <a:gd name="connsiteY0" fmla="*/ 28339 h 28338"/>
              <a:gd name="connsiteX1" fmla="*/ 24590 w 30867"/>
              <a:gd name="connsiteY1" fmla="*/ 11732 h 28338"/>
              <a:gd name="connsiteX2" fmla="*/ 7847 w 30867"/>
              <a:gd name="connsiteY2" fmla="*/ 0 h 28338"/>
              <a:gd name="connsiteX3" fmla="*/ 0 w 30867"/>
              <a:gd name="connsiteY3" fmla="*/ 10586 h 28338"/>
              <a:gd name="connsiteX4" fmla="*/ 30145 w 30867"/>
              <a:gd name="connsiteY4" fmla="*/ 28339 h 28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867" h="28338">
                <a:moveTo>
                  <a:pt x="30145" y="28339"/>
                </a:moveTo>
                <a:cubicBezTo>
                  <a:pt x="32146" y="22182"/>
                  <a:pt x="29893" y="15442"/>
                  <a:pt x="24590" y="11732"/>
                </a:cubicBezTo>
                <a:lnTo>
                  <a:pt x="7847" y="0"/>
                </a:lnTo>
                <a:lnTo>
                  <a:pt x="0" y="10586"/>
                </a:lnTo>
                <a:lnTo>
                  <a:pt x="30145" y="28339"/>
                </a:lnTo>
                <a:close/>
              </a:path>
            </a:pathLst>
          </a:custGeom>
          <a:solidFill>
            <a:srgbClr val="DDF6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80" name="Freeform: Shape 2479">
            <a:extLst>
              <a:ext uri="{FF2B5EF4-FFF2-40B4-BE49-F238E27FC236}">
                <a16:creationId xmlns:a16="http://schemas.microsoft.com/office/drawing/2014/main" id="{34238F23-229C-84D9-9328-A54B4C533BD1}"/>
              </a:ext>
            </a:extLst>
          </p:cNvPr>
          <p:cNvSpPr/>
          <p:nvPr/>
        </p:nvSpPr>
        <p:spPr>
          <a:xfrm>
            <a:off x="2268846" y="3698909"/>
            <a:ext cx="74066" cy="153852"/>
          </a:xfrm>
          <a:custGeom>
            <a:avLst/>
            <a:gdLst>
              <a:gd name="connsiteX0" fmla="*/ 59028 w 74066"/>
              <a:gd name="connsiteY0" fmla="*/ 150707 h 153852"/>
              <a:gd name="connsiteX1" fmla="*/ 59028 w 74066"/>
              <a:gd name="connsiteY1" fmla="*/ 150707 h 153852"/>
              <a:gd name="connsiteX2" fmla="*/ 74042 w 74066"/>
              <a:gd name="connsiteY2" fmla="*/ 124835 h 153852"/>
              <a:gd name="connsiteX3" fmla="*/ 73032 w 74066"/>
              <a:gd name="connsiteY3" fmla="*/ 100536 h 153852"/>
              <a:gd name="connsiteX4" fmla="*/ 67031 w 74066"/>
              <a:gd name="connsiteY4" fmla="*/ 47510 h 153852"/>
              <a:gd name="connsiteX5" fmla="*/ 61495 w 74066"/>
              <a:gd name="connsiteY5" fmla="*/ 17753 h 153852"/>
              <a:gd name="connsiteX6" fmla="*/ 61495 w 74066"/>
              <a:gd name="connsiteY6" fmla="*/ 17753 h 153852"/>
              <a:gd name="connsiteX7" fmla="*/ 57358 w 74066"/>
              <a:gd name="connsiteY7" fmla="*/ 13286 h 153852"/>
              <a:gd name="connsiteX8" fmla="*/ 31350 w 74066"/>
              <a:gd name="connsiteY8" fmla="*/ 0 h 153852"/>
              <a:gd name="connsiteX9" fmla="*/ 31350 w 74066"/>
              <a:gd name="connsiteY9" fmla="*/ 0 h 153852"/>
              <a:gd name="connsiteX10" fmla="*/ 719 w 74066"/>
              <a:gd name="connsiteY10" fmla="*/ 92320 h 153852"/>
              <a:gd name="connsiteX11" fmla="*/ 0 w 74066"/>
              <a:gd name="connsiteY11" fmla="*/ 143754 h 153852"/>
              <a:gd name="connsiteX12" fmla="*/ 39799 w 74066"/>
              <a:gd name="connsiteY12" fmla="*/ 153116 h 153852"/>
              <a:gd name="connsiteX13" fmla="*/ 59009 w 74066"/>
              <a:gd name="connsiteY13" fmla="*/ 150727 h 153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4066" h="153852">
                <a:moveTo>
                  <a:pt x="59028" y="150707"/>
                </a:moveTo>
                <a:lnTo>
                  <a:pt x="59028" y="150707"/>
                </a:lnTo>
                <a:cubicBezTo>
                  <a:pt x="68623" y="145735"/>
                  <a:pt x="74489" y="135635"/>
                  <a:pt x="74042" y="124835"/>
                </a:cubicBezTo>
                <a:lnTo>
                  <a:pt x="73032" y="100536"/>
                </a:lnTo>
                <a:cubicBezTo>
                  <a:pt x="72294" y="82783"/>
                  <a:pt x="70294" y="65069"/>
                  <a:pt x="67031" y="47510"/>
                </a:cubicBezTo>
                <a:lnTo>
                  <a:pt x="61495" y="17753"/>
                </a:lnTo>
                <a:lnTo>
                  <a:pt x="61495" y="17753"/>
                </a:lnTo>
                <a:lnTo>
                  <a:pt x="57358" y="13286"/>
                </a:lnTo>
                <a:cubicBezTo>
                  <a:pt x="50540" y="5924"/>
                  <a:pt x="41314" y="1204"/>
                  <a:pt x="31350" y="0"/>
                </a:cubicBezTo>
                <a:lnTo>
                  <a:pt x="31350" y="0"/>
                </a:lnTo>
                <a:cubicBezTo>
                  <a:pt x="11732" y="26455"/>
                  <a:pt x="1049" y="58698"/>
                  <a:pt x="719" y="92320"/>
                </a:cubicBezTo>
                <a:lnTo>
                  <a:pt x="0" y="143754"/>
                </a:lnTo>
                <a:lnTo>
                  <a:pt x="39799" y="153116"/>
                </a:lnTo>
                <a:cubicBezTo>
                  <a:pt x="46286" y="154631"/>
                  <a:pt x="53084" y="153796"/>
                  <a:pt x="59009" y="150727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81" name="Freeform: Shape 2480">
            <a:extLst>
              <a:ext uri="{FF2B5EF4-FFF2-40B4-BE49-F238E27FC236}">
                <a16:creationId xmlns:a16="http://schemas.microsoft.com/office/drawing/2014/main" id="{94D42C6C-BBC9-35AC-3733-A9C8B361AAC1}"/>
              </a:ext>
            </a:extLst>
          </p:cNvPr>
          <p:cNvSpPr/>
          <p:nvPr/>
        </p:nvSpPr>
        <p:spPr>
          <a:xfrm>
            <a:off x="2300895" y="3732978"/>
            <a:ext cx="30164" cy="42848"/>
          </a:xfrm>
          <a:custGeom>
            <a:avLst/>
            <a:gdLst>
              <a:gd name="connsiteX0" fmla="*/ 19 w 30164"/>
              <a:gd name="connsiteY0" fmla="*/ 19 h 42848"/>
              <a:gd name="connsiteX1" fmla="*/ 30165 w 30164"/>
              <a:gd name="connsiteY1" fmla="*/ 19 h 42848"/>
              <a:gd name="connsiteX2" fmla="*/ 30165 w 30164"/>
              <a:gd name="connsiteY2" fmla="*/ 42848 h 42848"/>
              <a:gd name="connsiteX3" fmla="*/ 5108 w 30164"/>
              <a:gd name="connsiteY3" fmla="*/ 42848 h 42848"/>
              <a:gd name="connsiteX4" fmla="*/ 0 w 30164"/>
              <a:gd name="connsiteY4" fmla="*/ 37740 h 42848"/>
              <a:gd name="connsiteX5" fmla="*/ 0 w 30164"/>
              <a:gd name="connsiteY5" fmla="*/ 0 h 42848"/>
              <a:gd name="connsiteX6" fmla="*/ 0 w 30164"/>
              <a:gd name="connsiteY6" fmla="*/ 0 h 42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164" h="42848">
                <a:moveTo>
                  <a:pt x="19" y="19"/>
                </a:moveTo>
                <a:lnTo>
                  <a:pt x="30165" y="19"/>
                </a:lnTo>
                <a:lnTo>
                  <a:pt x="30165" y="42848"/>
                </a:lnTo>
                <a:lnTo>
                  <a:pt x="5108" y="42848"/>
                </a:lnTo>
                <a:cubicBezTo>
                  <a:pt x="2292" y="42848"/>
                  <a:pt x="0" y="40556"/>
                  <a:pt x="0" y="3774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482" name="Freeform: Shape 2481">
            <a:extLst>
              <a:ext uri="{FF2B5EF4-FFF2-40B4-BE49-F238E27FC236}">
                <a16:creationId xmlns:a16="http://schemas.microsoft.com/office/drawing/2014/main" id="{FD59CFA4-1E2F-0A3F-A982-86D0D041040E}"/>
              </a:ext>
            </a:extLst>
          </p:cNvPr>
          <p:cNvSpPr/>
          <p:nvPr/>
        </p:nvSpPr>
        <p:spPr>
          <a:xfrm>
            <a:off x="2268904" y="3838195"/>
            <a:ext cx="141960" cy="57221"/>
          </a:xfrm>
          <a:custGeom>
            <a:avLst/>
            <a:gdLst>
              <a:gd name="connsiteX0" fmla="*/ 140510 w 141960"/>
              <a:gd name="connsiteY0" fmla="*/ 57202 h 57221"/>
              <a:gd name="connsiteX1" fmla="*/ 49491 w 141960"/>
              <a:gd name="connsiteY1" fmla="*/ 49491 h 57221"/>
              <a:gd name="connsiteX2" fmla="*/ 0 w 141960"/>
              <a:gd name="connsiteY2" fmla="*/ 0 h 57221"/>
              <a:gd name="connsiteX3" fmla="*/ 0 w 141960"/>
              <a:gd name="connsiteY3" fmla="*/ 0 h 57221"/>
              <a:gd name="connsiteX4" fmla="*/ 38439 w 141960"/>
              <a:gd name="connsiteY4" fmla="*/ 5225 h 57221"/>
              <a:gd name="connsiteX5" fmla="*/ 120173 w 141960"/>
              <a:gd name="connsiteY5" fmla="*/ 11479 h 57221"/>
              <a:gd name="connsiteX6" fmla="*/ 141908 w 141960"/>
              <a:gd name="connsiteY6" fmla="*/ 36361 h 57221"/>
              <a:gd name="connsiteX7" fmla="*/ 140510 w 141960"/>
              <a:gd name="connsiteY7" fmla="*/ 57222 h 57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1960" h="57221">
                <a:moveTo>
                  <a:pt x="140510" y="57202"/>
                </a:moveTo>
                <a:lnTo>
                  <a:pt x="49491" y="49491"/>
                </a:lnTo>
                <a:cubicBezTo>
                  <a:pt x="22162" y="49491"/>
                  <a:pt x="0" y="27329"/>
                  <a:pt x="0" y="0"/>
                </a:cubicBezTo>
                <a:lnTo>
                  <a:pt x="0" y="0"/>
                </a:lnTo>
                <a:cubicBezTo>
                  <a:pt x="12528" y="3457"/>
                  <a:pt x="25445" y="5225"/>
                  <a:pt x="38439" y="5225"/>
                </a:cubicBezTo>
                <a:lnTo>
                  <a:pt x="120173" y="11479"/>
                </a:lnTo>
                <a:cubicBezTo>
                  <a:pt x="133051" y="12353"/>
                  <a:pt x="142763" y="23483"/>
                  <a:pt x="141908" y="36361"/>
                </a:cubicBezTo>
                <a:lnTo>
                  <a:pt x="140510" y="57222"/>
                </a:ln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83" name="Freeform: Shape 2482">
            <a:extLst>
              <a:ext uri="{FF2B5EF4-FFF2-40B4-BE49-F238E27FC236}">
                <a16:creationId xmlns:a16="http://schemas.microsoft.com/office/drawing/2014/main" id="{488E2116-208C-2A11-5F65-E8B2CC8F1310}"/>
              </a:ext>
            </a:extLst>
          </p:cNvPr>
          <p:cNvSpPr/>
          <p:nvPr/>
        </p:nvSpPr>
        <p:spPr>
          <a:xfrm>
            <a:off x="2366274" y="3870904"/>
            <a:ext cx="44207" cy="127418"/>
          </a:xfrm>
          <a:custGeom>
            <a:avLst/>
            <a:gdLst>
              <a:gd name="connsiteX0" fmla="*/ 10955 w 44207"/>
              <a:gd name="connsiteY0" fmla="*/ 127418 h 127418"/>
              <a:gd name="connsiteX1" fmla="*/ 40692 w 44207"/>
              <a:gd name="connsiteY1" fmla="*/ 127418 h 127418"/>
              <a:gd name="connsiteX2" fmla="*/ 44208 w 44207"/>
              <a:gd name="connsiteY2" fmla="*/ 4118 h 127418"/>
              <a:gd name="connsiteX3" fmla="*/ 0 w 44207"/>
              <a:gd name="connsiteY3" fmla="*/ 0 h 127418"/>
              <a:gd name="connsiteX4" fmla="*/ 10955 w 44207"/>
              <a:gd name="connsiteY4" fmla="*/ 127418 h 12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207" h="127418">
                <a:moveTo>
                  <a:pt x="10955" y="127418"/>
                </a:moveTo>
                <a:lnTo>
                  <a:pt x="40692" y="127418"/>
                </a:lnTo>
                <a:lnTo>
                  <a:pt x="44208" y="4118"/>
                </a:lnTo>
                <a:lnTo>
                  <a:pt x="0" y="0"/>
                </a:lnTo>
                <a:lnTo>
                  <a:pt x="10955" y="127418"/>
                </a:ln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84" name="Freeform: Shape 2483">
            <a:extLst>
              <a:ext uri="{FF2B5EF4-FFF2-40B4-BE49-F238E27FC236}">
                <a16:creationId xmlns:a16="http://schemas.microsoft.com/office/drawing/2014/main" id="{E13DBF35-3E58-A340-039D-6BDA9AB76B41}"/>
              </a:ext>
            </a:extLst>
          </p:cNvPr>
          <p:cNvSpPr/>
          <p:nvPr/>
        </p:nvSpPr>
        <p:spPr>
          <a:xfrm>
            <a:off x="2300905" y="3719643"/>
            <a:ext cx="107636" cy="92029"/>
          </a:xfrm>
          <a:custGeom>
            <a:avLst/>
            <a:gdLst>
              <a:gd name="connsiteX0" fmla="*/ 98603 w 107636"/>
              <a:gd name="connsiteY0" fmla="*/ 92020 h 92029"/>
              <a:gd name="connsiteX1" fmla="*/ 101419 w 107636"/>
              <a:gd name="connsiteY1" fmla="*/ 75122 h 92029"/>
              <a:gd name="connsiteX2" fmla="*/ 101108 w 107636"/>
              <a:gd name="connsiteY2" fmla="*/ 75044 h 92029"/>
              <a:gd name="connsiteX3" fmla="*/ 54259 w 107636"/>
              <a:gd name="connsiteY3" fmla="*/ 63390 h 92029"/>
              <a:gd name="connsiteX4" fmla="*/ 27843 w 107636"/>
              <a:gd name="connsiteY4" fmla="*/ 8693 h 92029"/>
              <a:gd name="connsiteX5" fmla="*/ 13081 w 107636"/>
              <a:gd name="connsiteY5" fmla="*/ 69 h 92029"/>
              <a:gd name="connsiteX6" fmla="*/ 902 w 107636"/>
              <a:gd name="connsiteY6" fmla="*/ 19512 h 92029"/>
              <a:gd name="connsiteX7" fmla="*/ 33417 w 107636"/>
              <a:gd name="connsiteY7" fmla="*/ 81920 h 92029"/>
              <a:gd name="connsiteX8" fmla="*/ 47849 w 107636"/>
              <a:gd name="connsiteY8" fmla="*/ 89864 h 92029"/>
              <a:gd name="connsiteX9" fmla="*/ 98603 w 107636"/>
              <a:gd name="connsiteY9" fmla="*/ 92020 h 92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636" h="92029">
                <a:moveTo>
                  <a:pt x="98603" y="92020"/>
                </a:moveTo>
                <a:cubicBezTo>
                  <a:pt x="108761" y="92447"/>
                  <a:pt x="111247" y="77783"/>
                  <a:pt x="101419" y="75122"/>
                </a:cubicBezTo>
                <a:cubicBezTo>
                  <a:pt x="101322" y="75102"/>
                  <a:pt x="101205" y="75063"/>
                  <a:pt x="101108" y="75044"/>
                </a:cubicBezTo>
                <a:lnTo>
                  <a:pt x="54259" y="63390"/>
                </a:lnTo>
                <a:lnTo>
                  <a:pt x="27843" y="8693"/>
                </a:lnTo>
                <a:cubicBezTo>
                  <a:pt x="25143" y="3080"/>
                  <a:pt x="19277" y="-553"/>
                  <a:pt x="13081" y="69"/>
                </a:cubicBezTo>
                <a:cubicBezTo>
                  <a:pt x="3660" y="1021"/>
                  <a:pt x="-2380" y="10597"/>
                  <a:pt x="902" y="19512"/>
                </a:cubicBezTo>
                <a:cubicBezTo>
                  <a:pt x="9429" y="42626"/>
                  <a:pt x="20170" y="62807"/>
                  <a:pt x="33417" y="81920"/>
                </a:cubicBezTo>
                <a:cubicBezTo>
                  <a:pt x="36719" y="86679"/>
                  <a:pt x="42061" y="89631"/>
                  <a:pt x="47849" y="89864"/>
                </a:cubicBezTo>
                <a:lnTo>
                  <a:pt x="98603" y="92020"/>
                </a:ln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85" name="Freeform: Shape 2484">
            <a:extLst>
              <a:ext uri="{FF2B5EF4-FFF2-40B4-BE49-F238E27FC236}">
                <a16:creationId xmlns:a16="http://schemas.microsoft.com/office/drawing/2014/main" id="{01A95D88-69FA-A47F-72E2-88BB0BB6797A}"/>
              </a:ext>
            </a:extLst>
          </p:cNvPr>
          <p:cNvSpPr/>
          <p:nvPr/>
        </p:nvSpPr>
        <p:spPr>
          <a:xfrm>
            <a:off x="2217299" y="3781576"/>
            <a:ext cx="146760" cy="113258"/>
          </a:xfrm>
          <a:custGeom>
            <a:avLst/>
            <a:gdLst>
              <a:gd name="connsiteX0" fmla="*/ 46224 w 146760"/>
              <a:gd name="connsiteY0" fmla="*/ 72722 h 113258"/>
              <a:gd name="connsiteX1" fmla="*/ 36746 w 146760"/>
              <a:gd name="connsiteY1" fmla="*/ 21230 h 113258"/>
              <a:gd name="connsiteX2" fmla="*/ 11243 w 146760"/>
              <a:gd name="connsiteY2" fmla="*/ 0 h 113258"/>
              <a:gd name="connsiteX3" fmla="*/ 11243 w 146760"/>
              <a:gd name="connsiteY3" fmla="*/ 0 h 113258"/>
              <a:gd name="connsiteX4" fmla="*/ 152 w 146760"/>
              <a:gd name="connsiteY4" fmla="*/ 13053 h 113258"/>
              <a:gd name="connsiteX5" fmla="*/ 10524 w 146760"/>
              <a:gd name="connsiteY5" fmla="*/ 75907 h 113258"/>
              <a:gd name="connsiteX6" fmla="*/ 54538 w 146760"/>
              <a:gd name="connsiteY6" fmla="*/ 113259 h 113258"/>
              <a:gd name="connsiteX7" fmla="*/ 140875 w 146760"/>
              <a:gd name="connsiteY7" fmla="*/ 113259 h 113258"/>
              <a:gd name="connsiteX8" fmla="*/ 146761 w 146760"/>
              <a:gd name="connsiteY8" fmla="*/ 107373 h 113258"/>
              <a:gd name="connsiteX9" fmla="*/ 146761 w 146760"/>
              <a:gd name="connsiteY9" fmla="*/ 107373 h 113258"/>
              <a:gd name="connsiteX10" fmla="*/ 140875 w 146760"/>
              <a:gd name="connsiteY10" fmla="*/ 101488 h 113258"/>
              <a:gd name="connsiteX11" fmla="*/ 80760 w 146760"/>
              <a:gd name="connsiteY11" fmla="*/ 101488 h 113258"/>
              <a:gd name="connsiteX12" fmla="*/ 46205 w 146760"/>
              <a:gd name="connsiteY12" fmla="*/ 72722 h 113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6760" h="113258">
                <a:moveTo>
                  <a:pt x="46224" y="72722"/>
                </a:moveTo>
                <a:lnTo>
                  <a:pt x="36746" y="21230"/>
                </a:lnTo>
                <a:cubicBezTo>
                  <a:pt x="34473" y="8935"/>
                  <a:pt x="23751" y="0"/>
                  <a:pt x="11243" y="0"/>
                </a:cubicBezTo>
                <a:lnTo>
                  <a:pt x="11243" y="0"/>
                </a:lnTo>
                <a:cubicBezTo>
                  <a:pt x="4309" y="0"/>
                  <a:pt x="-975" y="6216"/>
                  <a:pt x="152" y="13053"/>
                </a:cubicBezTo>
                <a:lnTo>
                  <a:pt x="10524" y="75907"/>
                </a:lnTo>
                <a:cubicBezTo>
                  <a:pt x="14079" y="97448"/>
                  <a:pt x="32706" y="113259"/>
                  <a:pt x="54538" y="113259"/>
                </a:cubicBezTo>
                <a:lnTo>
                  <a:pt x="140875" y="113259"/>
                </a:lnTo>
                <a:cubicBezTo>
                  <a:pt x="144119" y="113259"/>
                  <a:pt x="146761" y="110636"/>
                  <a:pt x="146761" y="107373"/>
                </a:cubicBezTo>
                <a:lnTo>
                  <a:pt x="146761" y="107373"/>
                </a:lnTo>
                <a:cubicBezTo>
                  <a:pt x="146761" y="104130"/>
                  <a:pt x="144138" y="101488"/>
                  <a:pt x="140875" y="101488"/>
                </a:cubicBezTo>
                <a:lnTo>
                  <a:pt x="80760" y="101488"/>
                </a:lnTo>
                <a:cubicBezTo>
                  <a:pt x="63803" y="101488"/>
                  <a:pt x="49274" y="89387"/>
                  <a:pt x="46205" y="72722"/>
                </a:cubicBezTo>
                <a:close/>
              </a:path>
            </a:pathLst>
          </a:custGeom>
          <a:solidFill>
            <a:srgbClr val="26479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86" name="Freeform: Shape 2485">
            <a:extLst>
              <a:ext uri="{FF2B5EF4-FFF2-40B4-BE49-F238E27FC236}">
                <a16:creationId xmlns:a16="http://schemas.microsoft.com/office/drawing/2014/main" id="{C3E3540D-47E1-C646-5D98-C4A38196E6DE}"/>
              </a:ext>
            </a:extLst>
          </p:cNvPr>
          <p:cNvSpPr/>
          <p:nvPr/>
        </p:nvSpPr>
        <p:spPr>
          <a:xfrm>
            <a:off x="2296097" y="3894815"/>
            <a:ext cx="8798" cy="58503"/>
          </a:xfrm>
          <a:custGeom>
            <a:avLst/>
            <a:gdLst>
              <a:gd name="connsiteX0" fmla="*/ 0 w 8798"/>
              <a:gd name="connsiteY0" fmla="*/ 0 h 58503"/>
              <a:gd name="connsiteX1" fmla="*/ 8799 w 8798"/>
              <a:gd name="connsiteY1" fmla="*/ 0 h 58503"/>
              <a:gd name="connsiteX2" fmla="*/ 8799 w 8798"/>
              <a:gd name="connsiteY2" fmla="*/ 58504 h 58503"/>
              <a:gd name="connsiteX3" fmla="*/ 0 w 8798"/>
              <a:gd name="connsiteY3" fmla="*/ 58504 h 58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98" h="58503">
                <a:moveTo>
                  <a:pt x="0" y="0"/>
                </a:moveTo>
                <a:lnTo>
                  <a:pt x="8799" y="0"/>
                </a:lnTo>
                <a:lnTo>
                  <a:pt x="8799" y="58504"/>
                </a:lnTo>
                <a:lnTo>
                  <a:pt x="0" y="58504"/>
                </a:lnTo>
                <a:close/>
              </a:path>
            </a:pathLst>
          </a:custGeom>
          <a:solidFill>
            <a:srgbClr val="9EC5F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87" name="Freeform: Shape 2486">
            <a:extLst>
              <a:ext uri="{FF2B5EF4-FFF2-40B4-BE49-F238E27FC236}">
                <a16:creationId xmlns:a16="http://schemas.microsoft.com/office/drawing/2014/main" id="{806D5A0B-A75F-9359-CD65-A35C28E0F268}"/>
              </a:ext>
            </a:extLst>
          </p:cNvPr>
          <p:cNvSpPr/>
          <p:nvPr/>
        </p:nvSpPr>
        <p:spPr>
          <a:xfrm>
            <a:off x="2723822" y="3529458"/>
            <a:ext cx="168460" cy="26241"/>
          </a:xfrm>
          <a:custGeom>
            <a:avLst/>
            <a:gdLst>
              <a:gd name="connsiteX0" fmla="*/ 0 w 168460"/>
              <a:gd name="connsiteY0" fmla="*/ 0 h 26241"/>
              <a:gd name="connsiteX1" fmla="*/ 168460 w 168460"/>
              <a:gd name="connsiteY1" fmla="*/ 0 h 26241"/>
              <a:gd name="connsiteX2" fmla="*/ 168460 w 168460"/>
              <a:gd name="connsiteY2" fmla="*/ 26241 h 26241"/>
              <a:gd name="connsiteX3" fmla="*/ 0 w 168460"/>
              <a:gd name="connsiteY3" fmla="*/ 26241 h 26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8460" h="26241">
                <a:moveTo>
                  <a:pt x="0" y="0"/>
                </a:moveTo>
                <a:lnTo>
                  <a:pt x="168460" y="0"/>
                </a:lnTo>
                <a:lnTo>
                  <a:pt x="168460" y="26241"/>
                </a:lnTo>
                <a:lnTo>
                  <a:pt x="0" y="26241"/>
                </a:lnTo>
                <a:close/>
              </a:path>
            </a:pathLst>
          </a:custGeom>
          <a:solidFill>
            <a:srgbClr val="26479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88" name="Freeform: Shape 2487">
            <a:extLst>
              <a:ext uri="{FF2B5EF4-FFF2-40B4-BE49-F238E27FC236}">
                <a16:creationId xmlns:a16="http://schemas.microsoft.com/office/drawing/2014/main" id="{85D07651-E4C2-DF9F-77A1-1C8EC8E648A8}"/>
              </a:ext>
            </a:extLst>
          </p:cNvPr>
          <p:cNvSpPr/>
          <p:nvPr/>
        </p:nvSpPr>
        <p:spPr>
          <a:xfrm>
            <a:off x="2688909" y="3350975"/>
            <a:ext cx="232431" cy="178502"/>
          </a:xfrm>
          <a:custGeom>
            <a:avLst/>
            <a:gdLst>
              <a:gd name="connsiteX0" fmla="*/ 203393 w 232431"/>
              <a:gd name="connsiteY0" fmla="*/ 178483 h 178502"/>
              <a:gd name="connsiteX1" fmla="*/ 30272 w 232431"/>
              <a:gd name="connsiteY1" fmla="*/ 178483 h 178502"/>
              <a:gd name="connsiteX2" fmla="*/ 1117 w 232431"/>
              <a:gd name="connsiteY2" fmla="*/ 140141 h 178502"/>
              <a:gd name="connsiteX3" fmla="*/ 25610 w 232431"/>
              <a:gd name="connsiteY3" fmla="*/ 51977 h 178502"/>
              <a:gd name="connsiteX4" fmla="*/ 94000 w 232431"/>
              <a:gd name="connsiteY4" fmla="*/ 0 h 178502"/>
              <a:gd name="connsiteX5" fmla="*/ 161439 w 232431"/>
              <a:gd name="connsiteY5" fmla="*/ 0 h 178502"/>
              <a:gd name="connsiteX6" fmla="*/ 232432 w 232431"/>
              <a:gd name="connsiteY6" fmla="*/ 70993 h 178502"/>
              <a:gd name="connsiteX7" fmla="*/ 232432 w 232431"/>
              <a:gd name="connsiteY7" fmla="*/ 149464 h 178502"/>
              <a:gd name="connsiteX8" fmla="*/ 203393 w 232431"/>
              <a:gd name="connsiteY8" fmla="*/ 178502 h 17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2431" h="178502">
                <a:moveTo>
                  <a:pt x="203393" y="178483"/>
                </a:moveTo>
                <a:lnTo>
                  <a:pt x="30272" y="178483"/>
                </a:lnTo>
                <a:cubicBezTo>
                  <a:pt x="10265" y="178483"/>
                  <a:pt x="-4225" y="159409"/>
                  <a:pt x="1117" y="140141"/>
                </a:cubicBezTo>
                <a:lnTo>
                  <a:pt x="25610" y="51977"/>
                </a:lnTo>
                <a:cubicBezTo>
                  <a:pt x="34137" y="21249"/>
                  <a:pt x="62126" y="0"/>
                  <a:pt x="94000" y="0"/>
                </a:cubicBezTo>
                <a:lnTo>
                  <a:pt x="161439" y="0"/>
                </a:lnTo>
                <a:cubicBezTo>
                  <a:pt x="200635" y="0"/>
                  <a:pt x="232432" y="31777"/>
                  <a:pt x="232432" y="70993"/>
                </a:cubicBezTo>
                <a:lnTo>
                  <a:pt x="232432" y="149464"/>
                </a:lnTo>
                <a:cubicBezTo>
                  <a:pt x="232432" y="165508"/>
                  <a:pt x="219418" y="178502"/>
                  <a:pt x="203393" y="178502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89" name="Freeform: Shape 2488">
            <a:extLst>
              <a:ext uri="{FF2B5EF4-FFF2-40B4-BE49-F238E27FC236}">
                <a16:creationId xmlns:a16="http://schemas.microsoft.com/office/drawing/2014/main" id="{4188B559-02F1-D790-164A-1F2C42C55C62}"/>
              </a:ext>
            </a:extLst>
          </p:cNvPr>
          <p:cNvSpPr/>
          <p:nvPr/>
        </p:nvSpPr>
        <p:spPr>
          <a:xfrm>
            <a:off x="2690744" y="3391862"/>
            <a:ext cx="178288" cy="96690"/>
          </a:xfrm>
          <a:custGeom>
            <a:avLst/>
            <a:gdLst>
              <a:gd name="connsiteX0" fmla="*/ 138160 w 178288"/>
              <a:gd name="connsiteY0" fmla="*/ 96690 h 96690"/>
              <a:gd name="connsiteX1" fmla="*/ 178289 w 178288"/>
              <a:gd name="connsiteY1" fmla="*/ 56561 h 96690"/>
              <a:gd name="connsiteX2" fmla="*/ 178289 w 178288"/>
              <a:gd name="connsiteY2" fmla="*/ 40129 h 96690"/>
              <a:gd name="connsiteX3" fmla="*/ 138160 w 178288"/>
              <a:gd name="connsiteY3" fmla="*/ 0 h 96690"/>
              <a:gd name="connsiteX4" fmla="*/ 27873 w 178288"/>
              <a:gd name="connsiteY4" fmla="*/ 0 h 96690"/>
              <a:gd name="connsiteX5" fmla="*/ 23774 w 178288"/>
              <a:gd name="connsiteY5" fmla="*/ 11071 h 96690"/>
              <a:gd name="connsiteX6" fmla="*/ 0 w 178288"/>
              <a:gd name="connsiteY6" fmla="*/ 96690 h 96690"/>
              <a:gd name="connsiteX7" fmla="*/ 138160 w 178288"/>
              <a:gd name="connsiteY7" fmla="*/ 96690 h 9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8288" h="96690">
                <a:moveTo>
                  <a:pt x="138160" y="96690"/>
                </a:moveTo>
                <a:cubicBezTo>
                  <a:pt x="160322" y="96690"/>
                  <a:pt x="178289" y="78724"/>
                  <a:pt x="178289" y="56561"/>
                </a:cubicBezTo>
                <a:lnTo>
                  <a:pt x="178289" y="40129"/>
                </a:lnTo>
                <a:cubicBezTo>
                  <a:pt x="178289" y="17967"/>
                  <a:pt x="160322" y="0"/>
                  <a:pt x="138160" y="0"/>
                </a:cubicBezTo>
                <a:lnTo>
                  <a:pt x="27873" y="0"/>
                </a:lnTo>
                <a:cubicBezTo>
                  <a:pt x="26222" y="3535"/>
                  <a:pt x="24843" y="7226"/>
                  <a:pt x="23774" y="11071"/>
                </a:cubicBezTo>
                <a:lnTo>
                  <a:pt x="0" y="96690"/>
                </a:lnTo>
                <a:lnTo>
                  <a:pt x="138160" y="96690"/>
                </a:lnTo>
                <a:close/>
              </a:path>
            </a:pathLst>
          </a:custGeom>
          <a:solidFill>
            <a:srgbClr val="26479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90" name="Freeform: Shape 2489">
            <a:extLst>
              <a:ext uri="{FF2B5EF4-FFF2-40B4-BE49-F238E27FC236}">
                <a16:creationId xmlns:a16="http://schemas.microsoft.com/office/drawing/2014/main" id="{3B01A770-2ACA-92AC-761D-2AC83EE6974A}"/>
              </a:ext>
            </a:extLst>
          </p:cNvPr>
          <p:cNvSpPr/>
          <p:nvPr/>
        </p:nvSpPr>
        <p:spPr>
          <a:xfrm>
            <a:off x="2730388" y="3410858"/>
            <a:ext cx="14800" cy="25036"/>
          </a:xfrm>
          <a:custGeom>
            <a:avLst/>
            <a:gdLst>
              <a:gd name="connsiteX0" fmla="*/ 7400 w 14800"/>
              <a:gd name="connsiteY0" fmla="*/ 25037 h 25036"/>
              <a:gd name="connsiteX1" fmla="*/ 7400 w 14800"/>
              <a:gd name="connsiteY1" fmla="*/ 25037 h 25036"/>
              <a:gd name="connsiteX2" fmla="*/ 0 w 14800"/>
              <a:gd name="connsiteY2" fmla="*/ 17637 h 25036"/>
              <a:gd name="connsiteX3" fmla="*/ 0 w 14800"/>
              <a:gd name="connsiteY3" fmla="*/ 7400 h 25036"/>
              <a:gd name="connsiteX4" fmla="*/ 7400 w 14800"/>
              <a:gd name="connsiteY4" fmla="*/ 0 h 25036"/>
              <a:gd name="connsiteX5" fmla="*/ 7400 w 14800"/>
              <a:gd name="connsiteY5" fmla="*/ 0 h 25036"/>
              <a:gd name="connsiteX6" fmla="*/ 14801 w 14800"/>
              <a:gd name="connsiteY6" fmla="*/ 7400 h 25036"/>
              <a:gd name="connsiteX7" fmla="*/ 14801 w 14800"/>
              <a:gd name="connsiteY7" fmla="*/ 17637 h 25036"/>
              <a:gd name="connsiteX8" fmla="*/ 7400 w 14800"/>
              <a:gd name="connsiteY8" fmla="*/ 25037 h 25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" h="25036">
                <a:moveTo>
                  <a:pt x="7400" y="25037"/>
                </a:moveTo>
                <a:lnTo>
                  <a:pt x="7400" y="25037"/>
                </a:lnTo>
                <a:cubicBezTo>
                  <a:pt x="3321" y="25037"/>
                  <a:pt x="0" y="21716"/>
                  <a:pt x="0" y="17637"/>
                </a:cubicBezTo>
                <a:lnTo>
                  <a:pt x="0" y="7400"/>
                </a:lnTo>
                <a:cubicBezTo>
                  <a:pt x="0" y="3321"/>
                  <a:pt x="3321" y="0"/>
                  <a:pt x="7400" y="0"/>
                </a:cubicBezTo>
                <a:lnTo>
                  <a:pt x="7400" y="0"/>
                </a:lnTo>
                <a:cubicBezTo>
                  <a:pt x="11479" y="0"/>
                  <a:pt x="14801" y="3321"/>
                  <a:pt x="14801" y="7400"/>
                </a:cubicBezTo>
                <a:lnTo>
                  <a:pt x="14801" y="17637"/>
                </a:lnTo>
                <a:cubicBezTo>
                  <a:pt x="14801" y="21716"/>
                  <a:pt x="11479" y="25037"/>
                  <a:pt x="7400" y="25037"/>
                </a:cubicBezTo>
                <a:close/>
              </a:path>
            </a:pathLst>
          </a:custGeom>
          <a:solidFill>
            <a:srgbClr val="DDF6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91" name="Freeform: Shape 2490">
            <a:extLst>
              <a:ext uri="{FF2B5EF4-FFF2-40B4-BE49-F238E27FC236}">
                <a16:creationId xmlns:a16="http://schemas.microsoft.com/office/drawing/2014/main" id="{E9EBD60F-F9AC-8DE7-8E16-77115AF93250}"/>
              </a:ext>
            </a:extLst>
          </p:cNvPr>
          <p:cNvSpPr/>
          <p:nvPr/>
        </p:nvSpPr>
        <p:spPr>
          <a:xfrm>
            <a:off x="2809480" y="3410858"/>
            <a:ext cx="14800" cy="25036"/>
          </a:xfrm>
          <a:custGeom>
            <a:avLst/>
            <a:gdLst>
              <a:gd name="connsiteX0" fmla="*/ 7400 w 14800"/>
              <a:gd name="connsiteY0" fmla="*/ 25037 h 25036"/>
              <a:gd name="connsiteX1" fmla="*/ 7400 w 14800"/>
              <a:gd name="connsiteY1" fmla="*/ 25037 h 25036"/>
              <a:gd name="connsiteX2" fmla="*/ 0 w 14800"/>
              <a:gd name="connsiteY2" fmla="*/ 17637 h 25036"/>
              <a:gd name="connsiteX3" fmla="*/ 0 w 14800"/>
              <a:gd name="connsiteY3" fmla="*/ 7400 h 25036"/>
              <a:gd name="connsiteX4" fmla="*/ 7400 w 14800"/>
              <a:gd name="connsiteY4" fmla="*/ 0 h 25036"/>
              <a:gd name="connsiteX5" fmla="*/ 7400 w 14800"/>
              <a:gd name="connsiteY5" fmla="*/ 0 h 25036"/>
              <a:gd name="connsiteX6" fmla="*/ 14801 w 14800"/>
              <a:gd name="connsiteY6" fmla="*/ 7400 h 25036"/>
              <a:gd name="connsiteX7" fmla="*/ 14801 w 14800"/>
              <a:gd name="connsiteY7" fmla="*/ 17637 h 25036"/>
              <a:gd name="connsiteX8" fmla="*/ 7400 w 14800"/>
              <a:gd name="connsiteY8" fmla="*/ 25037 h 25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" h="25036">
                <a:moveTo>
                  <a:pt x="7400" y="25037"/>
                </a:moveTo>
                <a:lnTo>
                  <a:pt x="7400" y="25037"/>
                </a:lnTo>
                <a:cubicBezTo>
                  <a:pt x="3321" y="25037"/>
                  <a:pt x="0" y="21716"/>
                  <a:pt x="0" y="17637"/>
                </a:cubicBezTo>
                <a:lnTo>
                  <a:pt x="0" y="7400"/>
                </a:lnTo>
                <a:cubicBezTo>
                  <a:pt x="0" y="3321"/>
                  <a:pt x="3321" y="0"/>
                  <a:pt x="7400" y="0"/>
                </a:cubicBezTo>
                <a:lnTo>
                  <a:pt x="7400" y="0"/>
                </a:lnTo>
                <a:cubicBezTo>
                  <a:pt x="11479" y="0"/>
                  <a:pt x="14801" y="3321"/>
                  <a:pt x="14801" y="7400"/>
                </a:cubicBezTo>
                <a:lnTo>
                  <a:pt x="14801" y="17637"/>
                </a:lnTo>
                <a:cubicBezTo>
                  <a:pt x="14801" y="21716"/>
                  <a:pt x="11479" y="25037"/>
                  <a:pt x="7400" y="25037"/>
                </a:cubicBezTo>
                <a:close/>
              </a:path>
            </a:pathLst>
          </a:custGeom>
          <a:solidFill>
            <a:srgbClr val="DDF6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92" name="Freeform: Shape 2491">
            <a:extLst>
              <a:ext uri="{FF2B5EF4-FFF2-40B4-BE49-F238E27FC236}">
                <a16:creationId xmlns:a16="http://schemas.microsoft.com/office/drawing/2014/main" id="{A495227B-7C4E-F029-646F-1DB4BB379BFE}"/>
              </a:ext>
            </a:extLst>
          </p:cNvPr>
          <p:cNvSpPr/>
          <p:nvPr/>
        </p:nvSpPr>
        <p:spPr>
          <a:xfrm>
            <a:off x="2751632" y="3458718"/>
            <a:ext cx="37575" cy="19559"/>
          </a:xfrm>
          <a:custGeom>
            <a:avLst/>
            <a:gdLst>
              <a:gd name="connsiteX0" fmla="*/ 32695 w 37575"/>
              <a:gd name="connsiteY0" fmla="*/ 0 h 19559"/>
              <a:gd name="connsiteX1" fmla="*/ 37337 w 37575"/>
              <a:gd name="connsiteY1" fmla="*/ 6216 h 19559"/>
              <a:gd name="connsiteX2" fmla="*/ 18788 w 37575"/>
              <a:gd name="connsiteY2" fmla="*/ 19559 h 19559"/>
              <a:gd name="connsiteX3" fmla="*/ 238 w 37575"/>
              <a:gd name="connsiteY3" fmla="*/ 6216 h 19559"/>
              <a:gd name="connsiteX4" fmla="*/ 4880 w 37575"/>
              <a:gd name="connsiteY4" fmla="*/ 0 h 19559"/>
              <a:gd name="connsiteX5" fmla="*/ 32676 w 37575"/>
              <a:gd name="connsiteY5" fmla="*/ 0 h 19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575" h="19559">
                <a:moveTo>
                  <a:pt x="32695" y="0"/>
                </a:moveTo>
                <a:cubicBezTo>
                  <a:pt x="35919" y="0"/>
                  <a:pt x="38367" y="3147"/>
                  <a:pt x="37337" y="6216"/>
                </a:cubicBezTo>
                <a:cubicBezTo>
                  <a:pt x="34734" y="13966"/>
                  <a:pt x="27412" y="19559"/>
                  <a:pt x="18788" y="19559"/>
                </a:cubicBezTo>
                <a:cubicBezTo>
                  <a:pt x="10164" y="19559"/>
                  <a:pt x="2841" y="13966"/>
                  <a:pt x="238" y="6216"/>
                </a:cubicBezTo>
                <a:cubicBezTo>
                  <a:pt x="-791" y="3147"/>
                  <a:pt x="1656" y="0"/>
                  <a:pt x="4880" y="0"/>
                </a:cubicBezTo>
                <a:lnTo>
                  <a:pt x="32676" y="0"/>
                </a:lnTo>
                <a:close/>
              </a:path>
            </a:pathLst>
          </a:custGeom>
          <a:solidFill>
            <a:srgbClr val="DDF6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93" name="Freeform: Shape 2492">
            <a:extLst>
              <a:ext uri="{FF2B5EF4-FFF2-40B4-BE49-F238E27FC236}">
                <a16:creationId xmlns:a16="http://schemas.microsoft.com/office/drawing/2014/main" id="{B8EAA36B-CFE0-F654-868D-3A550E93D870}"/>
              </a:ext>
            </a:extLst>
          </p:cNvPr>
          <p:cNvSpPr/>
          <p:nvPr/>
        </p:nvSpPr>
        <p:spPr>
          <a:xfrm>
            <a:off x="2645478" y="3555699"/>
            <a:ext cx="275512" cy="204743"/>
          </a:xfrm>
          <a:custGeom>
            <a:avLst/>
            <a:gdLst>
              <a:gd name="connsiteX0" fmla="*/ 275493 w 275512"/>
              <a:gd name="connsiteY0" fmla="*/ 24629 h 204743"/>
              <a:gd name="connsiteX1" fmla="*/ 246824 w 275512"/>
              <a:gd name="connsiteY1" fmla="*/ 0 h 204743"/>
              <a:gd name="connsiteX2" fmla="*/ 65447 w 275512"/>
              <a:gd name="connsiteY2" fmla="*/ 0 h 204743"/>
              <a:gd name="connsiteX3" fmla="*/ 16208 w 275512"/>
              <a:gd name="connsiteY3" fmla="*/ 37429 h 204743"/>
              <a:gd name="connsiteX4" fmla="*/ 3564 w 275512"/>
              <a:gd name="connsiteY4" fmla="*/ 82919 h 204743"/>
              <a:gd name="connsiteX5" fmla="*/ 96156 w 275512"/>
              <a:gd name="connsiteY5" fmla="*/ 204743 h 204743"/>
              <a:gd name="connsiteX6" fmla="*/ 198440 w 275512"/>
              <a:gd name="connsiteY6" fmla="*/ 204743 h 204743"/>
              <a:gd name="connsiteX7" fmla="*/ 208521 w 275512"/>
              <a:gd name="connsiteY7" fmla="*/ 204005 h 204743"/>
              <a:gd name="connsiteX8" fmla="*/ 255079 w 275512"/>
              <a:gd name="connsiteY8" fmla="*/ 118309 h 204743"/>
              <a:gd name="connsiteX9" fmla="*/ 275512 w 275512"/>
              <a:gd name="connsiteY9" fmla="*/ 24610 h 204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5512" h="204743">
                <a:moveTo>
                  <a:pt x="275493" y="24629"/>
                </a:moveTo>
                <a:cubicBezTo>
                  <a:pt x="273356" y="10683"/>
                  <a:pt x="261353" y="0"/>
                  <a:pt x="246824" y="0"/>
                </a:cubicBezTo>
                <a:lnTo>
                  <a:pt x="65447" y="0"/>
                </a:lnTo>
                <a:cubicBezTo>
                  <a:pt x="42488" y="0"/>
                  <a:pt x="22346" y="15306"/>
                  <a:pt x="16208" y="37429"/>
                </a:cubicBezTo>
                <a:lnTo>
                  <a:pt x="3564" y="82919"/>
                </a:lnTo>
                <a:cubicBezTo>
                  <a:pt x="-13451" y="144161"/>
                  <a:pt x="32602" y="204743"/>
                  <a:pt x="96156" y="204743"/>
                </a:cubicBezTo>
                <a:lnTo>
                  <a:pt x="198440" y="204743"/>
                </a:lnTo>
                <a:cubicBezTo>
                  <a:pt x="201858" y="204743"/>
                  <a:pt x="205219" y="204452"/>
                  <a:pt x="208521" y="204005"/>
                </a:cubicBezTo>
                <a:cubicBezTo>
                  <a:pt x="231246" y="181047"/>
                  <a:pt x="247795" y="151678"/>
                  <a:pt x="255079" y="118309"/>
                </a:cubicBezTo>
                <a:lnTo>
                  <a:pt x="275512" y="2461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94" name="Freeform: Shape 2493">
            <a:extLst>
              <a:ext uri="{FF2B5EF4-FFF2-40B4-BE49-F238E27FC236}">
                <a16:creationId xmlns:a16="http://schemas.microsoft.com/office/drawing/2014/main" id="{9362D92C-0241-62AC-DD90-D5969347D3B5}"/>
              </a:ext>
            </a:extLst>
          </p:cNvPr>
          <p:cNvSpPr/>
          <p:nvPr/>
        </p:nvSpPr>
        <p:spPr>
          <a:xfrm>
            <a:off x="2649566" y="3589360"/>
            <a:ext cx="212842" cy="109568"/>
          </a:xfrm>
          <a:custGeom>
            <a:avLst/>
            <a:gdLst>
              <a:gd name="connsiteX0" fmla="*/ 212824 w 212842"/>
              <a:gd name="connsiteY0" fmla="*/ 64098 h 109568"/>
              <a:gd name="connsiteX1" fmla="*/ 212824 w 212842"/>
              <a:gd name="connsiteY1" fmla="*/ 45470 h 109568"/>
              <a:gd name="connsiteX2" fmla="*/ 167353 w 212842"/>
              <a:gd name="connsiteY2" fmla="*/ 0 h 109568"/>
              <a:gd name="connsiteX3" fmla="*/ 13325 w 212842"/>
              <a:gd name="connsiteY3" fmla="*/ 0 h 109568"/>
              <a:gd name="connsiteX4" fmla="*/ 12120 w 212842"/>
              <a:gd name="connsiteY4" fmla="*/ 3749 h 109568"/>
              <a:gd name="connsiteX5" fmla="*/ 11207 w 212842"/>
              <a:gd name="connsiteY5" fmla="*/ 7031 h 109568"/>
              <a:gd name="connsiteX6" fmla="*/ 167353 w 212842"/>
              <a:gd name="connsiteY6" fmla="*/ 7031 h 109568"/>
              <a:gd name="connsiteX7" fmla="*/ 205792 w 212842"/>
              <a:gd name="connsiteY7" fmla="*/ 45470 h 109568"/>
              <a:gd name="connsiteX8" fmla="*/ 205792 w 212842"/>
              <a:gd name="connsiteY8" fmla="*/ 64098 h 109568"/>
              <a:gd name="connsiteX9" fmla="*/ 167353 w 212842"/>
              <a:gd name="connsiteY9" fmla="*/ 102537 h 109568"/>
              <a:gd name="connsiteX10" fmla="*/ 0 w 212842"/>
              <a:gd name="connsiteY10" fmla="*/ 102537 h 109568"/>
              <a:gd name="connsiteX11" fmla="*/ 2389 w 212842"/>
              <a:gd name="connsiteY11" fmla="*/ 109568 h 109568"/>
              <a:gd name="connsiteX12" fmla="*/ 167372 w 212842"/>
              <a:gd name="connsiteY12" fmla="*/ 109568 h 109568"/>
              <a:gd name="connsiteX13" fmla="*/ 212843 w 212842"/>
              <a:gd name="connsiteY13" fmla="*/ 64098 h 109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12842" h="109568">
                <a:moveTo>
                  <a:pt x="212824" y="64098"/>
                </a:moveTo>
                <a:lnTo>
                  <a:pt x="212824" y="45470"/>
                </a:lnTo>
                <a:cubicBezTo>
                  <a:pt x="212824" y="20356"/>
                  <a:pt x="192468" y="0"/>
                  <a:pt x="167353" y="0"/>
                </a:cubicBezTo>
                <a:lnTo>
                  <a:pt x="13325" y="0"/>
                </a:lnTo>
                <a:cubicBezTo>
                  <a:pt x="12878" y="1224"/>
                  <a:pt x="12470" y="2467"/>
                  <a:pt x="12120" y="3749"/>
                </a:cubicBezTo>
                <a:lnTo>
                  <a:pt x="11207" y="7031"/>
                </a:lnTo>
                <a:lnTo>
                  <a:pt x="167353" y="7031"/>
                </a:lnTo>
                <a:cubicBezTo>
                  <a:pt x="188544" y="7031"/>
                  <a:pt x="205792" y="24279"/>
                  <a:pt x="205792" y="45470"/>
                </a:cubicBezTo>
                <a:lnTo>
                  <a:pt x="205792" y="64098"/>
                </a:lnTo>
                <a:cubicBezTo>
                  <a:pt x="205792" y="85289"/>
                  <a:pt x="188544" y="102537"/>
                  <a:pt x="167353" y="102537"/>
                </a:cubicBezTo>
                <a:lnTo>
                  <a:pt x="0" y="102537"/>
                </a:lnTo>
                <a:cubicBezTo>
                  <a:pt x="719" y="104907"/>
                  <a:pt x="1496" y="107257"/>
                  <a:pt x="2389" y="109568"/>
                </a:cubicBezTo>
                <a:lnTo>
                  <a:pt x="167372" y="109568"/>
                </a:lnTo>
                <a:cubicBezTo>
                  <a:pt x="192487" y="109568"/>
                  <a:pt x="212843" y="89212"/>
                  <a:pt x="212843" y="64098"/>
                </a:cubicBezTo>
                <a:close/>
              </a:path>
            </a:pathLst>
          </a:custGeom>
          <a:solidFill>
            <a:srgbClr val="9EC5F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95" name="Freeform: Shape 2494">
            <a:extLst>
              <a:ext uri="{FF2B5EF4-FFF2-40B4-BE49-F238E27FC236}">
                <a16:creationId xmlns:a16="http://schemas.microsoft.com/office/drawing/2014/main" id="{C661D975-A9D5-A714-7F31-F93D9C061B98}"/>
              </a:ext>
            </a:extLst>
          </p:cNvPr>
          <p:cNvSpPr/>
          <p:nvPr/>
        </p:nvSpPr>
        <p:spPr>
          <a:xfrm>
            <a:off x="2885310" y="3407284"/>
            <a:ext cx="36030" cy="74683"/>
          </a:xfrm>
          <a:custGeom>
            <a:avLst/>
            <a:gdLst>
              <a:gd name="connsiteX0" fmla="*/ 0 w 36030"/>
              <a:gd name="connsiteY0" fmla="*/ 23502 h 74683"/>
              <a:gd name="connsiteX1" fmla="*/ 0 w 36030"/>
              <a:gd name="connsiteY1" fmla="*/ 51181 h 74683"/>
              <a:gd name="connsiteX2" fmla="*/ 23502 w 36030"/>
              <a:gd name="connsiteY2" fmla="*/ 74683 h 74683"/>
              <a:gd name="connsiteX3" fmla="*/ 36031 w 36030"/>
              <a:gd name="connsiteY3" fmla="*/ 70993 h 74683"/>
              <a:gd name="connsiteX4" fmla="*/ 36031 w 36030"/>
              <a:gd name="connsiteY4" fmla="*/ 61747 h 74683"/>
              <a:gd name="connsiteX5" fmla="*/ 23502 w 36030"/>
              <a:gd name="connsiteY5" fmla="*/ 67652 h 74683"/>
              <a:gd name="connsiteX6" fmla="*/ 7031 w 36030"/>
              <a:gd name="connsiteY6" fmla="*/ 51181 h 74683"/>
              <a:gd name="connsiteX7" fmla="*/ 7031 w 36030"/>
              <a:gd name="connsiteY7" fmla="*/ 23502 h 74683"/>
              <a:gd name="connsiteX8" fmla="*/ 23502 w 36030"/>
              <a:gd name="connsiteY8" fmla="*/ 7031 h 74683"/>
              <a:gd name="connsiteX9" fmla="*/ 35934 w 36030"/>
              <a:gd name="connsiteY9" fmla="*/ 12820 h 74683"/>
              <a:gd name="connsiteX10" fmla="*/ 35021 w 36030"/>
              <a:gd name="connsiteY10" fmla="*/ 3147 h 74683"/>
              <a:gd name="connsiteX11" fmla="*/ 23502 w 36030"/>
              <a:gd name="connsiteY11" fmla="*/ 0 h 74683"/>
              <a:gd name="connsiteX12" fmla="*/ 0 w 36030"/>
              <a:gd name="connsiteY12" fmla="*/ 23502 h 74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6030" h="74683">
                <a:moveTo>
                  <a:pt x="0" y="23502"/>
                </a:moveTo>
                <a:lnTo>
                  <a:pt x="0" y="51181"/>
                </a:lnTo>
                <a:cubicBezTo>
                  <a:pt x="0" y="64137"/>
                  <a:pt x="10547" y="74683"/>
                  <a:pt x="23502" y="74683"/>
                </a:cubicBezTo>
                <a:cubicBezTo>
                  <a:pt x="28125" y="74683"/>
                  <a:pt x="32398" y="73304"/>
                  <a:pt x="36031" y="70993"/>
                </a:cubicBezTo>
                <a:lnTo>
                  <a:pt x="36031" y="61747"/>
                </a:lnTo>
                <a:cubicBezTo>
                  <a:pt x="33001" y="65321"/>
                  <a:pt x="28533" y="67652"/>
                  <a:pt x="23502" y="67652"/>
                </a:cubicBezTo>
                <a:cubicBezTo>
                  <a:pt x="14412" y="67652"/>
                  <a:pt x="7031" y="60271"/>
                  <a:pt x="7031" y="51181"/>
                </a:cubicBezTo>
                <a:lnTo>
                  <a:pt x="7031" y="23502"/>
                </a:lnTo>
                <a:cubicBezTo>
                  <a:pt x="7031" y="14412"/>
                  <a:pt x="14432" y="7031"/>
                  <a:pt x="23502" y="7031"/>
                </a:cubicBezTo>
                <a:cubicBezTo>
                  <a:pt x="28494" y="7031"/>
                  <a:pt x="32923" y="9304"/>
                  <a:pt x="35934" y="12820"/>
                </a:cubicBezTo>
                <a:cubicBezTo>
                  <a:pt x="35856" y="9537"/>
                  <a:pt x="35526" y="6313"/>
                  <a:pt x="35021" y="3147"/>
                </a:cubicBezTo>
                <a:cubicBezTo>
                  <a:pt x="31602" y="1204"/>
                  <a:pt x="27717" y="0"/>
                  <a:pt x="23502" y="0"/>
                </a:cubicBezTo>
                <a:cubicBezTo>
                  <a:pt x="10547" y="0"/>
                  <a:pt x="0" y="10547"/>
                  <a:pt x="0" y="23502"/>
                </a:cubicBezTo>
                <a:close/>
              </a:path>
            </a:pathLst>
          </a:custGeom>
          <a:solidFill>
            <a:srgbClr val="9EC5F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96" name="Freeform: Shape 2495">
            <a:extLst>
              <a:ext uri="{FF2B5EF4-FFF2-40B4-BE49-F238E27FC236}">
                <a16:creationId xmlns:a16="http://schemas.microsoft.com/office/drawing/2014/main" id="{F8AAF149-BCB4-27BB-82FC-FED4D725578C}"/>
              </a:ext>
            </a:extLst>
          </p:cNvPr>
          <p:cNvSpPr/>
          <p:nvPr/>
        </p:nvSpPr>
        <p:spPr>
          <a:xfrm>
            <a:off x="2536910" y="3644912"/>
            <a:ext cx="281990" cy="53531"/>
          </a:xfrm>
          <a:custGeom>
            <a:avLst/>
            <a:gdLst>
              <a:gd name="connsiteX0" fmla="*/ 255225 w 281990"/>
              <a:gd name="connsiteY0" fmla="*/ 53531 h 53531"/>
              <a:gd name="connsiteX1" fmla="*/ 26766 w 281990"/>
              <a:gd name="connsiteY1" fmla="*/ 53531 h 53531"/>
              <a:gd name="connsiteX2" fmla="*/ 0 w 281990"/>
              <a:gd name="connsiteY2" fmla="*/ 26766 h 53531"/>
              <a:gd name="connsiteX3" fmla="*/ 0 w 281990"/>
              <a:gd name="connsiteY3" fmla="*/ 26766 h 53531"/>
              <a:gd name="connsiteX4" fmla="*/ 26766 w 281990"/>
              <a:gd name="connsiteY4" fmla="*/ 0 h 53531"/>
              <a:gd name="connsiteX5" fmla="*/ 255225 w 281990"/>
              <a:gd name="connsiteY5" fmla="*/ 0 h 53531"/>
              <a:gd name="connsiteX6" fmla="*/ 281991 w 281990"/>
              <a:gd name="connsiteY6" fmla="*/ 26766 h 53531"/>
              <a:gd name="connsiteX7" fmla="*/ 281991 w 281990"/>
              <a:gd name="connsiteY7" fmla="*/ 26766 h 53531"/>
              <a:gd name="connsiteX8" fmla="*/ 255225 w 281990"/>
              <a:gd name="connsiteY8" fmla="*/ 53531 h 53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1990" h="53531">
                <a:moveTo>
                  <a:pt x="255225" y="53531"/>
                </a:moveTo>
                <a:lnTo>
                  <a:pt x="26766" y="53531"/>
                </a:lnTo>
                <a:cubicBezTo>
                  <a:pt x="11984" y="53531"/>
                  <a:pt x="0" y="41547"/>
                  <a:pt x="0" y="26766"/>
                </a:cubicBezTo>
                <a:lnTo>
                  <a:pt x="0" y="26766"/>
                </a:lnTo>
                <a:cubicBezTo>
                  <a:pt x="0" y="11984"/>
                  <a:pt x="11984" y="0"/>
                  <a:pt x="26766" y="0"/>
                </a:cubicBezTo>
                <a:lnTo>
                  <a:pt x="255225" y="0"/>
                </a:lnTo>
                <a:cubicBezTo>
                  <a:pt x="270006" y="0"/>
                  <a:pt x="281991" y="11984"/>
                  <a:pt x="281991" y="26766"/>
                </a:cubicBezTo>
                <a:lnTo>
                  <a:pt x="281991" y="26766"/>
                </a:lnTo>
                <a:cubicBezTo>
                  <a:pt x="281991" y="41547"/>
                  <a:pt x="270006" y="53531"/>
                  <a:pt x="255225" y="53531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97" name="Freeform: Shape 2496">
            <a:extLst>
              <a:ext uri="{FF2B5EF4-FFF2-40B4-BE49-F238E27FC236}">
                <a16:creationId xmlns:a16="http://schemas.microsoft.com/office/drawing/2014/main" id="{3F957C92-F684-CB33-95F6-AEDC65C31D04}"/>
              </a:ext>
            </a:extLst>
          </p:cNvPr>
          <p:cNvSpPr/>
          <p:nvPr/>
        </p:nvSpPr>
        <p:spPr>
          <a:xfrm>
            <a:off x="2735515" y="3665908"/>
            <a:ext cx="10916" cy="10916"/>
          </a:xfrm>
          <a:custGeom>
            <a:avLst/>
            <a:gdLst>
              <a:gd name="connsiteX0" fmla="*/ 10916 w 10916"/>
              <a:gd name="connsiteY0" fmla="*/ 5458 h 10916"/>
              <a:gd name="connsiteX1" fmla="*/ 5458 w 10916"/>
              <a:gd name="connsiteY1" fmla="*/ 10916 h 10916"/>
              <a:gd name="connsiteX2" fmla="*/ 0 w 10916"/>
              <a:gd name="connsiteY2" fmla="*/ 5458 h 10916"/>
              <a:gd name="connsiteX3" fmla="*/ 5458 w 10916"/>
              <a:gd name="connsiteY3" fmla="*/ 0 h 10916"/>
              <a:gd name="connsiteX4" fmla="*/ 10916 w 10916"/>
              <a:gd name="connsiteY4" fmla="*/ 5458 h 10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16" h="10916">
                <a:moveTo>
                  <a:pt x="10916" y="5458"/>
                </a:moveTo>
                <a:cubicBezTo>
                  <a:pt x="10916" y="8469"/>
                  <a:pt x="8469" y="10916"/>
                  <a:pt x="5458" y="10916"/>
                </a:cubicBezTo>
                <a:cubicBezTo>
                  <a:pt x="2447" y="10916"/>
                  <a:pt x="0" y="8469"/>
                  <a:pt x="0" y="5458"/>
                </a:cubicBezTo>
                <a:cubicBezTo>
                  <a:pt x="0" y="2447"/>
                  <a:pt x="2447" y="0"/>
                  <a:pt x="5458" y="0"/>
                </a:cubicBezTo>
                <a:cubicBezTo>
                  <a:pt x="8469" y="0"/>
                  <a:pt x="10916" y="2447"/>
                  <a:pt x="10916" y="5458"/>
                </a:cubicBezTo>
                <a:close/>
              </a:path>
            </a:pathLst>
          </a:custGeom>
          <a:solidFill>
            <a:srgbClr val="9EC5F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98" name="Freeform: Shape 2497">
            <a:extLst>
              <a:ext uri="{FF2B5EF4-FFF2-40B4-BE49-F238E27FC236}">
                <a16:creationId xmlns:a16="http://schemas.microsoft.com/office/drawing/2014/main" id="{3D2924C9-E933-9CDE-60CE-4786C5410451}"/>
              </a:ext>
            </a:extLst>
          </p:cNvPr>
          <p:cNvSpPr/>
          <p:nvPr/>
        </p:nvSpPr>
        <p:spPr>
          <a:xfrm>
            <a:off x="2755735" y="3665908"/>
            <a:ext cx="10916" cy="10916"/>
          </a:xfrm>
          <a:custGeom>
            <a:avLst/>
            <a:gdLst>
              <a:gd name="connsiteX0" fmla="*/ 10916 w 10916"/>
              <a:gd name="connsiteY0" fmla="*/ 5458 h 10916"/>
              <a:gd name="connsiteX1" fmla="*/ 5458 w 10916"/>
              <a:gd name="connsiteY1" fmla="*/ 10916 h 10916"/>
              <a:gd name="connsiteX2" fmla="*/ 0 w 10916"/>
              <a:gd name="connsiteY2" fmla="*/ 5458 h 10916"/>
              <a:gd name="connsiteX3" fmla="*/ 5458 w 10916"/>
              <a:gd name="connsiteY3" fmla="*/ 0 h 10916"/>
              <a:gd name="connsiteX4" fmla="*/ 10916 w 10916"/>
              <a:gd name="connsiteY4" fmla="*/ 5458 h 10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16" h="10916">
                <a:moveTo>
                  <a:pt x="10916" y="5458"/>
                </a:moveTo>
                <a:cubicBezTo>
                  <a:pt x="10916" y="8469"/>
                  <a:pt x="8469" y="10916"/>
                  <a:pt x="5458" y="10916"/>
                </a:cubicBezTo>
                <a:cubicBezTo>
                  <a:pt x="2447" y="10916"/>
                  <a:pt x="0" y="8469"/>
                  <a:pt x="0" y="5458"/>
                </a:cubicBezTo>
                <a:cubicBezTo>
                  <a:pt x="0" y="2447"/>
                  <a:pt x="2447" y="0"/>
                  <a:pt x="5458" y="0"/>
                </a:cubicBezTo>
                <a:cubicBezTo>
                  <a:pt x="8469" y="0"/>
                  <a:pt x="10916" y="2447"/>
                  <a:pt x="10916" y="5458"/>
                </a:cubicBezTo>
                <a:close/>
              </a:path>
            </a:pathLst>
          </a:custGeom>
          <a:solidFill>
            <a:srgbClr val="9EC5F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99" name="Freeform: Shape 2498">
            <a:extLst>
              <a:ext uri="{FF2B5EF4-FFF2-40B4-BE49-F238E27FC236}">
                <a16:creationId xmlns:a16="http://schemas.microsoft.com/office/drawing/2014/main" id="{9E0F6F1B-FDEE-D5FC-FDEE-9C625CD5C4FE}"/>
              </a:ext>
            </a:extLst>
          </p:cNvPr>
          <p:cNvSpPr/>
          <p:nvPr/>
        </p:nvSpPr>
        <p:spPr>
          <a:xfrm>
            <a:off x="2775955" y="3665908"/>
            <a:ext cx="10916" cy="10916"/>
          </a:xfrm>
          <a:custGeom>
            <a:avLst/>
            <a:gdLst>
              <a:gd name="connsiteX0" fmla="*/ 10916 w 10916"/>
              <a:gd name="connsiteY0" fmla="*/ 5458 h 10916"/>
              <a:gd name="connsiteX1" fmla="*/ 5458 w 10916"/>
              <a:gd name="connsiteY1" fmla="*/ 10916 h 10916"/>
              <a:gd name="connsiteX2" fmla="*/ 0 w 10916"/>
              <a:gd name="connsiteY2" fmla="*/ 5458 h 10916"/>
              <a:gd name="connsiteX3" fmla="*/ 5458 w 10916"/>
              <a:gd name="connsiteY3" fmla="*/ 0 h 10916"/>
              <a:gd name="connsiteX4" fmla="*/ 10916 w 10916"/>
              <a:gd name="connsiteY4" fmla="*/ 5458 h 10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16" h="10916">
                <a:moveTo>
                  <a:pt x="10916" y="5458"/>
                </a:moveTo>
                <a:cubicBezTo>
                  <a:pt x="10916" y="8469"/>
                  <a:pt x="8469" y="10916"/>
                  <a:pt x="5458" y="10916"/>
                </a:cubicBezTo>
                <a:cubicBezTo>
                  <a:pt x="2447" y="10916"/>
                  <a:pt x="0" y="8469"/>
                  <a:pt x="0" y="5458"/>
                </a:cubicBezTo>
                <a:cubicBezTo>
                  <a:pt x="0" y="2447"/>
                  <a:pt x="2447" y="0"/>
                  <a:pt x="5458" y="0"/>
                </a:cubicBezTo>
                <a:cubicBezTo>
                  <a:pt x="8469" y="0"/>
                  <a:pt x="10916" y="2447"/>
                  <a:pt x="10916" y="5458"/>
                </a:cubicBezTo>
                <a:close/>
              </a:path>
            </a:pathLst>
          </a:custGeom>
          <a:solidFill>
            <a:srgbClr val="9EC5F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00" name="Freeform: Shape 2499">
            <a:extLst>
              <a:ext uri="{FF2B5EF4-FFF2-40B4-BE49-F238E27FC236}">
                <a16:creationId xmlns:a16="http://schemas.microsoft.com/office/drawing/2014/main" id="{17428F8C-8C52-D8C6-444B-3A84EE79947D}"/>
              </a:ext>
            </a:extLst>
          </p:cNvPr>
          <p:cNvSpPr/>
          <p:nvPr/>
        </p:nvSpPr>
        <p:spPr>
          <a:xfrm>
            <a:off x="2770147" y="3596411"/>
            <a:ext cx="11285" cy="17927"/>
          </a:xfrm>
          <a:custGeom>
            <a:avLst/>
            <a:gdLst>
              <a:gd name="connsiteX0" fmla="*/ 5633 w 11285"/>
              <a:gd name="connsiteY0" fmla="*/ 17928 h 17927"/>
              <a:gd name="connsiteX1" fmla="*/ 5633 w 11285"/>
              <a:gd name="connsiteY1" fmla="*/ 17928 h 17927"/>
              <a:gd name="connsiteX2" fmla="*/ 0 w 11285"/>
              <a:gd name="connsiteY2" fmla="*/ 12295 h 17927"/>
              <a:gd name="connsiteX3" fmla="*/ 0 w 11285"/>
              <a:gd name="connsiteY3" fmla="*/ 0 h 17927"/>
              <a:gd name="connsiteX4" fmla="*/ 11285 w 11285"/>
              <a:gd name="connsiteY4" fmla="*/ 0 h 17927"/>
              <a:gd name="connsiteX5" fmla="*/ 11285 w 11285"/>
              <a:gd name="connsiteY5" fmla="*/ 12295 h 17927"/>
              <a:gd name="connsiteX6" fmla="*/ 5652 w 11285"/>
              <a:gd name="connsiteY6" fmla="*/ 17928 h 17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5" h="17927">
                <a:moveTo>
                  <a:pt x="5633" y="17928"/>
                </a:moveTo>
                <a:lnTo>
                  <a:pt x="5633" y="17928"/>
                </a:lnTo>
                <a:cubicBezTo>
                  <a:pt x="2525" y="17928"/>
                  <a:pt x="0" y="15403"/>
                  <a:pt x="0" y="12295"/>
                </a:cubicBezTo>
                <a:lnTo>
                  <a:pt x="0" y="0"/>
                </a:lnTo>
                <a:lnTo>
                  <a:pt x="11285" y="0"/>
                </a:lnTo>
                <a:lnTo>
                  <a:pt x="11285" y="12295"/>
                </a:lnTo>
                <a:cubicBezTo>
                  <a:pt x="11285" y="15403"/>
                  <a:pt x="8760" y="17928"/>
                  <a:pt x="5652" y="17928"/>
                </a:cubicBezTo>
                <a:close/>
              </a:path>
            </a:pathLst>
          </a:custGeom>
          <a:solidFill>
            <a:srgbClr val="F5B23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01" name="Freeform: Shape 2500">
            <a:extLst>
              <a:ext uri="{FF2B5EF4-FFF2-40B4-BE49-F238E27FC236}">
                <a16:creationId xmlns:a16="http://schemas.microsoft.com/office/drawing/2014/main" id="{F97F0FE6-8141-0A73-D65A-9FEE1530E3CE}"/>
              </a:ext>
            </a:extLst>
          </p:cNvPr>
          <p:cNvSpPr/>
          <p:nvPr/>
        </p:nvSpPr>
        <p:spPr>
          <a:xfrm>
            <a:off x="2789454" y="3596411"/>
            <a:ext cx="11285" cy="17927"/>
          </a:xfrm>
          <a:custGeom>
            <a:avLst/>
            <a:gdLst>
              <a:gd name="connsiteX0" fmla="*/ 5633 w 11285"/>
              <a:gd name="connsiteY0" fmla="*/ 17928 h 17927"/>
              <a:gd name="connsiteX1" fmla="*/ 5633 w 11285"/>
              <a:gd name="connsiteY1" fmla="*/ 17928 h 17927"/>
              <a:gd name="connsiteX2" fmla="*/ 0 w 11285"/>
              <a:gd name="connsiteY2" fmla="*/ 12295 h 17927"/>
              <a:gd name="connsiteX3" fmla="*/ 0 w 11285"/>
              <a:gd name="connsiteY3" fmla="*/ 0 h 17927"/>
              <a:gd name="connsiteX4" fmla="*/ 11285 w 11285"/>
              <a:gd name="connsiteY4" fmla="*/ 0 h 17927"/>
              <a:gd name="connsiteX5" fmla="*/ 11285 w 11285"/>
              <a:gd name="connsiteY5" fmla="*/ 12295 h 17927"/>
              <a:gd name="connsiteX6" fmla="*/ 5652 w 11285"/>
              <a:gd name="connsiteY6" fmla="*/ 17928 h 17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5" h="17927">
                <a:moveTo>
                  <a:pt x="5633" y="17928"/>
                </a:moveTo>
                <a:lnTo>
                  <a:pt x="5633" y="17928"/>
                </a:lnTo>
                <a:cubicBezTo>
                  <a:pt x="2525" y="17928"/>
                  <a:pt x="0" y="15403"/>
                  <a:pt x="0" y="12295"/>
                </a:cubicBezTo>
                <a:lnTo>
                  <a:pt x="0" y="0"/>
                </a:lnTo>
                <a:lnTo>
                  <a:pt x="11285" y="0"/>
                </a:lnTo>
                <a:lnTo>
                  <a:pt x="11285" y="12295"/>
                </a:lnTo>
                <a:cubicBezTo>
                  <a:pt x="11285" y="15403"/>
                  <a:pt x="8760" y="17928"/>
                  <a:pt x="5652" y="17928"/>
                </a:cubicBezTo>
                <a:close/>
              </a:path>
            </a:pathLst>
          </a:custGeom>
          <a:solidFill>
            <a:srgbClr val="339E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02" name="Freeform: Shape 2501">
            <a:extLst>
              <a:ext uri="{FF2B5EF4-FFF2-40B4-BE49-F238E27FC236}">
                <a16:creationId xmlns:a16="http://schemas.microsoft.com/office/drawing/2014/main" id="{B8089CC5-9696-CB0C-8B96-D2993088B24B}"/>
              </a:ext>
            </a:extLst>
          </p:cNvPr>
          <p:cNvSpPr/>
          <p:nvPr/>
        </p:nvSpPr>
        <p:spPr>
          <a:xfrm>
            <a:off x="2541261" y="3518542"/>
            <a:ext cx="106615" cy="10449"/>
          </a:xfrm>
          <a:custGeom>
            <a:avLst/>
            <a:gdLst>
              <a:gd name="connsiteX0" fmla="*/ 101391 w 106615"/>
              <a:gd name="connsiteY0" fmla="*/ 10450 h 10449"/>
              <a:gd name="connsiteX1" fmla="*/ 5225 w 106615"/>
              <a:gd name="connsiteY1" fmla="*/ 10450 h 10449"/>
              <a:gd name="connsiteX2" fmla="*/ 0 w 106615"/>
              <a:gd name="connsiteY2" fmla="*/ 5225 h 10449"/>
              <a:gd name="connsiteX3" fmla="*/ 0 w 106615"/>
              <a:gd name="connsiteY3" fmla="*/ 5225 h 10449"/>
              <a:gd name="connsiteX4" fmla="*/ 5225 w 106615"/>
              <a:gd name="connsiteY4" fmla="*/ 0 h 10449"/>
              <a:gd name="connsiteX5" fmla="*/ 101391 w 106615"/>
              <a:gd name="connsiteY5" fmla="*/ 0 h 10449"/>
              <a:gd name="connsiteX6" fmla="*/ 106616 w 106615"/>
              <a:gd name="connsiteY6" fmla="*/ 5225 h 10449"/>
              <a:gd name="connsiteX7" fmla="*/ 106616 w 106615"/>
              <a:gd name="connsiteY7" fmla="*/ 5225 h 10449"/>
              <a:gd name="connsiteX8" fmla="*/ 101391 w 106615"/>
              <a:gd name="connsiteY8" fmla="*/ 10450 h 10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6615" h="10449">
                <a:moveTo>
                  <a:pt x="101391" y="10450"/>
                </a:moveTo>
                <a:lnTo>
                  <a:pt x="5225" y="10450"/>
                </a:lnTo>
                <a:cubicBezTo>
                  <a:pt x="2331" y="10450"/>
                  <a:pt x="0" y="8119"/>
                  <a:pt x="0" y="5225"/>
                </a:cubicBezTo>
                <a:lnTo>
                  <a:pt x="0" y="5225"/>
                </a:lnTo>
                <a:cubicBezTo>
                  <a:pt x="0" y="2331"/>
                  <a:pt x="2331" y="0"/>
                  <a:pt x="5225" y="0"/>
                </a:cubicBezTo>
                <a:lnTo>
                  <a:pt x="101391" y="0"/>
                </a:lnTo>
                <a:cubicBezTo>
                  <a:pt x="104285" y="0"/>
                  <a:pt x="106616" y="2331"/>
                  <a:pt x="106616" y="5225"/>
                </a:cubicBezTo>
                <a:lnTo>
                  <a:pt x="106616" y="5225"/>
                </a:lnTo>
                <a:cubicBezTo>
                  <a:pt x="106616" y="8119"/>
                  <a:pt x="104285" y="10450"/>
                  <a:pt x="101391" y="10450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03" name="Freeform: Shape 2502">
            <a:extLst>
              <a:ext uri="{FF2B5EF4-FFF2-40B4-BE49-F238E27FC236}">
                <a16:creationId xmlns:a16="http://schemas.microsoft.com/office/drawing/2014/main" id="{5C992A9C-F68A-A848-E908-38A8D96538B2}"/>
              </a:ext>
            </a:extLst>
          </p:cNvPr>
          <p:cNvSpPr/>
          <p:nvPr/>
        </p:nvSpPr>
        <p:spPr>
          <a:xfrm>
            <a:off x="2541261" y="3539053"/>
            <a:ext cx="81151" cy="10449"/>
          </a:xfrm>
          <a:custGeom>
            <a:avLst/>
            <a:gdLst>
              <a:gd name="connsiteX0" fmla="*/ 75927 w 81151"/>
              <a:gd name="connsiteY0" fmla="*/ 10450 h 10449"/>
              <a:gd name="connsiteX1" fmla="*/ 5225 w 81151"/>
              <a:gd name="connsiteY1" fmla="*/ 10450 h 10449"/>
              <a:gd name="connsiteX2" fmla="*/ 0 w 81151"/>
              <a:gd name="connsiteY2" fmla="*/ 5225 h 10449"/>
              <a:gd name="connsiteX3" fmla="*/ 0 w 81151"/>
              <a:gd name="connsiteY3" fmla="*/ 5225 h 10449"/>
              <a:gd name="connsiteX4" fmla="*/ 5225 w 81151"/>
              <a:gd name="connsiteY4" fmla="*/ 0 h 10449"/>
              <a:gd name="connsiteX5" fmla="*/ 75927 w 81151"/>
              <a:gd name="connsiteY5" fmla="*/ 0 h 10449"/>
              <a:gd name="connsiteX6" fmla="*/ 81151 w 81151"/>
              <a:gd name="connsiteY6" fmla="*/ 5225 h 10449"/>
              <a:gd name="connsiteX7" fmla="*/ 81151 w 81151"/>
              <a:gd name="connsiteY7" fmla="*/ 5225 h 10449"/>
              <a:gd name="connsiteX8" fmla="*/ 75927 w 81151"/>
              <a:gd name="connsiteY8" fmla="*/ 10450 h 10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151" h="10449">
                <a:moveTo>
                  <a:pt x="75927" y="10450"/>
                </a:moveTo>
                <a:lnTo>
                  <a:pt x="5225" y="10450"/>
                </a:lnTo>
                <a:cubicBezTo>
                  <a:pt x="2331" y="10450"/>
                  <a:pt x="0" y="8119"/>
                  <a:pt x="0" y="5225"/>
                </a:cubicBezTo>
                <a:lnTo>
                  <a:pt x="0" y="5225"/>
                </a:lnTo>
                <a:cubicBezTo>
                  <a:pt x="0" y="2331"/>
                  <a:pt x="2331" y="0"/>
                  <a:pt x="5225" y="0"/>
                </a:cubicBezTo>
                <a:lnTo>
                  <a:pt x="75927" y="0"/>
                </a:lnTo>
                <a:cubicBezTo>
                  <a:pt x="78821" y="0"/>
                  <a:pt x="81151" y="2331"/>
                  <a:pt x="81151" y="5225"/>
                </a:cubicBezTo>
                <a:lnTo>
                  <a:pt x="81151" y="5225"/>
                </a:lnTo>
                <a:cubicBezTo>
                  <a:pt x="81151" y="8119"/>
                  <a:pt x="78821" y="10450"/>
                  <a:pt x="75927" y="10450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04" name="Freeform: Shape 2503">
            <a:extLst>
              <a:ext uri="{FF2B5EF4-FFF2-40B4-BE49-F238E27FC236}">
                <a16:creationId xmlns:a16="http://schemas.microsoft.com/office/drawing/2014/main" id="{4E8B8B7B-BFDE-7464-8FAA-EE9DD49CABF9}"/>
              </a:ext>
            </a:extLst>
          </p:cNvPr>
          <p:cNvSpPr/>
          <p:nvPr/>
        </p:nvSpPr>
        <p:spPr>
          <a:xfrm>
            <a:off x="2541261" y="3565392"/>
            <a:ext cx="42945" cy="10449"/>
          </a:xfrm>
          <a:custGeom>
            <a:avLst/>
            <a:gdLst>
              <a:gd name="connsiteX0" fmla="*/ 37720 w 42945"/>
              <a:gd name="connsiteY0" fmla="*/ 10450 h 10449"/>
              <a:gd name="connsiteX1" fmla="*/ 5225 w 42945"/>
              <a:gd name="connsiteY1" fmla="*/ 10450 h 10449"/>
              <a:gd name="connsiteX2" fmla="*/ 0 w 42945"/>
              <a:gd name="connsiteY2" fmla="*/ 5225 h 10449"/>
              <a:gd name="connsiteX3" fmla="*/ 0 w 42945"/>
              <a:gd name="connsiteY3" fmla="*/ 5225 h 10449"/>
              <a:gd name="connsiteX4" fmla="*/ 5225 w 42945"/>
              <a:gd name="connsiteY4" fmla="*/ 0 h 10449"/>
              <a:gd name="connsiteX5" fmla="*/ 37720 w 42945"/>
              <a:gd name="connsiteY5" fmla="*/ 0 h 10449"/>
              <a:gd name="connsiteX6" fmla="*/ 42945 w 42945"/>
              <a:gd name="connsiteY6" fmla="*/ 5225 h 10449"/>
              <a:gd name="connsiteX7" fmla="*/ 42945 w 42945"/>
              <a:gd name="connsiteY7" fmla="*/ 5225 h 10449"/>
              <a:gd name="connsiteX8" fmla="*/ 37720 w 42945"/>
              <a:gd name="connsiteY8" fmla="*/ 10450 h 10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945" h="10449">
                <a:moveTo>
                  <a:pt x="37720" y="10450"/>
                </a:moveTo>
                <a:lnTo>
                  <a:pt x="5225" y="10450"/>
                </a:lnTo>
                <a:cubicBezTo>
                  <a:pt x="2331" y="10450"/>
                  <a:pt x="0" y="8119"/>
                  <a:pt x="0" y="5225"/>
                </a:cubicBezTo>
                <a:lnTo>
                  <a:pt x="0" y="5225"/>
                </a:lnTo>
                <a:cubicBezTo>
                  <a:pt x="0" y="2331"/>
                  <a:pt x="2331" y="0"/>
                  <a:pt x="5225" y="0"/>
                </a:cubicBezTo>
                <a:lnTo>
                  <a:pt x="37720" y="0"/>
                </a:lnTo>
                <a:cubicBezTo>
                  <a:pt x="40615" y="0"/>
                  <a:pt x="42945" y="2331"/>
                  <a:pt x="42945" y="5225"/>
                </a:cubicBezTo>
                <a:lnTo>
                  <a:pt x="42945" y="5225"/>
                </a:lnTo>
                <a:cubicBezTo>
                  <a:pt x="42945" y="8119"/>
                  <a:pt x="40615" y="10450"/>
                  <a:pt x="37720" y="10450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05" name="Freeform: Shape 2504">
            <a:extLst>
              <a:ext uri="{FF2B5EF4-FFF2-40B4-BE49-F238E27FC236}">
                <a16:creationId xmlns:a16="http://schemas.microsoft.com/office/drawing/2014/main" id="{A3A4C4FB-7BE4-064E-8AD5-B04C1A97B081}"/>
              </a:ext>
            </a:extLst>
          </p:cNvPr>
          <p:cNvSpPr/>
          <p:nvPr/>
        </p:nvSpPr>
        <p:spPr>
          <a:xfrm>
            <a:off x="2593937" y="3565392"/>
            <a:ext cx="53201" cy="10449"/>
          </a:xfrm>
          <a:custGeom>
            <a:avLst/>
            <a:gdLst>
              <a:gd name="connsiteX0" fmla="*/ 47976 w 53201"/>
              <a:gd name="connsiteY0" fmla="*/ 10450 h 10449"/>
              <a:gd name="connsiteX1" fmla="*/ 5225 w 53201"/>
              <a:gd name="connsiteY1" fmla="*/ 10450 h 10449"/>
              <a:gd name="connsiteX2" fmla="*/ 0 w 53201"/>
              <a:gd name="connsiteY2" fmla="*/ 5225 h 10449"/>
              <a:gd name="connsiteX3" fmla="*/ 0 w 53201"/>
              <a:gd name="connsiteY3" fmla="*/ 5225 h 10449"/>
              <a:gd name="connsiteX4" fmla="*/ 5225 w 53201"/>
              <a:gd name="connsiteY4" fmla="*/ 0 h 10449"/>
              <a:gd name="connsiteX5" fmla="*/ 47976 w 53201"/>
              <a:gd name="connsiteY5" fmla="*/ 0 h 10449"/>
              <a:gd name="connsiteX6" fmla="*/ 53201 w 53201"/>
              <a:gd name="connsiteY6" fmla="*/ 5225 h 10449"/>
              <a:gd name="connsiteX7" fmla="*/ 53201 w 53201"/>
              <a:gd name="connsiteY7" fmla="*/ 5225 h 10449"/>
              <a:gd name="connsiteX8" fmla="*/ 47976 w 53201"/>
              <a:gd name="connsiteY8" fmla="*/ 10450 h 10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201" h="10449">
                <a:moveTo>
                  <a:pt x="47976" y="10450"/>
                </a:moveTo>
                <a:lnTo>
                  <a:pt x="5225" y="10450"/>
                </a:lnTo>
                <a:cubicBezTo>
                  <a:pt x="2331" y="10450"/>
                  <a:pt x="0" y="8119"/>
                  <a:pt x="0" y="5225"/>
                </a:cubicBezTo>
                <a:lnTo>
                  <a:pt x="0" y="5225"/>
                </a:lnTo>
                <a:cubicBezTo>
                  <a:pt x="0" y="2331"/>
                  <a:pt x="2331" y="0"/>
                  <a:pt x="5225" y="0"/>
                </a:cubicBezTo>
                <a:lnTo>
                  <a:pt x="47976" y="0"/>
                </a:lnTo>
                <a:cubicBezTo>
                  <a:pt x="50870" y="0"/>
                  <a:pt x="53201" y="2331"/>
                  <a:pt x="53201" y="5225"/>
                </a:cubicBezTo>
                <a:lnTo>
                  <a:pt x="53201" y="5225"/>
                </a:lnTo>
                <a:cubicBezTo>
                  <a:pt x="53201" y="8119"/>
                  <a:pt x="50870" y="10450"/>
                  <a:pt x="47976" y="10450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06" name="Freeform: Shape 2505">
            <a:extLst>
              <a:ext uri="{FF2B5EF4-FFF2-40B4-BE49-F238E27FC236}">
                <a16:creationId xmlns:a16="http://schemas.microsoft.com/office/drawing/2014/main" id="{6B570FB5-7FC0-739E-D735-58E0F708261F}"/>
              </a:ext>
            </a:extLst>
          </p:cNvPr>
          <p:cNvSpPr/>
          <p:nvPr/>
        </p:nvSpPr>
        <p:spPr>
          <a:xfrm>
            <a:off x="2541261" y="3585903"/>
            <a:ext cx="68409" cy="10449"/>
          </a:xfrm>
          <a:custGeom>
            <a:avLst/>
            <a:gdLst>
              <a:gd name="connsiteX0" fmla="*/ 63185 w 68409"/>
              <a:gd name="connsiteY0" fmla="*/ 10450 h 10449"/>
              <a:gd name="connsiteX1" fmla="*/ 5225 w 68409"/>
              <a:gd name="connsiteY1" fmla="*/ 10450 h 10449"/>
              <a:gd name="connsiteX2" fmla="*/ 0 w 68409"/>
              <a:gd name="connsiteY2" fmla="*/ 5225 h 10449"/>
              <a:gd name="connsiteX3" fmla="*/ 0 w 68409"/>
              <a:gd name="connsiteY3" fmla="*/ 5225 h 10449"/>
              <a:gd name="connsiteX4" fmla="*/ 5225 w 68409"/>
              <a:gd name="connsiteY4" fmla="*/ 0 h 10449"/>
              <a:gd name="connsiteX5" fmla="*/ 63185 w 68409"/>
              <a:gd name="connsiteY5" fmla="*/ 0 h 10449"/>
              <a:gd name="connsiteX6" fmla="*/ 68410 w 68409"/>
              <a:gd name="connsiteY6" fmla="*/ 5225 h 10449"/>
              <a:gd name="connsiteX7" fmla="*/ 68410 w 68409"/>
              <a:gd name="connsiteY7" fmla="*/ 5225 h 10449"/>
              <a:gd name="connsiteX8" fmla="*/ 63185 w 68409"/>
              <a:gd name="connsiteY8" fmla="*/ 10450 h 10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409" h="10449">
                <a:moveTo>
                  <a:pt x="63185" y="10450"/>
                </a:moveTo>
                <a:lnTo>
                  <a:pt x="5225" y="10450"/>
                </a:lnTo>
                <a:cubicBezTo>
                  <a:pt x="2331" y="10450"/>
                  <a:pt x="0" y="8119"/>
                  <a:pt x="0" y="5225"/>
                </a:cubicBezTo>
                <a:lnTo>
                  <a:pt x="0" y="5225"/>
                </a:lnTo>
                <a:cubicBezTo>
                  <a:pt x="0" y="2331"/>
                  <a:pt x="2331" y="0"/>
                  <a:pt x="5225" y="0"/>
                </a:cubicBezTo>
                <a:lnTo>
                  <a:pt x="63185" y="0"/>
                </a:lnTo>
                <a:cubicBezTo>
                  <a:pt x="66079" y="0"/>
                  <a:pt x="68410" y="2331"/>
                  <a:pt x="68410" y="5225"/>
                </a:cubicBezTo>
                <a:lnTo>
                  <a:pt x="68410" y="5225"/>
                </a:lnTo>
                <a:cubicBezTo>
                  <a:pt x="68410" y="8119"/>
                  <a:pt x="66079" y="10450"/>
                  <a:pt x="63185" y="10450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08" name="Oval 2507">
            <a:extLst>
              <a:ext uri="{FF2B5EF4-FFF2-40B4-BE49-F238E27FC236}">
                <a16:creationId xmlns:a16="http://schemas.microsoft.com/office/drawing/2014/main" id="{DC0403F0-9F48-9A4C-25E7-B53A7BA23116}"/>
              </a:ext>
            </a:extLst>
          </p:cNvPr>
          <p:cNvSpPr/>
          <p:nvPr/>
        </p:nvSpPr>
        <p:spPr>
          <a:xfrm>
            <a:off x="3741469" y="3415883"/>
            <a:ext cx="910042" cy="91004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509" name="Oval 2508">
            <a:extLst>
              <a:ext uri="{FF2B5EF4-FFF2-40B4-BE49-F238E27FC236}">
                <a16:creationId xmlns:a16="http://schemas.microsoft.com/office/drawing/2014/main" id="{D9673E13-471A-8FD6-6C15-805CAA773865}"/>
              </a:ext>
            </a:extLst>
          </p:cNvPr>
          <p:cNvSpPr/>
          <p:nvPr/>
        </p:nvSpPr>
        <p:spPr>
          <a:xfrm>
            <a:off x="6953682" y="3415883"/>
            <a:ext cx="910042" cy="91004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510" name="Oval 2509">
            <a:extLst>
              <a:ext uri="{FF2B5EF4-FFF2-40B4-BE49-F238E27FC236}">
                <a16:creationId xmlns:a16="http://schemas.microsoft.com/office/drawing/2014/main" id="{423A4D91-714C-13E0-E8C2-540C856683DC}"/>
              </a:ext>
            </a:extLst>
          </p:cNvPr>
          <p:cNvSpPr/>
          <p:nvPr/>
        </p:nvSpPr>
        <p:spPr>
          <a:xfrm>
            <a:off x="5348169" y="3181411"/>
            <a:ext cx="910042" cy="91004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511" name="Oval 2510">
            <a:extLst>
              <a:ext uri="{FF2B5EF4-FFF2-40B4-BE49-F238E27FC236}">
                <a16:creationId xmlns:a16="http://schemas.microsoft.com/office/drawing/2014/main" id="{3C3A738D-5DCC-3008-FE2E-8D1749DC1E26}"/>
              </a:ext>
            </a:extLst>
          </p:cNvPr>
          <p:cNvSpPr/>
          <p:nvPr/>
        </p:nvSpPr>
        <p:spPr>
          <a:xfrm>
            <a:off x="8587998" y="3181411"/>
            <a:ext cx="910042" cy="91004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512" name="Oval 2511">
            <a:extLst>
              <a:ext uri="{FF2B5EF4-FFF2-40B4-BE49-F238E27FC236}">
                <a16:creationId xmlns:a16="http://schemas.microsoft.com/office/drawing/2014/main" id="{CF84F59B-84AE-08AE-CB52-0510013EE76A}"/>
              </a:ext>
            </a:extLst>
          </p:cNvPr>
          <p:cNvSpPr/>
          <p:nvPr/>
        </p:nvSpPr>
        <p:spPr>
          <a:xfrm>
            <a:off x="10171900" y="3415883"/>
            <a:ext cx="910042" cy="91004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513" name="TextBox 2512">
            <a:extLst>
              <a:ext uri="{FF2B5EF4-FFF2-40B4-BE49-F238E27FC236}">
                <a16:creationId xmlns:a16="http://schemas.microsoft.com/office/drawing/2014/main" id="{C3DE328D-E5C0-C88E-9C5E-9F2D41BE63F8}"/>
              </a:ext>
            </a:extLst>
          </p:cNvPr>
          <p:cNvSpPr txBox="1"/>
          <p:nvPr/>
        </p:nvSpPr>
        <p:spPr>
          <a:xfrm>
            <a:off x="566934" y="1760391"/>
            <a:ext cx="4118164" cy="71558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43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599" lvl="1" indent="-22859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2" lvl="2" indent="-283463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1" lvl="3" indent="-18288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396" lvl="4" indent="-13716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100" dirty="0" err="1"/>
              <a:t>GenAI</a:t>
            </a:r>
            <a:r>
              <a:rPr lang="en-US" sz="1100" dirty="0"/>
              <a:t> chatbots to handle initial communications and drafting e-mail messages to 3PLs</a:t>
            </a:r>
          </a:p>
          <a:p>
            <a:pPr lvl="1"/>
            <a:r>
              <a:rPr lang="en-US" sz="1100" dirty="0" err="1"/>
              <a:t>GenAI</a:t>
            </a:r>
            <a:r>
              <a:rPr lang="en-US" sz="1100" dirty="0"/>
              <a:t> assistants for return management process and distribution disruptions</a:t>
            </a:r>
          </a:p>
        </p:txBody>
      </p:sp>
      <p:sp>
        <p:nvSpPr>
          <p:cNvPr id="2515" name="TextBox 2514">
            <a:extLst>
              <a:ext uri="{FF2B5EF4-FFF2-40B4-BE49-F238E27FC236}">
                <a16:creationId xmlns:a16="http://schemas.microsoft.com/office/drawing/2014/main" id="{8E0575B0-7072-5AC6-5966-6291C470BE82}"/>
              </a:ext>
            </a:extLst>
          </p:cNvPr>
          <p:cNvSpPr txBox="1"/>
          <p:nvPr/>
        </p:nvSpPr>
        <p:spPr>
          <a:xfrm>
            <a:off x="4830611" y="1760391"/>
            <a:ext cx="2900717" cy="54630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43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599" lvl="1" indent="-22859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2" lvl="2" indent="-283463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1" lvl="3" indent="-18288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396" lvl="4" indent="-13716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100" dirty="0"/>
              <a:t>Smart assistants &amp; coaches for store associates</a:t>
            </a:r>
          </a:p>
          <a:p>
            <a:pPr lvl="1"/>
            <a:r>
              <a:rPr lang="en-US" sz="1100" dirty="0" err="1"/>
              <a:t>GenAI</a:t>
            </a:r>
            <a:r>
              <a:rPr lang="en-US" sz="1100" dirty="0"/>
              <a:t>-powered kiosks and displays</a:t>
            </a:r>
          </a:p>
        </p:txBody>
      </p:sp>
      <p:sp>
        <p:nvSpPr>
          <p:cNvPr id="2517" name="TextBox 2516">
            <a:extLst>
              <a:ext uri="{FF2B5EF4-FFF2-40B4-BE49-F238E27FC236}">
                <a16:creationId xmlns:a16="http://schemas.microsoft.com/office/drawing/2014/main" id="{FE93448C-9AA9-FC49-9961-924E5CC7BEFD}"/>
              </a:ext>
            </a:extLst>
          </p:cNvPr>
          <p:cNvSpPr txBox="1"/>
          <p:nvPr/>
        </p:nvSpPr>
        <p:spPr>
          <a:xfrm>
            <a:off x="7899569" y="1760391"/>
            <a:ext cx="3737696" cy="71558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43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599" lvl="1" indent="-22859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2" lvl="2" indent="-283463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1" lvl="3" indent="-18288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396" lvl="4" indent="-13716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100" dirty="0"/>
              <a:t>Content generation for marketing materials (e.g., written marketing and social media content)</a:t>
            </a:r>
          </a:p>
          <a:p>
            <a:pPr lvl="1"/>
            <a:r>
              <a:rPr lang="en-US" sz="1100" dirty="0"/>
              <a:t>Customer sentiment analysis via social media unstructured data (e.g., twitter, customer </a:t>
            </a:r>
            <a:r>
              <a:rPr lang="en-US" sz="1100"/>
              <a:t>feedback)</a:t>
            </a:r>
            <a:endParaRPr lang="en-US" sz="1100" dirty="0"/>
          </a:p>
        </p:txBody>
      </p:sp>
      <p:sp>
        <p:nvSpPr>
          <p:cNvPr id="2519" name="TextBox 2518">
            <a:extLst>
              <a:ext uri="{FF2B5EF4-FFF2-40B4-BE49-F238E27FC236}">
                <a16:creationId xmlns:a16="http://schemas.microsoft.com/office/drawing/2014/main" id="{2D19F7C8-0FDB-BDB2-F2C9-2F53DDE2BE51}"/>
              </a:ext>
            </a:extLst>
          </p:cNvPr>
          <p:cNvSpPr txBox="1"/>
          <p:nvPr/>
        </p:nvSpPr>
        <p:spPr>
          <a:xfrm>
            <a:off x="554736" y="4929531"/>
            <a:ext cx="3638929" cy="7540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43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599" lvl="1" indent="-22859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2" lvl="2" indent="-283463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1" lvl="3" indent="-18288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396" lvl="4" indent="-13716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100" dirty="0"/>
              <a:t>Contract analysis and insights generation</a:t>
            </a:r>
          </a:p>
          <a:p>
            <a:pPr lvl="1"/>
            <a:r>
              <a:rPr lang="en-US" sz="1100" dirty="0"/>
              <a:t>Automated contract drafting</a:t>
            </a:r>
          </a:p>
          <a:p>
            <a:pPr lvl="1"/>
            <a:r>
              <a:rPr lang="en-US" sz="1100" dirty="0"/>
              <a:t>Supplier negotiations chatbots to handle the initial round of contract negotiations</a:t>
            </a:r>
          </a:p>
        </p:txBody>
      </p:sp>
      <p:sp>
        <p:nvSpPr>
          <p:cNvPr id="2521" name="TextBox 2520">
            <a:extLst>
              <a:ext uri="{FF2B5EF4-FFF2-40B4-BE49-F238E27FC236}">
                <a16:creationId xmlns:a16="http://schemas.microsoft.com/office/drawing/2014/main" id="{DD67F78F-468F-0C06-A03C-37C7068E5A5A}"/>
              </a:ext>
            </a:extLst>
          </p:cNvPr>
          <p:cNvSpPr txBox="1"/>
          <p:nvPr/>
        </p:nvSpPr>
        <p:spPr>
          <a:xfrm>
            <a:off x="4300832" y="4929531"/>
            <a:ext cx="3228778" cy="37702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43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599" lvl="1" indent="-22859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2" lvl="2" indent="-283463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1" lvl="3" indent="-18288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396" lvl="4" indent="-13716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100" dirty="0"/>
              <a:t>Generation of product listing and descriptions</a:t>
            </a:r>
          </a:p>
          <a:p>
            <a:pPr lvl="1"/>
            <a:r>
              <a:rPr lang="en-US" sz="1100" dirty="0"/>
              <a:t>Co-pilot for customer service agents</a:t>
            </a:r>
          </a:p>
        </p:txBody>
      </p:sp>
      <p:sp>
        <p:nvSpPr>
          <p:cNvPr id="2523" name="TextBox 2522">
            <a:extLst>
              <a:ext uri="{FF2B5EF4-FFF2-40B4-BE49-F238E27FC236}">
                <a16:creationId xmlns:a16="http://schemas.microsoft.com/office/drawing/2014/main" id="{36BB4BF8-DCB9-8E52-8BDE-82A1EEB5829F}"/>
              </a:ext>
            </a:extLst>
          </p:cNvPr>
          <p:cNvSpPr txBox="1"/>
          <p:nvPr/>
        </p:nvSpPr>
        <p:spPr>
          <a:xfrm>
            <a:off x="7662025" y="4929531"/>
            <a:ext cx="3972763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4396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599" lvl="1" indent="-22859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2" lvl="2" indent="-283463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1" lvl="3" indent="-18288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396" lvl="4" indent="-137160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46" indent="-171449" defTabSz="9143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100" dirty="0"/>
              <a:t>HR Q&amp;A enabled search and question-answering (e.g., “how many vacation days do I have?”)</a:t>
            </a:r>
          </a:p>
          <a:p>
            <a:pPr lvl="1"/>
            <a:r>
              <a:rPr lang="en-US" sz="1100" dirty="0"/>
              <a:t>HQ support functions automation (e.g., draft job descriptions, legal contracts)</a:t>
            </a:r>
          </a:p>
          <a:p>
            <a:pPr lvl="1"/>
            <a:r>
              <a:rPr lang="en-US" sz="1100" dirty="0"/>
              <a:t>Co-pilot support for software development</a:t>
            </a:r>
          </a:p>
        </p:txBody>
      </p:sp>
      <p:sp>
        <p:nvSpPr>
          <p:cNvPr id="2528" name="Freeform: Shape 2527">
            <a:extLst>
              <a:ext uri="{FF2B5EF4-FFF2-40B4-BE49-F238E27FC236}">
                <a16:creationId xmlns:a16="http://schemas.microsoft.com/office/drawing/2014/main" id="{A6F3CDF7-0982-1B94-18A4-8F259F862863}"/>
              </a:ext>
            </a:extLst>
          </p:cNvPr>
          <p:cNvSpPr/>
          <p:nvPr/>
        </p:nvSpPr>
        <p:spPr>
          <a:xfrm>
            <a:off x="4103600" y="3727249"/>
            <a:ext cx="7758" cy="7776"/>
          </a:xfrm>
          <a:custGeom>
            <a:avLst/>
            <a:gdLst>
              <a:gd name="connsiteX0" fmla="*/ 3879 w 7758"/>
              <a:gd name="connsiteY0" fmla="*/ 7771 h 7776"/>
              <a:gd name="connsiteX1" fmla="*/ 0 w 7758"/>
              <a:gd name="connsiteY1" fmla="*/ 3909 h 7776"/>
              <a:gd name="connsiteX2" fmla="*/ 0 w 7758"/>
              <a:gd name="connsiteY2" fmla="*/ 3879 h 7776"/>
              <a:gd name="connsiteX3" fmla="*/ 3879 w 7758"/>
              <a:gd name="connsiteY3" fmla="*/ 0 h 7776"/>
              <a:gd name="connsiteX4" fmla="*/ 7759 w 7758"/>
              <a:gd name="connsiteY4" fmla="*/ 3879 h 7776"/>
              <a:gd name="connsiteX5" fmla="*/ 3879 w 7758"/>
              <a:gd name="connsiteY5" fmla="*/ 7777 h 7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58" h="7776">
                <a:moveTo>
                  <a:pt x="3879" y="7771"/>
                </a:moveTo>
                <a:cubicBezTo>
                  <a:pt x="1740" y="7771"/>
                  <a:pt x="0" y="6048"/>
                  <a:pt x="0" y="3909"/>
                </a:cubicBezTo>
                <a:lnTo>
                  <a:pt x="0" y="3879"/>
                </a:lnTo>
                <a:cubicBezTo>
                  <a:pt x="0" y="1740"/>
                  <a:pt x="1734" y="0"/>
                  <a:pt x="3879" y="0"/>
                </a:cubicBezTo>
                <a:cubicBezTo>
                  <a:pt x="6025" y="0"/>
                  <a:pt x="7759" y="1734"/>
                  <a:pt x="7759" y="3879"/>
                </a:cubicBezTo>
                <a:cubicBezTo>
                  <a:pt x="7759" y="6025"/>
                  <a:pt x="6025" y="7777"/>
                  <a:pt x="3879" y="7777"/>
                </a:cubicBezTo>
                <a:close/>
              </a:path>
            </a:pathLst>
          </a:custGeom>
          <a:solidFill>
            <a:srgbClr val="1A91C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29" name="Freeform: Shape 2528">
            <a:extLst>
              <a:ext uri="{FF2B5EF4-FFF2-40B4-BE49-F238E27FC236}">
                <a16:creationId xmlns:a16="http://schemas.microsoft.com/office/drawing/2014/main" id="{19621594-060E-E1C8-8470-C1EDA230974B}"/>
              </a:ext>
            </a:extLst>
          </p:cNvPr>
          <p:cNvSpPr/>
          <p:nvPr/>
        </p:nvSpPr>
        <p:spPr>
          <a:xfrm>
            <a:off x="4103600" y="3686733"/>
            <a:ext cx="7758" cy="34794"/>
          </a:xfrm>
          <a:custGeom>
            <a:avLst/>
            <a:gdLst>
              <a:gd name="connsiteX0" fmla="*/ 3879 w 7758"/>
              <a:gd name="connsiteY0" fmla="*/ 34795 h 34794"/>
              <a:gd name="connsiteX1" fmla="*/ 0 w 7758"/>
              <a:gd name="connsiteY1" fmla="*/ 30945 h 34794"/>
              <a:gd name="connsiteX2" fmla="*/ 0 w 7758"/>
              <a:gd name="connsiteY2" fmla="*/ 30886 h 34794"/>
              <a:gd name="connsiteX3" fmla="*/ 3879 w 7758"/>
              <a:gd name="connsiteY3" fmla="*/ 27006 h 34794"/>
              <a:gd name="connsiteX4" fmla="*/ 7759 w 7758"/>
              <a:gd name="connsiteY4" fmla="*/ 30886 h 34794"/>
              <a:gd name="connsiteX5" fmla="*/ 3879 w 7758"/>
              <a:gd name="connsiteY5" fmla="*/ 34795 h 34794"/>
              <a:gd name="connsiteX6" fmla="*/ 3879 w 7758"/>
              <a:gd name="connsiteY6" fmla="*/ 21292 h 34794"/>
              <a:gd name="connsiteX7" fmla="*/ 0 w 7758"/>
              <a:gd name="connsiteY7" fmla="*/ 17442 h 34794"/>
              <a:gd name="connsiteX8" fmla="*/ 0 w 7758"/>
              <a:gd name="connsiteY8" fmla="*/ 17383 h 34794"/>
              <a:gd name="connsiteX9" fmla="*/ 3879 w 7758"/>
              <a:gd name="connsiteY9" fmla="*/ 13503 h 34794"/>
              <a:gd name="connsiteX10" fmla="*/ 7759 w 7758"/>
              <a:gd name="connsiteY10" fmla="*/ 17383 h 34794"/>
              <a:gd name="connsiteX11" fmla="*/ 3879 w 7758"/>
              <a:gd name="connsiteY11" fmla="*/ 21292 h 34794"/>
              <a:gd name="connsiteX12" fmla="*/ 3879 w 7758"/>
              <a:gd name="connsiteY12" fmla="*/ 7788 h 34794"/>
              <a:gd name="connsiteX13" fmla="*/ 0 w 7758"/>
              <a:gd name="connsiteY13" fmla="*/ 3939 h 34794"/>
              <a:gd name="connsiteX14" fmla="*/ 0 w 7758"/>
              <a:gd name="connsiteY14" fmla="*/ 3879 h 34794"/>
              <a:gd name="connsiteX15" fmla="*/ 3879 w 7758"/>
              <a:gd name="connsiteY15" fmla="*/ 0 h 34794"/>
              <a:gd name="connsiteX16" fmla="*/ 7759 w 7758"/>
              <a:gd name="connsiteY16" fmla="*/ 3879 h 34794"/>
              <a:gd name="connsiteX17" fmla="*/ 3879 w 7758"/>
              <a:gd name="connsiteY17" fmla="*/ 7788 h 3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7758" h="34794">
                <a:moveTo>
                  <a:pt x="3879" y="34795"/>
                </a:moveTo>
                <a:cubicBezTo>
                  <a:pt x="1740" y="34795"/>
                  <a:pt x="0" y="33085"/>
                  <a:pt x="0" y="30945"/>
                </a:cubicBezTo>
                <a:lnTo>
                  <a:pt x="0" y="30886"/>
                </a:lnTo>
                <a:cubicBezTo>
                  <a:pt x="0" y="28746"/>
                  <a:pt x="1734" y="27006"/>
                  <a:pt x="3879" y="27006"/>
                </a:cubicBezTo>
                <a:cubicBezTo>
                  <a:pt x="6025" y="27006"/>
                  <a:pt x="7759" y="28741"/>
                  <a:pt x="7759" y="30886"/>
                </a:cubicBezTo>
                <a:cubicBezTo>
                  <a:pt x="7759" y="33031"/>
                  <a:pt x="6025" y="34795"/>
                  <a:pt x="3879" y="34795"/>
                </a:cubicBezTo>
                <a:close/>
                <a:moveTo>
                  <a:pt x="3879" y="21292"/>
                </a:moveTo>
                <a:cubicBezTo>
                  <a:pt x="1740" y="21292"/>
                  <a:pt x="0" y="19581"/>
                  <a:pt x="0" y="17442"/>
                </a:cubicBezTo>
                <a:lnTo>
                  <a:pt x="0" y="17383"/>
                </a:lnTo>
                <a:cubicBezTo>
                  <a:pt x="0" y="15243"/>
                  <a:pt x="1734" y="13503"/>
                  <a:pt x="3879" y="13503"/>
                </a:cubicBezTo>
                <a:cubicBezTo>
                  <a:pt x="6025" y="13503"/>
                  <a:pt x="7759" y="15237"/>
                  <a:pt x="7759" y="17383"/>
                </a:cubicBezTo>
                <a:cubicBezTo>
                  <a:pt x="7759" y="19528"/>
                  <a:pt x="6025" y="21292"/>
                  <a:pt x="3879" y="21292"/>
                </a:cubicBezTo>
                <a:close/>
                <a:moveTo>
                  <a:pt x="3879" y="7788"/>
                </a:moveTo>
                <a:cubicBezTo>
                  <a:pt x="1740" y="7788"/>
                  <a:pt x="0" y="6078"/>
                  <a:pt x="0" y="3939"/>
                </a:cubicBezTo>
                <a:lnTo>
                  <a:pt x="0" y="3879"/>
                </a:lnTo>
                <a:cubicBezTo>
                  <a:pt x="0" y="1740"/>
                  <a:pt x="1734" y="0"/>
                  <a:pt x="3879" y="0"/>
                </a:cubicBezTo>
                <a:cubicBezTo>
                  <a:pt x="6025" y="0"/>
                  <a:pt x="7759" y="1734"/>
                  <a:pt x="7759" y="3879"/>
                </a:cubicBezTo>
                <a:cubicBezTo>
                  <a:pt x="7759" y="6025"/>
                  <a:pt x="6025" y="7788"/>
                  <a:pt x="3879" y="7788"/>
                </a:cubicBezTo>
                <a:close/>
              </a:path>
            </a:pathLst>
          </a:custGeom>
          <a:solidFill>
            <a:srgbClr val="1A91C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30" name="Freeform: Shape 2529">
            <a:extLst>
              <a:ext uri="{FF2B5EF4-FFF2-40B4-BE49-F238E27FC236}">
                <a16:creationId xmlns:a16="http://schemas.microsoft.com/office/drawing/2014/main" id="{E4BE9075-B97C-9F06-2246-32A988C057C1}"/>
              </a:ext>
            </a:extLst>
          </p:cNvPr>
          <p:cNvSpPr/>
          <p:nvPr/>
        </p:nvSpPr>
        <p:spPr>
          <a:xfrm>
            <a:off x="4103600" y="3673260"/>
            <a:ext cx="7758" cy="7776"/>
          </a:xfrm>
          <a:custGeom>
            <a:avLst/>
            <a:gdLst>
              <a:gd name="connsiteX0" fmla="*/ 3879 w 7758"/>
              <a:gd name="connsiteY0" fmla="*/ 7771 h 7776"/>
              <a:gd name="connsiteX1" fmla="*/ 0 w 7758"/>
              <a:gd name="connsiteY1" fmla="*/ 3909 h 7776"/>
              <a:gd name="connsiteX2" fmla="*/ 0 w 7758"/>
              <a:gd name="connsiteY2" fmla="*/ 3879 h 7776"/>
              <a:gd name="connsiteX3" fmla="*/ 3879 w 7758"/>
              <a:gd name="connsiteY3" fmla="*/ 0 h 7776"/>
              <a:gd name="connsiteX4" fmla="*/ 7759 w 7758"/>
              <a:gd name="connsiteY4" fmla="*/ 3879 h 7776"/>
              <a:gd name="connsiteX5" fmla="*/ 3879 w 7758"/>
              <a:gd name="connsiteY5" fmla="*/ 7777 h 7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58" h="7776">
                <a:moveTo>
                  <a:pt x="3879" y="7771"/>
                </a:moveTo>
                <a:cubicBezTo>
                  <a:pt x="1740" y="7771"/>
                  <a:pt x="0" y="6048"/>
                  <a:pt x="0" y="3909"/>
                </a:cubicBezTo>
                <a:lnTo>
                  <a:pt x="0" y="3879"/>
                </a:lnTo>
                <a:cubicBezTo>
                  <a:pt x="0" y="1740"/>
                  <a:pt x="1734" y="0"/>
                  <a:pt x="3879" y="0"/>
                </a:cubicBezTo>
                <a:cubicBezTo>
                  <a:pt x="6025" y="0"/>
                  <a:pt x="7759" y="1734"/>
                  <a:pt x="7759" y="3879"/>
                </a:cubicBezTo>
                <a:cubicBezTo>
                  <a:pt x="7759" y="6025"/>
                  <a:pt x="6025" y="7777"/>
                  <a:pt x="3879" y="7777"/>
                </a:cubicBezTo>
                <a:close/>
              </a:path>
            </a:pathLst>
          </a:custGeom>
          <a:solidFill>
            <a:srgbClr val="1A91C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31" name="Freeform: Shape 2530">
            <a:extLst>
              <a:ext uri="{FF2B5EF4-FFF2-40B4-BE49-F238E27FC236}">
                <a16:creationId xmlns:a16="http://schemas.microsoft.com/office/drawing/2014/main" id="{4F8363D2-A7D7-18FB-F751-F6B576C4864E}"/>
              </a:ext>
            </a:extLst>
          </p:cNvPr>
          <p:cNvSpPr/>
          <p:nvPr/>
        </p:nvSpPr>
        <p:spPr>
          <a:xfrm>
            <a:off x="4103600" y="3884091"/>
            <a:ext cx="7758" cy="7776"/>
          </a:xfrm>
          <a:custGeom>
            <a:avLst/>
            <a:gdLst>
              <a:gd name="connsiteX0" fmla="*/ 3879 w 7758"/>
              <a:gd name="connsiteY0" fmla="*/ 7771 h 7776"/>
              <a:gd name="connsiteX1" fmla="*/ 0 w 7758"/>
              <a:gd name="connsiteY1" fmla="*/ 3909 h 7776"/>
              <a:gd name="connsiteX2" fmla="*/ 0 w 7758"/>
              <a:gd name="connsiteY2" fmla="*/ 3879 h 7776"/>
              <a:gd name="connsiteX3" fmla="*/ 3879 w 7758"/>
              <a:gd name="connsiteY3" fmla="*/ 0 h 7776"/>
              <a:gd name="connsiteX4" fmla="*/ 7759 w 7758"/>
              <a:gd name="connsiteY4" fmla="*/ 3879 h 7776"/>
              <a:gd name="connsiteX5" fmla="*/ 3879 w 7758"/>
              <a:gd name="connsiteY5" fmla="*/ 7777 h 7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58" h="7776">
                <a:moveTo>
                  <a:pt x="3879" y="7771"/>
                </a:moveTo>
                <a:cubicBezTo>
                  <a:pt x="1740" y="7771"/>
                  <a:pt x="0" y="6048"/>
                  <a:pt x="0" y="3909"/>
                </a:cubicBezTo>
                <a:lnTo>
                  <a:pt x="0" y="3879"/>
                </a:lnTo>
                <a:cubicBezTo>
                  <a:pt x="0" y="1740"/>
                  <a:pt x="1734" y="0"/>
                  <a:pt x="3879" y="0"/>
                </a:cubicBezTo>
                <a:cubicBezTo>
                  <a:pt x="6025" y="0"/>
                  <a:pt x="7759" y="1734"/>
                  <a:pt x="7759" y="3879"/>
                </a:cubicBezTo>
                <a:cubicBezTo>
                  <a:pt x="7759" y="6025"/>
                  <a:pt x="6025" y="7777"/>
                  <a:pt x="3879" y="7777"/>
                </a:cubicBezTo>
                <a:close/>
              </a:path>
            </a:pathLst>
          </a:custGeom>
          <a:solidFill>
            <a:srgbClr val="1A91C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32" name="Freeform: Shape 2531">
            <a:extLst>
              <a:ext uri="{FF2B5EF4-FFF2-40B4-BE49-F238E27FC236}">
                <a16:creationId xmlns:a16="http://schemas.microsoft.com/office/drawing/2014/main" id="{A13292F0-5B7D-B6F2-A1A9-AA70207C4CFB}"/>
              </a:ext>
            </a:extLst>
          </p:cNvPr>
          <p:cNvSpPr/>
          <p:nvPr/>
        </p:nvSpPr>
        <p:spPr>
          <a:xfrm>
            <a:off x="4103600" y="3855041"/>
            <a:ext cx="7758" cy="22316"/>
          </a:xfrm>
          <a:custGeom>
            <a:avLst/>
            <a:gdLst>
              <a:gd name="connsiteX0" fmla="*/ 3879 w 7758"/>
              <a:gd name="connsiteY0" fmla="*/ 22317 h 22316"/>
              <a:gd name="connsiteX1" fmla="*/ 0 w 7758"/>
              <a:gd name="connsiteY1" fmla="*/ 18467 h 22316"/>
              <a:gd name="connsiteX2" fmla="*/ 0 w 7758"/>
              <a:gd name="connsiteY2" fmla="*/ 18402 h 22316"/>
              <a:gd name="connsiteX3" fmla="*/ 3879 w 7758"/>
              <a:gd name="connsiteY3" fmla="*/ 14522 h 22316"/>
              <a:gd name="connsiteX4" fmla="*/ 7759 w 7758"/>
              <a:gd name="connsiteY4" fmla="*/ 18402 h 22316"/>
              <a:gd name="connsiteX5" fmla="*/ 3879 w 7758"/>
              <a:gd name="connsiteY5" fmla="*/ 22311 h 22316"/>
              <a:gd name="connsiteX6" fmla="*/ 3879 w 7758"/>
              <a:gd name="connsiteY6" fmla="*/ 7794 h 22316"/>
              <a:gd name="connsiteX7" fmla="*/ 0 w 7758"/>
              <a:gd name="connsiteY7" fmla="*/ 3945 h 22316"/>
              <a:gd name="connsiteX8" fmla="*/ 0 w 7758"/>
              <a:gd name="connsiteY8" fmla="*/ 3879 h 22316"/>
              <a:gd name="connsiteX9" fmla="*/ 3879 w 7758"/>
              <a:gd name="connsiteY9" fmla="*/ 0 h 22316"/>
              <a:gd name="connsiteX10" fmla="*/ 7759 w 7758"/>
              <a:gd name="connsiteY10" fmla="*/ 3879 h 22316"/>
              <a:gd name="connsiteX11" fmla="*/ 3879 w 7758"/>
              <a:gd name="connsiteY11" fmla="*/ 7788 h 22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758" h="22316">
                <a:moveTo>
                  <a:pt x="3879" y="22317"/>
                </a:moveTo>
                <a:cubicBezTo>
                  <a:pt x="1740" y="22317"/>
                  <a:pt x="0" y="20612"/>
                  <a:pt x="0" y="18467"/>
                </a:cubicBezTo>
                <a:lnTo>
                  <a:pt x="0" y="18402"/>
                </a:lnTo>
                <a:cubicBezTo>
                  <a:pt x="0" y="16262"/>
                  <a:pt x="1734" y="14522"/>
                  <a:pt x="3879" y="14522"/>
                </a:cubicBezTo>
                <a:cubicBezTo>
                  <a:pt x="6025" y="14522"/>
                  <a:pt x="7759" y="16256"/>
                  <a:pt x="7759" y="18402"/>
                </a:cubicBezTo>
                <a:cubicBezTo>
                  <a:pt x="7759" y="20547"/>
                  <a:pt x="6025" y="22311"/>
                  <a:pt x="3879" y="22311"/>
                </a:cubicBezTo>
                <a:close/>
                <a:moveTo>
                  <a:pt x="3879" y="7794"/>
                </a:moveTo>
                <a:cubicBezTo>
                  <a:pt x="1740" y="7794"/>
                  <a:pt x="0" y="6090"/>
                  <a:pt x="0" y="3945"/>
                </a:cubicBezTo>
                <a:lnTo>
                  <a:pt x="0" y="3879"/>
                </a:lnTo>
                <a:cubicBezTo>
                  <a:pt x="0" y="1740"/>
                  <a:pt x="1734" y="0"/>
                  <a:pt x="3879" y="0"/>
                </a:cubicBezTo>
                <a:cubicBezTo>
                  <a:pt x="6025" y="0"/>
                  <a:pt x="7759" y="1734"/>
                  <a:pt x="7759" y="3879"/>
                </a:cubicBezTo>
                <a:cubicBezTo>
                  <a:pt x="7759" y="6025"/>
                  <a:pt x="6025" y="7788"/>
                  <a:pt x="3879" y="7788"/>
                </a:cubicBezTo>
                <a:close/>
              </a:path>
            </a:pathLst>
          </a:custGeom>
          <a:solidFill>
            <a:srgbClr val="1A91C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33" name="Freeform: Shape 2532">
            <a:extLst>
              <a:ext uri="{FF2B5EF4-FFF2-40B4-BE49-F238E27FC236}">
                <a16:creationId xmlns:a16="http://schemas.microsoft.com/office/drawing/2014/main" id="{55C618B1-5EC3-EEB8-CDE4-C10A63966EE7}"/>
              </a:ext>
            </a:extLst>
          </p:cNvPr>
          <p:cNvSpPr/>
          <p:nvPr/>
        </p:nvSpPr>
        <p:spPr>
          <a:xfrm>
            <a:off x="4103600" y="3840555"/>
            <a:ext cx="7758" cy="7776"/>
          </a:xfrm>
          <a:custGeom>
            <a:avLst/>
            <a:gdLst>
              <a:gd name="connsiteX0" fmla="*/ 3879 w 7758"/>
              <a:gd name="connsiteY0" fmla="*/ 7771 h 7776"/>
              <a:gd name="connsiteX1" fmla="*/ 0 w 7758"/>
              <a:gd name="connsiteY1" fmla="*/ 3909 h 7776"/>
              <a:gd name="connsiteX2" fmla="*/ 0 w 7758"/>
              <a:gd name="connsiteY2" fmla="*/ 3879 h 7776"/>
              <a:gd name="connsiteX3" fmla="*/ 3879 w 7758"/>
              <a:gd name="connsiteY3" fmla="*/ 0 h 7776"/>
              <a:gd name="connsiteX4" fmla="*/ 7759 w 7758"/>
              <a:gd name="connsiteY4" fmla="*/ 3879 h 7776"/>
              <a:gd name="connsiteX5" fmla="*/ 3879 w 7758"/>
              <a:gd name="connsiteY5" fmla="*/ 7777 h 7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58" h="7776">
                <a:moveTo>
                  <a:pt x="3879" y="7771"/>
                </a:moveTo>
                <a:cubicBezTo>
                  <a:pt x="1740" y="7771"/>
                  <a:pt x="0" y="6048"/>
                  <a:pt x="0" y="3909"/>
                </a:cubicBezTo>
                <a:lnTo>
                  <a:pt x="0" y="3879"/>
                </a:lnTo>
                <a:cubicBezTo>
                  <a:pt x="0" y="1740"/>
                  <a:pt x="1734" y="0"/>
                  <a:pt x="3879" y="0"/>
                </a:cubicBezTo>
                <a:cubicBezTo>
                  <a:pt x="6025" y="0"/>
                  <a:pt x="7759" y="1734"/>
                  <a:pt x="7759" y="3879"/>
                </a:cubicBezTo>
                <a:cubicBezTo>
                  <a:pt x="7759" y="6025"/>
                  <a:pt x="6025" y="7777"/>
                  <a:pt x="3879" y="7777"/>
                </a:cubicBezTo>
                <a:close/>
              </a:path>
            </a:pathLst>
          </a:custGeom>
          <a:solidFill>
            <a:srgbClr val="1A91C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34" name="Freeform: Shape 2533">
            <a:extLst>
              <a:ext uri="{FF2B5EF4-FFF2-40B4-BE49-F238E27FC236}">
                <a16:creationId xmlns:a16="http://schemas.microsoft.com/office/drawing/2014/main" id="{0A1B5430-3928-57F5-5073-3A5CC7274548}"/>
              </a:ext>
            </a:extLst>
          </p:cNvPr>
          <p:cNvSpPr/>
          <p:nvPr/>
        </p:nvSpPr>
        <p:spPr>
          <a:xfrm>
            <a:off x="4177426" y="4044336"/>
            <a:ext cx="21130" cy="21130"/>
          </a:xfrm>
          <a:custGeom>
            <a:avLst/>
            <a:gdLst>
              <a:gd name="connsiteX0" fmla="*/ 21131 w 21130"/>
              <a:gd name="connsiteY0" fmla="*/ 10565 h 21130"/>
              <a:gd name="connsiteX1" fmla="*/ 10565 w 21130"/>
              <a:gd name="connsiteY1" fmla="*/ 21131 h 21130"/>
              <a:gd name="connsiteX2" fmla="*/ 0 w 21130"/>
              <a:gd name="connsiteY2" fmla="*/ 10565 h 21130"/>
              <a:gd name="connsiteX3" fmla="*/ 10565 w 21130"/>
              <a:gd name="connsiteY3" fmla="*/ 0 h 21130"/>
              <a:gd name="connsiteX4" fmla="*/ 21131 w 21130"/>
              <a:gd name="connsiteY4" fmla="*/ 10565 h 21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30" h="21130">
                <a:moveTo>
                  <a:pt x="21131" y="10565"/>
                </a:moveTo>
                <a:cubicBezTo>
                  <a:pt x="21131" y="16401"/>
                  <a:pt x="16401" y="21131"/>
                  <a:pt x="10565" y="21131"/>
                </a:cubicBezTo>
                <a:cubicBezTo>
                  <a:pt x="4730" y="21131"/>
                  <a:pt x="0" y="16401"/>
                  <a:pt x="0" y="10565"/>
                </a:cubicBezTo>
                <a:cubicBezTo>
                  <a:pt x="0" y="4730"/>
                  <a:pt x="4730" y="0"/>
                  <a:pt x="10565" y="0"/>
                </a:cubicBezTo>
                <a:cubicBezTo>
                  <a:pt x="16401" y="0"/>
                  <a:pt x="21131" y="4730"/>
                  <a:pt x="21131" y="10565"/>
                </a:cubicBezTo>
                <a:close/>
              </a:path>
            </a:pathLst>
          </a:custGeom>
          <a:solidFill>
            <a:srgbClr val="123D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35" name="Freeform: Shape 2534">
            <a:extLst>
              <a:ext uri="{FF2B5EF4-FFF2-40B4-BE49-F238E27FC236}">
                <a16:creationId xmlns:a16="http://schemas.microsoft.com/office/drawing/2014/main" id="{EB63E40B-B824-6B7D-AFE2-33B82C7BEF0F}"/>
              </a:ext>
            </a:extLst>
          </p:cNvPr>
          <p:cNvSpPr/>
          <p:nvPr/>
        </p:nvSpPr>
        <p:spPr>
          <a:xfrm>
            <a:off x="4068161" y="3749560"/>
            <a:ext cx="77908" cy="77908"/>
          </a:xfrm>
          <a:custGeom>
            <a:avLst/>
            <a:gdLst>
              <a:gd name="connsiteX0" fmla="*/ 71962 w 77908"/>
              <a:gd name="connsiteY0" fmla="*/ 0 h 77908"/>
              <a:gd name="connsiteX1" fmla="*/ 77909 w 77908"/>
              <a:gd name="connsiteY1" fmla="*/ 5947 h 77908"/>
              <a:gd name="connsiteX2" fmla="*/ 77909 w 77908"/>
              <a:gd name="connsiteY2" fmla="*/ 71962 h 77908"/>
              <a:gd name="connsiteX3" fmla="*/ 71962 w 77908"/>
              <a:gd name="connsiteY3" fmla="*/ 77909 h 77908"/>
              <a:gd name="connsiteX4" fmla="*/ 5947 w 77908"/>
              <a:gd name="connsiteY4" fmla="*/ 77909 h 77908"/>
              <a:gd name="connsiteX5" fmla="*/ 0 w 77908"/>
              <a:gd name="connsiteY5" fmla="*/ 71962 h 77908"/>
              <a:gd name="connsiteX6" fmla="*/ 0 w 77908"/>
              <a:gd name="connsiteY6" fmla="*/ 5947 h 77908"/>
              <a:gd name="connsiteX7" fmla="*/ 5947 w 77908"/>
              <a:gd name="connsiteY7" fmla="*/ 0 h 77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908" h="77908">
                <a:moveTo>
                  <a:pt x="71962" y="0"/>
                </a:moveTo>
                <a:cubicBezTo>
                  <a:pt x="75246" y="0"/>
                  <a:pt x="77909" y="2663"/>
                  <a:pt x="77909" y="5947"/>
                </a:cubicBezTo>
                <a:lnTo>
                  <a:pt x="77909" y="71962"/>
                </a:lnTo>
                <a:cubicBezTo>
                  <a:pt x="77909" y="75246"/>
                  <a:pt x="75246" y="77909"/>
                  <a:pt x="71962" y="77909"/>
                </a:cubicBezTo>
                <a:lnTo>
                  <a:pt x="5947" y="77909"/>
                </a:lnTo>
                <a:cubicBezTo>
                  <a:pt x="2663" y="77909"/>
                  <a:pt x="0" y="75246"/>
                  <a:pt x="0" y="71962"/>
                </a:cubicBezTo>
                <a:lnTo>
                  <a:pt x="0" y="5947"/>
                </a:lnTo>
                <a:cubicBezTo>
                  <a:pt x="0" y="2663"/>
                  <a:pt x="2663" y="0"/>
                  <a:pt x="5947" y="0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36" name="Freeform: Shape 2535">
            <a:extLst>
              <a:ext uri="{FF2B5EF4-FFF2-40B4-BE49-F238E27FC236}">
                <a16:creationId xmlns:a16="http://schemas.microsoft.com/office/drawing/2014/main" id="{1F284025-6E70-2B42-528C-26B5BD2805A2}"/>
              </a:ext>
            </a:extLst>
          </p:cNvPr>
          <p:cNvSpPr/>
          <p:nvPr/>
        </p:nvSpPr>
        <p:spPr>
          <a:xfrm>
            <a:off x="4083732" y="3768736"/>
            <a:ext cx="33775" cy="36374"/>
          </a:xfrm>
          <a:custGeom>
            <a:avLst/>
            <a:gdLst>
              <a:gd name="connsiteX0" fmla="*/ 33770 w 33775"/>
              <a:gd name="connsiteY0" fmla="*/ 36374 h 36374"/>
              <a:gd name="connsiteX1" fmla="*/ 25976 w 33775"/>
              <a:gd name="connsiteY1" fmla="*/ 36374 h 36374"/>
              <a:gd name="connsiteX2" fmla="*/ 23562 w 33775"/>
              <a:gd name="connsiteY2" fmla="*/ 28580 h 36374"/>
              <a:gd name="connsiteX3" fmla="*/ 10208 w 33775"/>
              <a:gd name="connsiteY3" fmla="*/ 28580 h 36374"/>
              <a:gd name="connsiteX4" fmla="*/ 7794 w 33775"/>
              <a:gd name="connsiteY4" fmla="*/ 36374 h 36374"/>
              <a:gd name="connsiteX5" fmla="*/ 0 w 33775"/>
              <a:gd name="connsiteY5" fmla="*/ 36374 h 36374"/>
              <a:gd name="connsiteX6" fmla="*/ 10911 w 33775"/>
              <a:gd name="connsiteY6" fmla="*/ 0 h 36374"/>
              <a:gd name="connsiteX7" fmla="*/ 22865 w 33775"/>
              <a:gd name="connsiteY7" fmla="*/ 0 h 36374"/>
              <a:gd name="connsiteX8" fmla="*/ 33776 w 33775"/>
              <a:gd name="connsiteY8" fmla="*/ 36374 h 36374"/>
              <a:gd name="connsiteX9" fmla="*/ 12568 w 33775"/>
              <a:gd name="connsiteY9" fmla="*/ 20785 h 36374"/>
              <a:gd name="connsiteX10" fmla="*/ 21196 w 33775"/>
              <a:gd name="connsiteY10" fmla="*/ 20785 h 36374"/>
              <a:gd name="connsiteX11" fmla="*/ 16882 w 33775"/>
              <a:gd name="connsiteY11" fmla="*/ 7794 h 36374"/>
              <a:gd name="connsiteX12" fmla="*/ 12568 w 33775"/>
              <a:gd name="connsiteY12" fmla="*/ 20785 h 36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3775" h="36374">
                <a:moveTo>
                  <a:pt x="33770" y="36374"/>
                </a:moveTo>
                <a:lnTo>
                  <a:pt x="25976" y="36374"/>
                </a:lnTo>
                <a:lnTo>
                  <a:pt x="23562" y="28580"/>
                </a:lnTo>
                <a:lnTo>
                  <a:pt x="10208" y="28580"/>
                </a:lnTo>
                <a:lnTo>
                  <a:pt x="7794" y="36374"/>
                </a:lnTo>
                <a:lnTo>
                  <a:pt x="0" y="36374"/>
                </a:lnTo>
                <a:lnTo>
                  <a:pt x="10911" y="0"/>
                </a:lnTo>
                <a:lnTo>
                  <a:pt x="22865" y="0"/>
                </a:lnTo>
                <a:lnTo>
                  <a:pt x="33776" y="36374"/>
                </a:lnTo>
                <a:close/>
                <a:moveTo>
                  <a:pt x="12568" y="20785"/>
                </a:moveTo>
                <a:lnTo>
                  <a:pt x="21196" y="20785"/>
                </a:lnTo>
                <a:lnTo>
                  <a:pt x="16882" y="7794"/>
                </a:lnTo>
                <a:lnTo>
                  <a:pt x="12568" y="20785"/>
                </a:ln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37" name="Freeform: Shape 2536">
            <a:extLst>
              <a:ext uri="{FF2B5EF4-FFF2-40B4-BE49-F238E27FC236}">
                <a16:creationId xmlns:a16="http://schemas.microsoft.com/office/drawing/2014/main" id="{63DD68C0-8C81-1511-BD15-DF44A898FA03}"/>
              </a:ext>
            </a:extLst>
          </p:cNvPr>
          <p:cNvSpPr/>
          <p:nvPr/>
        </p:nvSpPr>
        <p:spPr>
          <a:xfrm>
            <a:off x="4120100" y="3768736"/>
            <a:ext cx="7794" cy="36374"/>
          </a:xfrm>
          <a:custGeom>
            <a:avLst/>
            <a:gdLst>
              <a:gd name="connsiteX0" fmla="*/ 7794 w 7794"/>
              <a:gd name="connsiteY0" fmla="*/ 0 h 36374"/>
              <a:gd name="connsiteX1" fmla="*/ 7794 w 7794"/>
              <a:gd name="connsiteY1" fmla="*/ 36374 h 36374"/>
              <a:gd name="connsiteX2" fmla="*/ 0 w 7794"/>
              <a:gd name="connsiteY2" fmla="*/ 36374 h 36374"/>
              <a:gd name="connsiteX3" fmla="*/ 0 w 7794"/>
              <a:gd name="connsiteY3" fmla="*/ 0 h 36374"/>
              <a:gd name="connsiteX4" fmla="*/ 7794 w 7794"/>
              <a:gd name="connsiteY4" fmla="*/ 0 h 36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94" h="36374">
                <a:moveTo>
                  <a:pt x="7794" y="0"/>
                </a:moveTo>
                <a:lnTo>
                  <a:pt x="7794" y="36374"/>
                </a:lnTo>
                <a:lnTo>
                  <a:pt x="0" y="36374"/>
                </a:lnTo>
                <a:lnTo>
                  <a:pt x="0" y="0"/>
                </a:lnTo>
                <a:lnTo>
                  <a:pt x="7794" y="0"/>
                </a:ln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38" name="Freeform: Shape 2537">
            <a:extLst>
              <a:ext uri="{FF2B5EF4-FFF2-40B4-BE49-F238E27FC236}">
                <a16:creationId xmlns:a16="http://schemas.microsoft.com/office/drawing/2014/main" id="{02EDC804-719C-40E2-FAF5-5C90345C2B98}"/>
              </a:ext>
            </a:extLst>
          </p:cNvPr>
          <p:cNvSpPr/>
          <p:nvPr/>
        </p:nvSpPr>
        <p:spPr>
          <a:xfrm>
            <a:off x="4083994" y="3740889"/>
            <a:ext cx="4683" cy="15940"/>
          </a:xfrm>
          <a:custGeom>
            <a:avLst/>
            <a:gdLst>
              <a:gd name="connsiteX0" fmla="*/ 2342 w 4683"/>
              <a:gd name="connsiteY0" fmla="*/ 15940 h 15940"/>
              <a:gd name="connsiteX1" fmla="*/ 0 w 4683"/>
              <a:gd name="connsiteY1" fmla="*/ 13599 h 15940"/>
              <a:gd name="connsiteX2" fmla="*/ 0 w 4683"/>
              <a:gd name="connsiteY2" fmla="*/ 2342 h 15940"/>
              <a:gd name="connsiteX3" fmla="*/ 2342 w 4683"/>
              <a:gd name="connsiteY3" fmla="*/ 0 h 15940"/>
              <a:gd name="connsiteX4" fmla="*/ 4684 w 4683"/>
              <a:gd name="connsiteY4" fmla="*/ 2342 h 15940"/>
              <a:gd name="connsiteX5" fmla="*/ 4684 w 4683"/>
              <a:gd name="connsiteY5" fmla="*/ 13599 h 15940"/>
              <a:gd name="connsiteX6" fmla="*/ 2342 w 4683"/>
              <a:gd name="connsiteY6" fmla="*/ 15940 h 15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83" h="15940">
                <a:moveTo>
                  <a:pt x="2342" y="15940"/>
                </a:moveTo>
                <a:cubicBezTo>
                  <a:pt x="1049" y="15940"/>
                  <a:pt x="0" y="14892"/>
                  <a:pt x="0" y="13599"/>
                </a:cubicBezTo>
                <a:lnTo>
                  <a:pt x="0" y="2342"/>
                </a:lnTo>
                <a:cubicBezTo>
                  <a:pt x="0" y="1049"/>
                  <a:pt x="1049" y="0"/>
                  <a:pt x="2342" y="0"/>
                </a:cubicBezTo>
                <a:cubicBezTo>
                  <a:pt x="3635" y="0"/>
                  <a:pt x="4684" y="1049"/>
                  <a:pt x="4684" y="2342"/>
                </a:cubicBezTo>
                <a:lnTo>
                  <a:pt x="4684" y="13599"/>
                </a:lnTo>
                <a:cubicBezTo>
                  <a:pt x="4684" y="14892"/>
                  <a:pt x="3635" y="15940"/>
                  <a:pt x="2342" y="15940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39" name="Freeform: Shape 2538">
            <a:extLst>
              <a:ext uri="{FF2B5EF4-FFF2-40B4-BE49-F238E27FC236}">
                <a16:creationId xmlns:a16="http://schemas.microsoft.com/office/drawing/2014/main" id="{5FD4808B-01A2-E972-AF6C-674DEFF7273A}"/>
              </a:ext>
            </a:extLst>
          </p:cNvPr>
          <p:cNvSpPr/>
          <p:nvPr/>
        </p:nvSpPr>
        <p:spPr>
          <a:xfrm>
            <a:off x="4111698" y="3740889"/>
            <a:ext cx="4683" cy="15940"/>
          </a:xfrm>
          <a:custGeom>
            <a:avLst/>
            <a:gdLst>
              <a:gd name="connsiteX0" fmla="*/ 2342 w 4683"/>
              <a:gd name="connsiteY0" fmla="*/ 15940 h 15940"/>
              <a:gd name="connsiteX1" fmla="*/ 0 w 4683"/>
              <a:gd name="connsiteY1" fmla="*/ 13599 h 15940"/>
              <a:gd name="connsiteX2" fmla="*/ 0 w 4683"/>
              <a:gd name="connsiteY2" fmla="*/ 2342 h 15940"/>
              <a:gd name="connsiteX3" fmla="*/ 2342 w 4683"/>
              <a:gd name="connsiteY3" fmla="*/ 0 h 15940"/>
              <a:gd name="connsiteX4" fmla="*/ 4684 w 4683"/>
              <a:gd name="connsiteY4" fmla="*/ 2342 h 15940"/>
              <a:gd name="connsiteX5" fmla="*/ 4684 w 4683"/>
              <a:gd name="connsiteY5" fmla="*/ 13599 h 15940"/>
              <a:gd name="connsiteX6" fmla="*/ 2342 w 4683"/>
              <a:gd name="connsiteY6" fmla="*/ 15940 h 15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83" h="15940">
                <a:moveTo>
                  <a:pt x="2342" y="15940"/>
                </a:moveTo>
                <a:cubicBezTo>
                  <a:pt x="1049" y="15940"/>
                  <a:pt x="0" y="14892"/>
                  <a:pt x="0" y="13599"/>
                </a:cubicBezTo>
                <a:lnTo>
                  <a:pt x="0" y="2342"/>
                </a:lnTo>
                <a:cubicBezTo>
                  <a:pt x="0" y="1049"/>
                  <a:pt x="1049" y="0"/>
                  <a:pt x="2342" y="0"/>
                </a:cubicBezTo>
                <a:cubicBezTo>
                  <a:pt x="3635" y="0"/>
                  <a:pt x="4684" y="1049"/>
                  <a:pt x="4684" y="2342"/>
                </a:cubicBezTo>
                <a:lnTo>
                  <a:pt x="4684" y="13599"/>
                </a:lnTo>
                <a:cubicBezTo>
                  <a:pt x="4684" y="14892"/>
                  <a:pt x="3635" y="15940"/>
                  <a:pt x="2342" y="15940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40" name="Freeform: Shape 2539">
            <a:extLst>
              <a:ext uri="{FF2B5EF4-FFF2-40B4-BE49-F238E27FC236}">
                <a16:creationId xmlns:a16="http://schemas.microsoft.com/office/drawing/2014/main" id="{EE901A7F-ADA2-6C43-51C0-B218EC3C57C0}"/>
              </a:ext>
            </a:extLst>
          </p:cNvPr>
          <p:cNvSpPr/>
          <p:nvPr/>
        </p:nvSpPr>
        <p:spPr>
          <a:xfrm>
            <a:off x="4097843" y="3740889"/>
            <a:ext cx="4683" cy="15940"/>
          </a:xfrm>
          <a:custGeom>
            <a:avLst/>
            <a:gdLst>
              <a:gd name="connsiteX0" fmla="*/ 2342 w 4683"/>
              <a:gd name="connsiteY0" fmla="*/ 15940 h 15940"/>
              <a:gd name="connsiteX1" fmla="*/ 0 w 4683"/>
              <a:gd name="connsiteY1" fmla="*/ 13599 h 15940"/>
              <a:gd name="connsiteX2" fmla="*/ 0 w 4683"/>
              <a:gd name="connsiteY2" fmla="*/ 2342 h 15940"/>
              <a:gd name="connsiteX3" fmla="*/ 2342 w 4683"/>
              <a:gd name="connsiteY3" fmla="*/ 0 h 15940"/>
              <a:gd name="connsiteX4" fmla="*/ 4684 w 4683"/>
              <a:gd name="connsiteY4" fmla="*/ 2342 h 15940"/>
              <a:gd name="connsiteX5" fmla="*/ 4684 w 4683"/>
              <a:gd name="connsiteY5" fmla="*/ 13599 h 15940"/>
              <a:gd name="connsiteX6" fmla="*/ 2342 w 4683"/>
              <a:gd name="connsiteY6" fmla="*/ 15940 h 15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83" h="15940">
                <a:moveTo>
                  <a:pt x="2342" y="15940"/>
                </a:moveTo>
                <a:cubicBezTo>
                  <a:pt x="1049" y="15940"/>
                  <a:pt x="0" y="14892"/>
                  <a:pt x="0" y="13599"/>
                </a:cubicBezTo>
                <a:lnTo>
                  <a:pt x="0" y="2342"/>
                </a:lnTo>
                <a:cubicBezTo>
                  <a:pt x="0" y="1049"/>
                  <a:pt x="1049" y="0"/>
                  <a:pt x="2342" y="0"/>
                </a:cubicBezTo>
                <a:cubicBezTo>
                  <a:pt x="3635" y="0"/>
                  <a:pt x="4684" y="1049"/>
                  <a:pt x="4684" y="2342"/>
                </a:cubicBezTo>
                <a:lnTo>
                  <a:pt x="4684" y="13599"/>
                </a:lnTo>
                <a:cubicBezTo>
                  <a:pt x="4684" y="14892"/>
                  <a:pt x="3635" y="15940"/>
                  <a:pt x="2342" y="15940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41" name="Freeform: Shape 2540">
            <a:extLst>
              <a:ext uri="{FF2B5EF4-FFF2-40B4-BE49-F238E27FC236}">
                <a16:creationId xmlns:a16="http://schemas.microsoft.com/office/drawing/2014/main" id="{E277D138-FBBC-5C46-990D-5F58160CA199}"/>
              </a:ext>
            </a:extLst>
          </p:cNvPr>
          <p:cNvSpPr/>
          <p:nvPr/>
        </p:nvSpPr>
        <p:spPr>
          <a:xfrm>
            <a:off x="4125547" y="3740889"/>
            <a:ext cx="4683" cy="15940"/>
          </a:xfrm>
          <a:custGeom>
            <a:avLst/>
            <a:gdLst>
              <a:gd name="connsiteX0" fmla="*/ 2342 w 4683"/>
              <a:gd name="connsiteY0" fmla="*/ 15940 h 15940"/>
              <a:gd name="connsiteX1" fmla="*/ 0 w 4683"/>
              <a:gd name="connsiteY1" fmla="*/ 13599 h 15940"/>
              <a:gd name="connsiteX2" fmla="*/ 0 w 4683"/>
              <a:gd name="connsiteY2" fmla="*/ 2342 h 15940"/>
              <a:gd name="connsiteX3" fmla="*/ 2342 w 4683"/>
              <a:gd name="connsiteY3" fmla="*/ 0 h 15940"/>
              <a:gd name="connsiteX4" fmla="*/ 4684 w 4683"/>
              <a:gd name="connsiteY4" fmla="*/ 2342 h 15940"/>
              <a:gd name="connsiteX5" fmla="*/ 4684 w 4683"/>
              <a:gd name="connsiteY5" fmla="*/ 13599 h 15940"/>
              <a:gd name="connsiteX6" fmla="*/ 2342 w 4683"/>
              <a:gd name="connsiteY6" fmla="*/ 15940 h 15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83" h="15940">
                <a:moveTo>
                  <a:pt x="2342" y="15940"/>
                </a:moveTo>
                <a:cubicBezTo>
                  <a:pt x="1049" y="15940"/>
                  <a:pt x="0" y="14892"/>
                  <a:pt x="0" y="13599"/>
                </a:cubicBezTo>
                <a:lnTo>
                  <a:pt x="0" y="2342"/>
                </a:lnTo>
                <a:cubicBezTo>
                  <a:pt x="0" y="1049"/>
                  <a:pt x="1049" y="0"/>
                  <a:pt x="2342" y="0"/>
                </a:cubicBezTo>
                <a:cubicBezTo>
                  <a:pt x="3635" y="0"/>
                  <a:pt x="4684" y="1049"/>
                  <a:pt x="4684" y="2342"/>
                </a:cubicBezTo>
                <a:lnTo>
                  <a:pt x="4684" y="13599"/>
                </a:lnTo>
                <a:cubicBezTo>
                  <a:pt x="4684" y="14892"/>
                  <a:pt x="3635" y="15940"/>
                  <a:pt x="2342" y="15940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42" name="Freeform: Shape 2541">
            <a:extLst>
              <a:ext uri="{FF2B5EF4-FFF2-40B4-BE49-F238E27FC236}">
                <a16:creationId xmlns:a16="http://schemas.microsoft.com/office/drawing/2014/main" id="{978F4867-A8A9-0A02-D237-B40C044D23D7}"/>
              </a:ext>
            </a:extLst>
          </p:cNvPr>
          <p:cNvSpPr/>
          <p:nvPr/>
        </p:nvSpPr>
        <p:spPr>
          <a:xfrm>
            <a:off x="4083994" y="3821402"/>
            <a:ext cx="4683" cy="15940"/>
          </a:xfrm>
          <a:custGeom>
            <a:avLst/>
            <a:gdLst>
              <a:gd name="connsiteX0" fmla="*/ 2342 w 4683"/>
              <a:gd name="connsiteY0" fmla="*/ 15940 h 15940"/>
              <a:gd name="connsiteX1" fmla="*/ 0 w 4683"/>
              <a:gd name="connsiteY1" fmla="*/ 13599 h 15940"/>
              <a:gd name="connsiteX2" fmla="*/ 0 w 4683"/>
              <a:gd name="connsiteY2" fmla="*/ 2342 h 15940"/>
              <a:gd name="connsiteX3" fmla="*/ 2342 w 4683"/>
              <a:gd name="connsiteY3" fmla="*/ 0 h 15940"/>
              <a:gd name="connsiteX4" fmla="*/ 4684 w 4683"/>
              <a:gd name="connsiteY4" fmla="*/ 2342 h 15940"/>
              <a:gd name="connsiteX5" fmla="*/ 4684 w 4683"/>
              <a:gd name="connsiteY5" fmla="*/ 13599 h 15940"/>
              <a:gd name="connsiteX6" fmla="*/ 2342 w 4683"/>
              <a:gd name="connsiteY6" fmla="*/ 15940 h 15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83" h="15940">
                <a:moveTo>
                  <a:pt x="2342" y="15940"/>
                </a:moveTo>
                <a:cubicBezTo>
                  <a:pt x="1049" y="15940"/>
                  <a:pt x="0" y="14892"/>
                  <a:pt x="0" y="13599"/>
                </a:cubicBezTo>
                <a:lnTo>
                  <a:pt x="0" y="2342"/>
                </a:lnTo>
                <a:cubicBezTo>
                  <a:pt x="0" y="1049"/>
                  <a:pt x="1049" y="0"/>
                  <a:pt x="2342" y="0"/>
                </a:cubicBezTo>
                <a:cubicBezTo>
                  <a:pt x="3635" y="0"/>
                  <a:pt x="4684" y="1049"/>
                  <a:pt x="4684" y="2342"/>
                </a:cubicBezTo>
                <a:lnTo>
                  <a:pt x="4684" y="13599"/>
                </a:lnTo>
                <a:cubicBezTo>
                  <a:pt x="4684" y="14892"/>
                  <a:pt x="3635" y="15940"/>
                  <a:pt x="2342" y="15940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43" name="Freeform: Shape 2542">
            <a:extLst>
              <a:ext uri="{FF2B5EF4-FFF2-40B4-BE49-F238E27FC236}">
                <a16:creationId xmlns:a16="http://schemas.microsoft.com/office/drawing/2014/main" id="{4D4CD83A-1E2C-14EA-47F9-D9B1C5D99144}"/>
              </a:ext>
            </a:extLst>
          </p:cNvPr>
          <p:cNvSpPr/>
          <p:nvPr/>
        </p:nvSpPr>
        <p:spPr>
          <a:xfrm>
            <a:off x="4111698" y="3821402"/>
            <a:ext cx="4683" cy="15940"/>
          </a:xfrm>
          <a:custGeom>
            <a:avLst/>
            <a:gdLst>
              <a:gd name="connsiteX0" fmla="*/ 2342 w 4683"/>
              <a:gd name="connsiteY0" fmla="*/ 15940 h 15940"/>
              <a:gd name="connsiteX1" fmla="*/ 0 w 4683"/>
              <a:gd name="connsiteY1" fmla="*/ 13599 h 15940"/>
              <a:gd name="connsiteX2" fmla="*/ 0 w 4683"/>
              <a:gd name="connsiteY2" fmla="*/ 2342 h 15940"/>
              <a:gd name="connsiteX3" fmla="*/ 2342 w 4683"/>
              <a:gd name="connsiteY3" fmla="*/ 0 h 15940"/>
              <a:gd name="connsiteX4" fmla="*/ 4684 w 4683"/>
              <a:gd name="connsiteY4" fmla="*/ 2342 h 15940"/>
              <a:gd name="connsiteX5" fmla="*/ 4684 w 4683"/>
              <a:gd name="connsiteY5" fmla="*/ 13599 h 15940"/>
              <a:gd name="connsiteX6" fmla="*/ 2342 w 4683"/>
              <a:gd name="connsiteY6" fmla="*/ 15940 h 15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83" h="15940">
                <a:moveTo>
                  <a:pt x="2342" y="15940"/>
                </a:moveTo>
                <a:cubicBezTo>
                  <a:pt x="1049" y="15940"/>
                  <a:pt x="0" y="14892"/>
                  <a:pt x="0" y="13599"/>
                </a:cubicBezTo>
                <a:lnTo>
                  <a:pt x="0" y="2342"/>
                </a:lnTo>
                <a:cubicBezTo>
                  <a:pt x="0" y="1049"/>
                  <a:pt x="1049" y="0"/>
                  <a:pt x="2342" y="0"/>
                </a:cubicBezTo>
                <a:cubicBezTo>
                  <a:pt x="3635" y="0"/>
                  <a:pt x="4684" y="1049"/>
                  <a:pt x="4684" y="2342"/>
                </a:cubicBezTo>
                <a:lnTo>
                  <a:pt x="4684" y="13599"/>
                </a:lnTo>
                <a:cubicBezTo>
                  <a:pt x="4684" y="14892"/>
                  <a:pt x="3635" y="15940"/>
                  <a:pt x="2342" y="15940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44" name="Freeform: Shape 2543">
            <a:extLst>
              <a:ext uri="{FF2B5EF4-FFF2-40B4-BE49-F238E27FC236}">
                <a16:creationId xmlns:a16="http://schemas.microsoft.com/office/drawing/2014/main" id="{52F17A5C-9311-BAC1-D44F-2D97A390FB63}"/>
              </a:ext>
            </a:extLst>
          </p:cNvPr>
          <p:cNvSpPr/>
          <p:nvPr/>
        </p:nvSpPr>
        <p:spPr>
          <a:xfrm>
            <a:off x="4097843" y="3821402"/>
            <a:ext cx="4683" cy="15940"/>
          </a:xfrm>
          <a:custGeom>
            <a:avLst/>
            <a:gdLst>
              <a:gd name="connsiteX0" fmla="*/ 2342 w 4683"/>
              <a:gd name="connsiteY0" fmla="*/ 15940 h 15940"/>
              <a:gd name="connsiteX1" fmla="*/ 0 w 4683"/>
              <a:gd name="connsiteY1" fmla="*/ 13599 h 15940"/>
              <a:gd name="connsiteX2" fmla="*/ 0 w 4683"/>
              <a:gd name="connsiteY2" fmla="*/ 2342 h 15940"/>
              <a:gd name="connsiteX3" fmla="*/ 2342 w 4683"/>
              <a:gd name="connsiteY3" fmla="*/ 0 h 15940"/>
              <a:gd name="connsiteX4" fmla="*/ 4684 w 4683"/>
              <a:gd name="connsiteY4" fmla="*/ 2342 h 15940"/>
              <a:gd name="connsiteX5" fmla="*/ 4684 w 4683"/>
              <a:gd name="connsiteY5" fmla="*/ 13599 h 15940"/>
              <a:gd name="connsiteX6" fmla="*/ 2342 w 4683"/>
              <a:gd name="connsiteY6" fmla="*/ 15940 h 15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83" h="15940">
                <a:moveTo>
                  <a:pt x="2342" y="15940"/>
                </a:moveTo>
                <a:cubicBezTo>
                  <a:pt x="1049" y="15940"/>
                  <a:pt x="0" y="14892"/>
                  <a:pt x="0" y="13599"/>
                </a:cubicBezTo>
                <a:lnTo>
                  <a:pt x="0" y="2342"/>
                </a:lnTo>
                <a:cubicBezTo>
                  <a:pt x="0" y="1049"/>
                  <a:pt x="1049" y="0"/>
                  <a:pt x="2342" y="0"/>
                </a:cubicBezTo>
                <a:cubicBezTo>
                  <a:pt x="3635" y="0"/>
                  <a:pt x="4684" y="1049"/>
                  <a:pt x="4684" y="2342"/>
                </a:cubicBezTo>
                <a:lnTo>
                  <a:pt x="4684" y="13599"/>
                </a:lnTo>
                <a:cubicBezTo>
                  <a:pt x="4684" y="14892"/>
                  <a:pt x="3635" y="15940"/>
                  <a:pt x="2342" y="15940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45" name="Freeform: Shape 2544">
            <a:extLst>
              <a:ext uri="{FF2B5EF4-FFF2-40B4-BE49-F238E27FC236}">
                <a16:creationId xmlns:a16="http://schemas.microsoft.com/office/drawing/2014/main" id="{5B0317F6-C5AD-B7CA-4AD9-0CF3BC16088C}"/>
              </a:ext>
            </a:extLst>
          </p:cNvPr>
          <p:cNvSpPr/>
          <p:nvPr/>
        </p:nvSpPr>
        <p:spPr>
          <a:xfrm>
            <a:off x="4125547" y="3821402"/>
            <a:ext cx="4683" cy="15940"/>
          </a:xfrm>
          <a:custGeom>
            <a:avLst/>
            <a:gdLst>
              <a:gd name="connsiteX0" fmla="*/ 2342 w 4683"/>
              <a:gd name="connsiteY0" fmla="*/ 15940 h 15940"/>
              <a:gd name="connsiteX1" fmla="*/ 0 w 4683"/>
              <a:gd name="connsiteY1" fmla="*/ 13599 h 15940"/>
              <a:gd name="connsiteX2" fmla="*/ 0 w 4683"/>
              <a:gd name="connsiteY2" fmla="*/ 2342 h 15940"/>
              <a:gd name="connsiteX3" fmla="*/ 2342 w 4683"/>
              <a:gd name="connsiteY3" fmla="*/ 0 h 15940"/>
              <a:gd name="connsiteX4" fmla="*/ 4684 w 4683"/>
              <a:gd name="connsiteY4" fmla="*/ 2342 h 15940"/>
              <a:gd name="connsiteX5" fmla="*/ 4684 w 4683"/>
              <a:gd name="connsiteY5" fmla="*/ 13599 h 15940"/>
              <a:gd name="connsiteX6" fmla="*/ 2342 w 4683"/>
              <a:gd name="connsiteY6" fmla="*/ 15940 h 15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83" h="15940">
                <a:moveTo>
                  <a:pt x="2342" y="15940"/>
                </a:moveTo>
                <a:cubicBezTo>
                  <a:pt x="1049" y="15940"/>
                  <a:pt x="0" y="14892"/>
                  <a:pt x="0" y="13599"/>
                </a:cubicBezTo>
                <a:lnTo>
                  <a:pt x="0" y="2342"/>
                </a:lnTo>
                <a:cubicBezTo>
                  <a:pt x="0" y="1049"/>
                  <a:pt x="1049" y="0"/>
                  <a:pt x="2342" y="0"/>
                </a:cubicBezTo>
                <a:cubicBezTo>
                  <a:pt x="3635" y="0"/>
                  <a:pt x="4684" y="1049"/>
                  <a:pt x="4684" y="2342"/>
                </a:cubicBezTo>
                <a:lnTo>
                  <a:pt x="4684" y="13599"/>
                </a:lnTo>
                <a:cubicBezTo>
                  <a:pt x="4684" y="14892"/>
                  <a:pt x="3635" y="15940"/>
                  <a:pt x="2342" y="15940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46" name="Freeform: Shape 2545">
            <a:extLst>
              <a:ext uri="{FF2B5EF4-FFF2-40B4-BE49-F238E27FC236}">
                <a16:creationId xmlns:a16="http://schemas.microsoft.com/office/drawing/2014/main" id="{B0C41BE0-63F2-4422-4114-ACA2E63FFE0C}"/>
              </a:ext>
            </a:extLst>
          </p:cNvPr>
          <p:cNvSpPr/>
          <p:nvPr/>
        </p:nvSpPr>
        <p:spPr>
          <a:xfrm>
            <a:off x="4139396" y="3765995"/>
            <a:ext cx="15940" cy="4683"/>
          </a:xfrm>
          <a:custGeom>
            <a:avLst/>
            <a:gdLst>
              <a:gd name="connsiteX0" fmla="*/ 13599 w 15940"/>
              <a:gd name="connsiteY0" fmla="*/ 4684 h 4683"/>
              <a:gd name="connsiteX1" fmla="*/ 2342 w 15940"/>
              <a:gd name="connsiteY1" fmla="*/ 4684 h 4683"/>
              <a:gd name="connsiteX2" fmla="*/ 0 w 15940"/>
              <a:gd name="connsiteY2" fmla="*/ 2342 h 4683"/>
              <a:gd name="connsiteX3" fmla="*/ 2342 w 15940"/>
              <a:gd name="connsiteY3" fmla="*/ 0 h 4683"/>
              <a:gd name="connsiteX4" fmla="*/ 13599 w 15940"/>
              <a:gd name="connsiteY4" fmla="*/ 0 h 4683"/>
              <a:gd name="connsiteX5" fmla="*/ 15940 w 15940"/>
              <a:gd name="connsiteY5" fmla="*/ 2342 h 4683"/>
              <a:gd name="connsiteX6" fmla="*/ 13599 w 15940"/>
              <a:gd name="connsiteY6" fmla="*/ 4684 h 4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940" h="4683">
                <a:moveTo>
                  <a:pt x="13599" y="4684"/>
                </a:moveTo>
                <a:lnTo>
                  <a:pt x="2342" y="4684"/>
                </a:lnTo>
                <a:cubicBezTo>
                  <a:pt x="1049" y="4684"/>
                  <a:pt x="0" y="3635"/>
                  <a:pt x="0" y="2342"/>
                </a:cubicBezTo>
                <a:cubicBezTo>
                  <a:pt x="0" y="1049"/>
                  <a:pt x="1049" y="0"/>
                  <a:pt x="2342" y="0"/>
                </a:cubicBezTo>
                <a:lnTo>
                  <a:pt x="13599" y="0"/>
                </a:lnTo>
                <a:cubicBezTo>
                  <a:pt x="14892" y="0"/>
                  <a:pt x="15940" y="1049"/>
                  <a:pt x="15940" y="2342"/>
                </a:cubicBezTo>
                <a:cubicBezTo>
                  <a:pt x="15940" y="3635"/>
                  <a:pt x="14892" y="4684"/>
                  <a:pt x="13599" y="4684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47" name="Freeform: Shape 2546">
            <a:extLst>
              <a:ext uri="{FF2B5EF4-FFF2-40B4-BE49-F238E27FC236}">
                <a16:creationId xmlns:a16="http://schemas.microsoft.com/office/drawing/2014/main" id="{ADC2E462-550F-AC70-91BB-3AC32239416D}"/>
              </a:ext>
            </a:extLst>
          </p:cNvPr>
          <p:cNvSpPr/>
          <p:nvPr/>
        </p:nvSpPr>
        <p:spPr>
          <a:xfrm>
            <a:off x="4139396" y="3793698"/>
            <a:ext cx="15940" cy="4683"/>
          </a:xfrm>
          <a:custGeom>
            <a:avLst/>
            <a:gdLst>
              <a:gd name="connsiteX0" fmla="*/ 13599 w 15940"/>
              <a:gd name="connsiteY0" fmla="*/ 4684 h 4683"/>
              <a:gd name="connsiteX1" fmla="*/ 2342 w 15940"/>
              <a:gd name="connsiteY1" fmla="*/ 4684 h 4683"/>
              <a:gd name="connsiteX2" fmla="*/ 0 w 15940"/>
              <a:gd name="connsiteY2" fmla="*/ 2342 h 4683"/>
              <a:gd name="connsiteX3" fmla="*/ 2342 w 15940"/>
              <a:gd name="connsiteY3" fmla="*/ 0 h 4683"/>
              <a:gd name="connsiteX4" fmla="*/ 13599 w 15940"/>
              <a:gd name="connsiteY4" fmla="*/ 0 h 4683"/>
              <a:gd name="connsiteX5" fmla="*/ 15940 w 15940"/>
              <a:gd name="connsiteY5" fmla="*/ 2342 h 4683"/>
              <a:gd name="connsiteX6" fmla="*/ 13599 w 15940"/>
              <a:gd name="connsiteY6" fmla="*/ 4684 h 4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940" h="4683">
                <a:moveTo>
                  <a:pt x="13599" y="4684"/>
                </a:moveTo>
                <a:lnTo>
                  <a:pt x="2342" y="4684"/>
                </a:lnTo>
                <a:cubicBezTo>
                  <a:pt x="1049" y="4684"/>
                  <a:pt x="0" y="3635"/>
                  <a:pt x="0" y="2342"/>
                </a:cubicBezTo>
                <a:cubicBezTo>
                  <a:pt x="0" y="1049"/>
                  <a:pt x="1049" y="0"/>
                  <a:pt x="2342" y="0"/>
                </a:cubicBezTo>
                <a:lnTo>
                  <a:pt x="13599" y="0"/>
                </a:lnTo>
                <a:cubicBezTo>
                  <a:pt x="14892" y="0"/>
                  <a:pt x="15940" y="1049"/>
                  <a:pt x="15940" y="2342"/>
                </a:cubicBezTo>
                <a:cubicBezTo>
                  <a:pt x="15940" y="3635"/>
                  <a:pt x="14892" y="4684"/>
                  <a:pt x="13599" y="4684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48" name="Freeform: Shape 2547">
            <a:extLst>
              <a:ext uri="{FF2B5EF4-FFF2-40B4-BE49-F238E27FC236}">
                <a16:creationId xmlns:a16="http://schemas.microsoft.com/office/drawing/2014/main" id="{C217DF6C-B166-C677-E6E0-D7A494BD6FAE}"/>
              </a:ext>
            </a:extLst>
          </p:cNvPr>
          <p:cNvSpPr/>
          <p:nvPr/>
        </p:nvSpPr>
        <p:spPr>
          <a:xfrm>
            <a:off x="4139396" y="3779844"/>
            <a:ext cx="15940" cy="4683"/>
          </a:xfrm>
          <a:custGeom>
            <a:avLst/>
            <a:gdLst>
              <a:gd name="connsiteX0" fmla="*/ 13599 w 15940"/>
              <a:gd name="connsiteY0" fmla="*/ 4684 h 4683"/>
              <a:gd name="connsiteX1" fmla="*/ 2342 w 15940"/>
              <a:gd name="connsiteY1" fmla="*/ 4684 h 4683"/>
              <a:gd name="connsiteX2" fmla="*/ 0 w 15940"/>
              <a:gd name="connsiteY2" fmla="*/ 2342 h 4683"/>
              <a:gd name="connsiteX3" fmla="*/ 2342 w 15940"/>
              <a:gd name="connsiteY3" fmla="*/ 0 h 4683"/>
              <a:gd name="connsiteX4" fmla="*/ 13599 w 15940"/>
              <a:gd name="connsiteY4" fmla="*/ 0 h 4683"/>
              <a:gd name="connsiteX5" fmla="*/ 15940 w 15940"/>
              <a:gd name="connsiteY5" fmla="*/ 2342 h 4683"/>
              <a:gd name="connsiteX6" fmla="*/ 13599 w 15940"/>
              <a:gd name="connsiteY6" fmla="*/ 4684 h 4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940" h="4683">
                <a:moveTo>
                  <a:pt x="13599" y="4684"/>
                </a:moveTo>
                <a:lnTo>
                  <a:pt x="2342" y="4684"/>
                </a:lnTo>
                <a:cubicBezTo>
                  <a:pt x="1049" y="4684"/>
                  <a:pt x="0" y="3635"/>
                  <a:pt x="0" y="2342"/>
                </a:cubicBezTo>
                <a:cubicBezTo>
                  <a:pt x="0" y="1049"/>
                  <a:pt x="1049" y="0"/>
                  <a:pt x="2342" y="0"/>
                </a:cubicBezTo>
                <a:lnTo>
                  <a:pt x="13599" y="0"/>
                </a:lnTo>
                <a:cubicBezTo>
                  <a:pt x="14892" y="0"/>
                  <a:pt x="15940" y="1049"/>
                  <a:pt x="15940" y="2342"/>
                </a:cubicBezTo>
                <a:cubicBezTo>
                  <a:pt x="15940" y="3635"/>
                  <a:pt x="14892" y="4684"/>
                  <a:pt x="13599" y="4684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49" name="Freeform: Shape 2548">
            <a:extLst>
              <a:ext uri="{FF2B5EF4-FFF2-40B4-BE49-F238E27FC236}">
                <a16:creationId xmlns:a16="http://schemas.microsoft.com/office/drawing/2014/main" id="{1FB7F09A-6373-F574-20FD-E2A32C726D13}"/>
              </a:ext>
            </a:extLst>
          </p:cNvPr>
          <p:cNvSpPr/>
          <p:nvPr/>
        </p:nvSpPr>
        <p:spPr>
          <a:xfrm>
            <a:off x="4139396" y="3807547"/>
            <a:ext cx="15940" cy="4683"/>
          </a:xfrm>
          <a:custGeom>
            <a:avLst/>
            <a:gdLst>
              <a:gd name="connsiteX0" fmla="*/ 13599 w 15940"/>
              <a:gd name="connsiteY0" fmla="*/ 4684 h 4683"/>
              <a:gd name="connsiteX1" fmla="*/ 2342 w 15940"/>
              <a:gd name="connsiteY1" fmla="*/ 4684 h 4683"/>
              <a:gd name="connsiteX2" fmla="*/ 0 w 15940"/>
              <a:gd name="connsiteY2" fmla="*/ 2342 h 4683"/>
              <a:gd name="connsiteX3" fmla="*/ 2342 w 15940"/>
              <a:gd name="connsiteY3" fmla="*/ 0 h 4683"/>
              <a:gd name="connsiteX4" fmla="*/ 13599 w 15940"/>
              <a:gd name="connsiteY4" fmla="*/ 0 h 4683"/>
              <a:gd name="connsiteX5" fmla="*/ 15940 w 15940"/>
              <a:gd name="connsiteY5" fmla="*/ 2342 h 4683"/>
              <a:gd name="connsiteX6" fmla="*/ 13599 w 15940"/>
              <a:gd name="connsiteY6" fmla="*/ 4684 h 4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940" h="4683">
                <a:moveTo>
                  <a:pt x="13599" y="4684"/>
                </a:moveTo>
                <a:lnTo>
                  <a:pt x="2342" y="4684"/>
                </a:lnTo>
                <a:cubicBezTo>
                  <a:pt x="1049" y="4684"/>
                  <a:pt x="0" y="3635"/>
                  <a:pt x="0" y="2342"/>
                </a:cubicBezTo>
                <a:cubicBezTo>
                  <a:pt x="0" y="1049"/>
                  <a:pt x="1049" y="0"/>
                  <a:pt x="2342" y="0"/>
                </a:cubicBezTo>
                <a:lnTo>
                  <a:pt x="13599" y="0"/>
                </a:lnTo>
                <a:cubicBezTo>
                  <a:pt x="14892" y="0"/>
                  <a:pt x="15940" y="1049"/>
                  <a:pt x="15940" y="2342"/>
                </a:cubicBezTo>
                <a:cubicBezTo>
                  <a:pt x="15940" y="3635"/>
                  <a:pt x="14892" y="4684"/>
                  <a:pt x="13599" y="4684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50" name="Freeform: Shape 2549">
            <a:extLst>
              <a:ext uri="{FF2B5EF4-FFF2-40B4-BE49-F238E27FC236}">
                <a16:creationId xmlns:a16="http://schemas.microsoft.com/office/drawing/2014/main" id="{A945E5EC-F79D-23BA-DD2A-0C4B1F597BC0}"/>
              </a:ext>
            </a:extLst>
          </p:cNvPr>
          <p:cNvSpPr/>
          <p:nvPr/>
        </p:nvSpPr>
        <p:spPr>
          <a:xfrm>
            <a:off x="4058883" y="3765995"/>
            <a:ext cx="15940" cy="4683"/>
          </a:xfrm>
          <a:custGeom>
            <a:avLst/>
            <a:gdLst>
              <a:gd name="connsiteX0" fmla="*/ 13599 w 15940"/>
              <a:gd name="connsiteY0" fmla="*/ 4684 h 4683"/>
              <a:gd name="connsiteX1" fmla="*/ 2342 w 15940"/>
              <a:gd name="connsiteY1" fmla="*/ 4684 h 4683"/>
              <a:gd name="connsiteX2" fmla="*/ 0 w 15940"/>
              <a:gd name="connsiteY2" fmla="*/ 2342 h 4683"/>
              <a:gd name="connsiteX3" fmla="*/ 2342 w 15940"/>
              <a:gd name="connsiteY3" fmla="*/ 0 h 4683"/>
              <a:gd name="connsiteX4" fmla="*/ 13599 w 15940"/>
              <a:gd name="connsiteY4" fmla="*/ 0 h 4683"/>
              <a:gd name="connsiteX5" fmla="*/ 15940 w 15940"/>
              <a:gd name="connsiteY5" fmla="*/ 2342 h 4683"/>
              <a:gd name="connsiteX6" fmla="*/ 13599 w 15940"/>
              <a:gd name="connsiteY6" fmla="*/ 4684 h 4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940" h="4683">
                <a:moveTo>
                  <a:pt x="13599" y="4684"/>
                </a:moveTo>
                <a:lnTo>
                  <a:pt x="2342" y="4684"/>
                </a:lnTo>
                <a:cubicBezTo>
                  <a:pt x="1049" y="4684"/>
                  <a:pt x="0" y="3635"/>
                  <a:pt x="0" y="2342"/>
                </a:cubicBezTo>
                <a:cubicBezTo>
                  <a:pt x="0" y="1049"/>
                  <a:pt x="1049" y="0"/>
                  <a:pt x="2342" y="0"/>
                </a:cubicBezTo>
                <a:lnTo>
                  <a:pt x="13599" y="0"/>
                </a:lnTo>
                <a:cubicBezTo>
                  <a:pt x="14892" y="0"/>
                  <a:pt x="15940" y="1049"/>
                  <a:pt x="15940" y="2342"/>
                </a:cubicBezTo>
                <a:cubicBezTo>
                  <a:pt x="15940" y="3635"/>
                  <a:pt x="14892" y="4684"/>
                  <a:pt x="13599" y="4684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51" name="Freeform: Shape 2550">
            <a:extLst>
              <a:ext uri="{FF2B5EF4-FFF2-40B4-BE49-F238E27FC236}">
                <a16:creationId xmlns:a16="http://schemas.microsoft.com/office/drawing/2014/main" id="{E46A118E-5F54-775B-751B-81B950A4E7C3}"/>
              </a:ext>
            </a:extLst>
          </p:cNvPr>
          <p:cNvSpPr/>
          <p:nvPr/>
        </p:nvSpPr>
        <p:spPr>
          <a:xfrm>
            <a:off x="4058883" y="3793698"/>
            <a:ext cx="15940" cy="4683"/>
          </a:xfrm>
          <a:custGeom>
            <a:avLst/>
            <a:gdLst>
              <a:gd name="connsiteX0" fmla="*/ 13599 w 15940"/>
              <a:gd name="connsiteY0" fmla="*/ 4684 h 4683"/>
              <a:gd name="connsiteX1" fmla="*/ 2342 w 15940"/>
              <a:gd name="connsiteY1" fmla="*/ 4684 h 4683"/>
              <a:gd name="connsiteX2" fmla="*/ 0 w 15940"/>
              <a:gd name="connsiteY2" fmla="*/ 2342 h 4683"/>
              <a:gd name="connsiteX3" fmla="*/ 2342 w 15940"/>
              <a:gd name="connsiteY3" fmla="*/ 0 h 4683"/>
              <a:gd name="connsiteX4" fmla="*/ 13599 w 15940"/>
              <a:gd name="connsiteY4" fmla="*/ 0 h 4683"/>
              <a:gd name="connsiteX5" fmla="*/ 15940 w 15940"/>
              <a:gd name="connsiteY5" fmla="*/ 2342 h 4683"/>
              <a:gd name="connsiteX6" fmla="*/ 13599 w 15940"/>
              <a:gd name="connsiteY6" fmla="*/ 4684 h 4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940" h="4683">
                <a:moveTo>
                  <a:pt x="13599" y="4684"/>
                </a:moveTo>
                <a:lnTo>
                  <a:pt x="2342" y="4684"/>
                </a:lnTo>
                <a:cubicBezTo>
                  <a:pt x="1049" y="4684"/>
                  <a:pt x="0" y="3635"/>
                  <a:pt x="0" y="2342"/>
                </a:cubicBezTo>
                <a:cubicBezTo>
                  <a:pt x="0" y="1049"/>
                  <a:pt x="1049" y="0"/>
                  <a:pt x="2342" y="0"/>
                </a:cubicBezTo>
                <a:lnTo>
                  <a:pt x="13599" y="0"/>
                </a:lnTo>
                <a:cubicBezTo>
                  <a:pt x="14892" y="0"/>
                  <a:pt x="15940" y="1049"/>
                  <a:pt x="15940" y="2342"/>
                </a:cubicBezTo>
                <a:cubicBezTo>
                  <a:pt x="15940" y="3635"/>
                  <a:pt x="14892" y="4684"/>
                  <a:pt x="13599" y="4684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52" name="Freeform: Shape 2551">
            <a:extLst>
              <a:ext uri="{FF2B5EF4-FFF2-40B4-BE49-F238E27FC236}">
                <a16:creationId xmlns:a16="http://schemas.microsoft.com/office/drawing/2014/main" id="{6818A593-82A3-3F99-5C07-B657A5E86782}"/>
              </a:ext>
            </a:extLst>
          </p:cNvPr>
          <p:cNvSpPr/>
          <p:nvPr/>
        </p:nvSpPr>
        <p:spPr>
          <a:xfrm>
            <a:off x="4058883" y="3779844"/>
            <a:ext cx="15940" cy="4683"/>
          </a:xfrm>
          <a:custGeom>
            <a:avLst/>
            <a:gdLst>
              <a:gd name="connsiteX0" fmla="*/ 13599 w 15940"/>
              <a:gd name="connsiteY0" fmla="*/ 4684 h 4683"/>
              <a:gd name="connsiteX1" fmla="*/ 2342 w 15940"/>
              <a:gd name="connsiteY1" fmla="*/ 4684 h 4683"/>
              <a:gd name="connsiteX2" fmla="*/ 0 w 15940"/>
              <a:gd name="connsiteY2" fmla="*/ 2342 h 4683"/>
              <a:gd name="connsiteX3" fmla="*/ 2342 w 15940"/>
              <a:gd name="connsiteY3" fmla="*/ 0 h 4683"/>
              <a:gd name="connsiteX4" fmla="*/ 13599 w 15940"/>
              <a:gd name="connsiteY4" fmla="*/ 0 h 4683"/>
              <a:gd name="connsiteX5" fmla="*/ 15940 w 15940"/>
              <a:gd name="connsiteY5" fmla="*/ 2342 h 4683"/>
              <a:gd name="connsiteX6" fmla="*/ 13599 w 15940"/>
              <a:gd name="connsiteY6" fmla="*/ 4684 h 4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940" h="4683">
                <a:moveTo>
                  <a:pt x="13599" y="4684"/>
                </a:moveTo>
                <a:lnTo>
                  <a:pt x="2342" y="4684"/>
                </a:lnTo>
                <a:cubicBezTo>
                  <a:pt x="1049" y="4684"/>
                  <a:pt x="0" y="3635"/>
                  <a:pt x="0" y="2342"/>
                </a:cubicBezTo>
                <a:cubicBezTo>
                  <a:pt x="0" y="1049"/>
                  <a:pt x="1049" y="0"/>
                  <a:pt x="2342" y="0"/>
                </a:cubicBezTo>
                <a:lnTo>
                  <a:pt x="13599" y="0"/>
                </a:lnTo>
                <a:cubicBezTo>
                  <a:pt x="14892" y="0"/>
                  <a:pt x="15940" y="1049"/>
                  <a:pt x="15940" y="2342"/>
                </a:cubicBezTo>
                <a:cubicBezTo>
                  <a:pt x="15940" y="3635"/>
                  <a:pt x="14892" y="4684"/>
                  <a:pt x="13599" y="4684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53" name="Freeform: Shape 2552">
            <a:extLst>
              <a:ext uri="{FF2B5EF4-FFF2-40B4-BE49-F238E27FC236}">
                <a16:creationId xmlns:a16="http://schemas.microsoft.com/office/drawing/2014/main" id="{E8EC17E0-F84F-B6BF-9202-60AB3153B7D2}"/>
              </a:ext>
            </a:extLst>
          </p:cNvPr>
          <p:cNvSpPr/>
          <p:nvPr/>
        </p:nvSpPr>
        <p:spPr>
          <a:xfrm>
            <a:off x="4058883" y="3807547"/>
            <a:ext cx="15940" cy="4683"/>
          </a:xfrm>
          <a:custGeom>
            <a:avLst/>
            <a:gdLst>
              <a:gd name="connsiteX0" fmla="*/ 13599 w 15940"/>
              <a:gd name="connsiteY0" fmla="*/ 4684 h 4683"/>
              <a:gd name="connsiteX1" fmla="*/ 2342 w 15940"/>
              <a:gd name="connsiteY1" fmla="*/ 4684 h 4683"/>
              <a:gd name="connsiteX2" fmla="*/ 0 w 15940"/>
              <a:gd name="connsiteY2" fmla="*/ 2342 h 4683"/>
              <a:gd name="connsiteX3" fmla="*/ 2342 w 15940"/>
              <a:gd name="connsiteY3" fmla="*/ 0 h 4683"/>
              <a:gd name="connsiteX4" fmla="*/ 13599 w 15940"/>
              <a:gd name="connsiteY4" fmla="*/ 0 h 4683"/>
              <a:gd name="connsiteX5" fmla="*/ 15940 w 15940"/>
              <a:gd name="connsiteY5" fmla="*/ 2342 h 4683"/>
              <a:gd name="connsiteX6" fmla="*/ 13599 w 15940"/>
              <a:gd name="connsiteY6" fmla="*/ 4684 h 4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940" h="4683">
                <a:moveTo>
                  <a:pt x="13599" y="4684"/>
                </a:moveTo>
                <a:lnTo>
                  <a:pt x="2342" y="4684"/>
                </a:lnTo>
                <a:cubicBezTo>
                  <a:pt x="1049" y="4684"/>
                  <a:pt x="0" y="3635"/>
                  <a:pt x="0" y="2342"/>
                </a:cubicBezTo>
                <a:cubicBezTo>
                  <a:pt x="0" y="1049"/>
                  <a:pt x="1049" y="0"/>
                  <a:pt x="2342" y="0"/>
                </a:cubicBezTo>
                <a:lnTo>
                  <a:pt x="13599" y="0"/>
                </a:lnTo>
                <a:cubicBezTo>
                  <a:pt x="14892" y="0"/>
                  <a:pt x="15940" y="1049"/>
                  <a:pt x="15940" y="2342"/>
                </a:cubicBezTo>
                <a:cubicBezTo>
                  <a:pt x="15940" y="3635"/>
                  <a:pt x="14892" y="4684"/>
                  <a:pt x="13599" y="4684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54" name="Freeform: Shape 2553">
            <a:extLst>
              <a:ext uri="{FF2B5EF4-FFF2-40B4-BE49-F238E27FC236}">
                <a16:creationId xmlns:a16="http://schemas.microsoft.com/office/drawing/2014/main" id="{00AF741F-F60E-D35C-2C43-F8AFE52D7089}"/>
              </a:ext>
            </a:extLst>
          </p:cNvPr>
          <p:cNvSpPr/>
          <p:nvPr/>
        </p:nvSpPr>
        <p:spPr>
          <a:xfrm>
            <a:off x="4010430" y="3521108"/>
            <a:ext cx="196851" cy="142641"/>
          </a:xfrm>
          <a:custGeom>
            <a:avLst/>
            <a:gdLst>
              <a:gd name="connsiteX0" fmla="*/ 0 w 196851"/>
              <a:gd name="connsiteY0" fmla="*/ 0 h 142641"/>
              <a:gd name="connsiteX1" fmla="*/ 196851 w 196851"/>
              <a:gd name="connsiteY1" fmla="*/ 0 h 142641"/>
              <a:gd name="connsiteX2" fmla="*/ 196851 w 196851"/>
              <a:gd name="connsiteY2" fmla="*/ 142642 h 142641"/>
              <a:gd name="connsiteX3" fmla="*/ 0 w 196851"/>
              <a:gd name="connsiteY3" fmla="*/ 142642 h 142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1" h="142641">
                <a:moveTo>
                  <a:pt x="0" y="0"/>
                </a:moveTo>
                <a:lnTo>
                  <a:pt x="196851" y="0"/>
                </a:lnTo>
                <a:lnTo>
                  <a:pt x="196851" y="142642"/>
                </a:lnTo>
                <a:lnTo>
                  <a:pt x="0" y="142642"/>
                </a:ln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55" name="Freeform: Shape 2554">
            <a:extLst>
              <a:ext uri="{FF2B5EF4-FFF2-40B4-BE49-F238E27FC236}">
                <a16:creationId xmlns:a16="http://schemas.microsoft.com/office/drawing/2014/main" id="{62B6427F-3DE3-81DD-1F92-F9254E0CC48E}"/>
              </a:ext>
            </a:extLst>
          </p:cNvPr>
          <p:cNvSpPr/>
          <p:nvPr/>
        </p:nvSpPr>
        <p:spPr>
          <a:xfrm rot="10800000">
            <a:off x="4010430" y="3521108"/>
            <a:ext cx="196851" cy="20552"/>
          </a:xfrm>
          <a:custGeom>
            <a:avLst/>
            <a:gdLst>
              <a:gd name="connsiteX0" fmla="*/ 0 w 196851"/>
              <a:gd name="connsiteY0" fmla="*/ 0 h 20552"/>
              <a:gd name="connsiteX1" fmla="*/ 196851 w 196851"/>
              <a:gd name="connsiteY1" fmla="*/ 0 h 20552"/>
              <a:gd name="connsiteX2" fmla="*/ 196851 w 196851"/>
              <a:gd name="connsiteY2" fmla="*/ 20553 h 20552"/>
              <a:gd name="connsiteX3" fmla="*/ 0 w 196851"/>
              <a:gd name="connsiteY3" fmla="*/ 20553 h 20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1" h="20552">
                <a:moveTo>
                  <a:pt x="0" y="0"/>
                </a:moveTo>
                <a:lnTo>
                  <a:pt x="196851" y="0"/>
                </a:lnTo>
                <a:lnTo>
                  <a:pt x="196851" y="20553"/>
                </a:lnTo>
                <a:lnTo>
                  <a:pt x="0" y="20553"/>
                </a:ln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56" name="Freeform: Shape 2555">
            <a:extLst>
              <a:ext uri="{FF2B5EF4-FFF2-40B4-BE49-F238E27FC236}">
                <a16:creationId xmlns:a16="http://schemas.microsoft.com/office/drawing/2014/main" id="{20D90FB4-0F78-4580-FCBB-26CF9F129CC9}"/>
              </a:ext>
            </a:extLst>
          </p:cNvPr>
          <p:cNvSpPr/>
          <p:nvPr/>
        </p:nvSpPr>
        <p:spPr>
          <a:xfrm>
            <a:off x="4016627" y="3525642"/>
            <a:ext cx="11489" cy="11489"/>
          </a:xfrm>
          <a:custGeom>
            <a:avLst/>
            <a:gdLst>
              <a:gd name="connsiteX0" fmla="*/ 0 w 11489"/>
              <a:gd name="connsiteY0" fmla="*/ 0 h 11489"/>
              <a:gd name="connsiteX1" fmla="*/ 11489 w 11489"/>
              <a:gd name="connsiteY1" fmla="*/ 0 h 11489"/>
              <a:gd name="connsiteX2" fmla="*/ 11489 w 11489"/>
              <a:gd name="connsiteY2" fmla="*/ 11489 h 11489"/>
              <a:gd name="connsiteX3" fmla="*/ 0 w 11489"/>
              <a:gd name="connsiteY3" fmla="*/ 11489 h 11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89" h="11489">
                <a:moveTo>
                  <a:pt x="0" y="0"/>
                </a:moveTo>
                <a:lnTo>
                  <a:pt x="11489" y="0"/>
                </a:lnTo>
                <a:lnTo>
                  <a:pt x="11489" y="11489"/>
                </a:lnTo>
                <a:lnTo>
                  <a:pt x="0" y="11489"/>
                </a:ln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557" name="Graphic 2525">
            <a:extLst>
              <a:ext uri="{FF2B5EF4-FFF2-40B4-BE49-F238E27FC236}">
                <a16:creationId xmlns:a16="http://schemas.microsoft.com/office/drawing/2014/main" id="{90EE22D7-49D2-9745-8382-C47CECAE2336}"/>
              </a:ext>
            </a:extLst>
          </p:cNvPr>
          <p:cNvGrpSpPr/>
          <p:nvPr/>
        </p:nvGrpSpPr>
        <p:grpSpPr>
          <a:xfrm>
            <a:off x="4024583" y="3555688"/>
            <a:ext cx="168039" cy="47630"/>
            <a:chOff x="4024583" y="3555688"/>
            <a:chExt cx="168039" cy="47630"/>
          </a:xfrm>
          <a:solidFill>
            <a:srgbClr val="97BAD5"/>
          </a:solidFill>
        </p:grpSpPr>
        <p:sp>
          <p:nvSpPr>
            <p:cNvPr id="2558" name="Freeform: Shape 2557">
              <a:extLst>
                <a:ext uri="{FF2B5EF4-FFF2-40B4-BE49-F238E27FC236}">
                  <a16:creationId xmlns:a16="http://schemas.microsoft.com/office/drawing/2014/main" id="{1A0A3A4D-415E-EFBA-7315-13942CEE3B88}"/>
                </a:ext>
              </a:extLst>
            </p:cNvPr>
            <p:cNvSpPr/>
            <p:nvPr/>
          </p:nvSpPr>
          <p:spPr>
            <a:xfrm>
              <a:off x="4024583" y="3555688"/>
              <a:ext cx="47630" cy="47630"/>
            </a:xfrm>
            <a:custGeom>
              <a:avLst/>
              <a:gdLst>
                <a:gd name="connsiteX0" fmla="*/ 47631 w 47630"/>
                <a:gd name="connsiteY0" fmla="*/ 47631 h 47630"/>
                <a:gd name="connsiteX1" fmla="*/ 0 w 47630"/>
                <a:gd name="connsiteY1" fmla="*/ 47631 h 47630"/>
                <a:gd name="connsiteX2" fmla="*/ 0 w 47630"/>
                <a:gd name="connsiteY2" fmla="*/ 0 h 47630"/>
                <a:gd name="connsiteX3" fmla="*/ 47631 w 47630"/>
                <a:gd name="connsiteY3" fmla="*/ 0 h 47630"/>
                <a:gd name="connsiteX4" fmla="*/ 47631 w 47630"/>
                <a:gd name="connsiteY4" fmla="*/ 47631 h 47630"/>
                <a:gd name="connsiteX5" fmla="*/ 3486 w 47630"/>
                <a:gd name="connsiteY5" fmla="*/ 44145 h 47630"/>
                <a:gd name="connsiteX6" fmla="*/ 44145 w 47630"/>
                <a:gd name="connsiteY6" fmla="*/ 44145 h 47630"/>
                <a:gd name="connsiteX7" fmla="*/ 44145 w 47630"/>
                <a:gd name="connsiteY7" fmla="*/ 3486 h 47630"/>
                <a:gd name="connsiteX8" fmla="*/ 3486 w 47630"/>
                <a:gd name="connsiteY8" fmla="*/ 3486 h 47630"/>
                <a:gd name="connsiteX9" fmla="*/ 3486 w 47630"/>
                <a:gd name="connsiteY9" fmla="*/ 44145 h 4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630" h="47630">
                  <a:moveTo>
                    <a:pt x="47631" y="47631"/>
                  </a:moveTo>
                  <a:lnTo>
                    <a:pt x="0" y="47631"/>
                  </a:lnTo>
                  <a:lnTo>
                    <a:pt x="0" y="0"/>
                  </a:lnTo>
                  <a:lnTo>
                    <a:pt x="47631" y="0"/>
                  </a:lnTo>
                  <a:lnTo>
                    <a:pt x="47631" y="47631"/>
                  </a:lnTo>
                  <a:close/>
                  <a:moveTo>
                    <a:pt x="3486" y="44145"/>
                  </a:moveTo>
                  <a:lnTo>
                    <a:pt x="44145" y="44145"/>
                  </a:lnTo>
                  <a:lnTo>
                    <a:pt x="44145" y="3486"/>
                  </a:lnTo>
                  <a:lnTo>
                    <a:pt x="3486" y="3486"/>
                  </a:lnTo>
                  <a:lnTo>
                    <a:pt x="3486" y="44145"/>
                  </a:lnTo>
                  <a:close/>
                </a:path>
              </a:pathLst>
            </a:custGeom>
            <a:solidFill>
              <a:srgbClr val="97BA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9" name="Freeform: Shape 2558">
              <a:extLst>
                <a:ext uri="{FF2B5EF4-FFF2-40B4-BE49-F238E27FC236}">
                  <a16:creationId xmlns:a16="http://schemas.microsoft.com/office/drawing/2014/main" id="{80EE334E-A744-9C19-16D3-8886FE3E6783}"/>
                </a:ext>
              </a:extLst>
            </p:cNvPr>
            <p:cNvSpPr/>
            <p:nvPr/>
          </p:nvSpPr>
          <p:spPr>
            <a:xfrm>
              <a:off x="4084775" y="3555688"/>
              <a:ext cx="47630" cy="47630"/>
            </a:xfrm>
            <a:custGeom>
              <a:avLst/>
              <a:gdLst>
                <a:gd name="connsiteX0" fmla="*/ 47631 w 47630"/>
                <a:gd name="connsiteY0" fmla="*/ 47631 h 47630"/>
                <a:gd name="connsiteX1" fmla="*/ 0 w 47630"/>
                <a:gd name="connsiteY1" fmla="*/ 47631 h 47630"/>
                <a:gd name="connsiteX2" fmla="*/ 0 w 47630"/>
                <a:gd name="connsiteY2" fmla="*/ 0 h 47630"/>
                <a:gd name="connsiteX3" fmla="*/ 47631 w 47630"/>
                <a:gd name="connsiteY3" fmla="*/ 0 h 47630"/>
                <a:gd name="connsiteX4" fmla="*/ 47631 w 47630"/>
                <a:gd name="connsiteY4" fmla="*/ 47631 h 47630"/>
                <a:gd name="connsiteX5" fmla="*/ 3486 w 47630"/>
                <a:gd name="connsiteY5" fmla="*/ 44145 h 47630"/>
                <a:gd name="connsiteX6" fmla="*/ 44145 w 47630"/>
                <a:gd name="connsiteY6" fmla="*/ 44145 h 47630"/>
                <a:gd name="connsiteX7" fmla="*/ 44145 w 47630"/>
                <a:gd name="connsiteY7" fmla="*/ 3486 h 47630"/>
                <a:gd name="connsiteX8" fmla="*/ 3486 w 47630"/>
                <a:gd name="connsiteY8" fmla="*/ 3486 h 47630"/>
                <a:gd name="connsiteX9" fmla="*/ 3486 w 47630"/>
                <a:gd name="connsiteY9" fmla="*/ 44145 h 4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630" h="47630">
                  <a:moveTo>
                    <a:pt x="47631" y="47631"/>
                  </a:moveTo>
                  <a:lnTo>
                    <a:pt x="0" y="47631"/>
                  </a:lnTo>
                  <a:lnTo>
                    <a:pt x="0" y="0"/>
                  </a:lnTo>
                  <a:lnTo>
                    <a:pt x="47631" y="0"/>
                  </a:lnTo>
                  <a:lnTo>
                    <a:pt x="47631" y="47631"/>
                  </a:lnTo>
                  <a:close/>
                  <a:moveTo>
                    <a:pt x="3486" y="44145"/>
                  </a:moveTo>
                  <a:lnTo>
                    <a:pt x="44145" y="44145"/>
                  </a:lnTo>
                  <a:lnTo>
                    <a:pt x="44145" y="3486"/>
                  </a:lnTo>
                  <a:lnTo>
                    <a:pt x="3486" y="3486"/>
                  </a:lnTo>
                  <a:lnTo>
                    <a:pt x="3486" y="44145"/>
                  </a:lnTo>
                  <a:close/>
                </a:path>
              </a:pathLst>
            </a:custGeom>
            <a:solidFill>
              <a:srgbClr val="97BA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0" name="Freeform: Shape 2559">
              <a:extLst>
                <a:ext uri="{FF2B5EF4-FFF2-40B4-BE49-F238E27FC236}">
                  <a16:creationId xmlns:a16="http://schemas.microsoft.com/office/drawing/2014/main" id="{EFAEDCD9-C341-4EA2-9FD0-5EDB1E4F3A37}"/>
                </a:ext>
              </a:extLst>
            </p:cNvPr>
            <p:cNvSpPr/>
            <p:nvPr/>
          </p:nvSpPr>
          <p:spPr>
            <a:xfrm>
              <a:off x="4144973" y="3555688"/>
              <a:ext cx="47630" cy="47630"/>
            </a:xfrm>
            <a:custGeom>
              <a:avLst/>
              <a:gdLst>
                <a:gd name="connsiteX0" fmla="*/ 47631 w 47630"/>
                <a:gd name="connsiteY0" fmla="*/ 47631 h 47630"/>
                <a:gd name="connsiteX1" fmla="*/ 0 w 47630"/>
                <a:gd name="connsiteY1" fmla="*/ 47631 h 47630"/>
                <a:gd name="connsiteX2" fmla="*/ 0 w 47630"/>
                <a:gd name="connsiteY2" fmla="*/ 0 h 47630"/>
                <a:gd name="connsiteX3" fmla="*/ 47631 w 47630"/>
                <a:gd name="connsiteY3" fmla="*/ 0 h 47630"/>
                <a:gd name="connsiteX4" fmla="*/ 47631 w 47630"/>
                <a:gd name="connsiteY4" fmla="*/ 47631 h 47630"/>
                <a:gd name="connsiteX5" fmla="*/ 3486 w 47630"/>
                <a:gd name="connsiteY5" fmla="*/ 44145 h 47630"/>
                <a:gd name="connsiteX6" fmla="*/ 44145 w 47630"/>
                <a:gd name="connsiteY6" fmla="*/ 44145 h 47630"/>
                <a:gd name="connsiteX7" fmla="*/ 44145 w 47630"/>
                <a:gd name="connsiteY7" fmla="*/ 3486 h 47630"/>
                <a:gd name="connsiteX8" fmla="*/ 3486 w 47630"/>
                <a:gd name="connsiteY8" fmla="*/ 3486 h 47630"/>
                <a:gd name="connsiteX9" fmla="*/ 3486 w 47630"/>
                <a:gd name="connsiteY9" fmla="*/ 44145 h 4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630" h="47630">
                  <a:moveTo>
                    <a:pt x="47631" y="47631"/>
                  </a:moveTo>
                  <a:lnTo>
                    <a:pt x="0" y="47631"/>
                  </a:lnTo>
                  <a:lnTo>
                    <a:pt x="0" y="0"/>
                  </a:lnTo>
                  <a:lnTo>
                    <a:pt x="47631" y="0"/>
                  </a:lnTo>
                  <a:lnTo>
                    <a:pt x="47631" y="47631"/>
                  </a:lnTo>
                  <a:close/>
                  <a:moveTo>
                    <a:pt x="3486" y="44145"/>
                  </a:moveTo>
                  <a:lnTo>
                    <a:pt x="44145" y="44145"/>
                  </a:lnTo>
                  <a:lnTo>
                    <a:pt x="44145" y="3486"/>
                  </a:lnTo>
                  <a:lnTo>
                    <a:pt x="3486" y="3486"/>
                  </a:lnTo>
                  <a:lnTo>
                    <a:pt x="3486" y="44145"/>
                  </a:lnTo>
                  <a:close/>
                </a:path>
              </a:pathLst>
            </a:custGeom>
            <a:solidFill>
              <a:srgbClr val="97BA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1" name="Freeform: Shape 2560">
              <a:extLst>
                <a:ext uri="{FF2B5EF4-FFF2-40B4-BE49-F238E27FC236}">
                  <a16:creationId xmlns:a16="http://schemas.microsoft.com/office/drawing/2014/main" id="{DFC6244B-26AB-3B67-2ACE-095B7E21A757}"/>
                </a:ext>
              </a:extLst>
            </p:cNvPr>
            <p:cNvSpPr/>
            <p:nvPr/>
          </p:nvSpPr>
          <p:spPr>
            <a:xfrm rot="-2699400">
              <a:off x="4017163" y="3577710"/>
              <a:ext cx="62575" cy="3486"/>
            </a:xfrm>
            <a:custGeom>
              <a:avLst/>
              <a:gdLst>
                <a:gd name="connsiteX0" fmla="*/ 0 w 62575"/>
                <a:gd name="connsiteY0" fmla="*/ 0 h 3486"/>
                <a:gd name="connsiteX1" fmla="*/ 62576 w 62575"/>
                <a:gd name="connsiteY1" fmla="*/ 0 h 3486"/>
                <a:gd name="connsiteX2" fmla="*/ 62576 w 62575"/>
                <a:gd name="connsiteY2" fmla="*/ 3486 h 3486"/>
                <a:gd name="connsiteX3" fmla="*/ 0 w 62575"/>
                <a:gd name="connsiteY3" fmla="*/ 3486 h 3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575" h="3486">
                  <a:moveTo>
                    <a:pt x="0" y="0"/>
                  </a:moveTo>
                  <a:lnTo>
                    <a:pt x="62576" y="0"/>
                  </a:lnTo>
                  <a:lnTo>
                    <a:pt x="62576" y="3486"/>
                  </a:lnTo>
                  <a:lnTo>
                    <a:pt x="0" y="3486"/>
                  </a:lnTo>
                  <a:close/>
                </a:path>
              </a:pathLst>
            </a:custGeom>
            <a:solidFill>
              <a:srgbClr val="97BA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2" name="Freeform: Shape 2561">
              <a:extLst>
                <a:ext uri="{FF2B5EF4-FFF2-40B4-BE49-F238E27FC236}">
                  <a16:creationId xmlns:a16="http://schemas.microsoft.com/office/drawing/2014/main" id="{7E21F00F-4265-D551-B17C-AD28326D087C}"/>
                </a:ext>
              </a:extLst>
            </p:cNvPr>
            <p:cNvSpPr/>
            <p:nvPr/>
          </p:nvSpPr>
          <p:spPr>
            <a:xfrm rot="-2700000">
              <a:off x="4046652" y="3548286"/>
              <a:ext cx="3486" cy="62427"/>
            </a:xfrm>
            <a:custGeom>
              <a:avLst/>
              <a:gdLst>
                <a:gd name="connsiteX0" fmla="*/ 0 w 3486"/>
                <a:gd name="connsiteY0" fmla="*/ 0 h 62427"/>
                <a:gd name="connsiteX1" fmla="*/ 3486 w 3486"/>
                <a:gd name="connsiteY1" fmla="*/ 0 h 62427"/>
                <a:gd name="connsiteX2" fmla="*/ 3486 w 3486"/>
                <a:gd name="connsiteY2" fmla="*/ 62427 h 62427"/>
                <a:gd name="connsiteX3" fmla="*/ 0 w 3486"/>
                <a:gd name="connsiteY3" fmla="*/ 62427 h 62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86" h="62427">
                  <a:moveTo>
                    <a:pt x="0" y="0"/>
                  </a:moveTo>
                  <a:lnTo>
                    <a:pt x="3486" y="0"/>
                  </a:lnTo>
                  <a:lnTo>
                    <a:pt x="3486" y="62427"/>
                  </a:lnTo>
                  <a:lnTo>
                    <a:pt x="0" y="62427"/>
                  </a:lnTo>
                  <a:close/>
                </a:path>
              </a:pathLst>
            </a:custGeom>
            <a:solidFill>
              <a:srgbClr val="97BA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3" name="Freeform: Shape 2562">
              <a:extLst>
                <a:ext uri="{FF2B5EF4-FFF2-40B4-BE49-F238E27FC236}">
                  <a16:creationId xmlns:a16="http://schemas.microsoft.com/office/drawing/2014/main" id="{9F14DBE0-BBA8-45D8-B5F7-46373964716C}"/>
                </a:ext>
              </a:extLst>
            </p:cNvPr>
            <p:cNvSpPr/>
            <p:nvPr/>
          </p:nvSpPr>
          <p:spPr>
            <a:xfrm rot="-2699400">
              <a:off x="4077571" y="3577706"/>
              <a:ext cx="62575" cy="3486"/>
            </a:xfrm>
            <a:custGeom>
              <a:avLst/>
              <a:gdLst>
                <a:gd name="connsiteX0" fmla="*/ 0 w 62575"/>
                <a:gd name="connsiteY0" fmla="*/ 0 h 3486"/>
                <a:gd name="connsiteX1" fmla="*/ 62576 w 62575"/>
                <a:gd name="connsiteY1" fmla="*/ 0 h 3486"/>
                <a:gd name="connsiteX2" fmla="*/ 62576 w 62575"/>
                <a:gd name="connsiteY2" fmla="*/ 3486 h 3486"/>
                <a:gd name="connsiteX3" fmla="*/ 0 w 62575"/>
                <a:gd name="connsiteY3" fmla="*/ 3486 h 3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575" h="3486">
                  <a:moveTo>
                    <a:pt x="0" y="0"/>
                  </a:moveTo>
                  <a:lnTo>
                    <a:pt x="62576" y="0"/>
                  </a:lnTo>
                  <a:lnTo>
                    <a:pt x="62576" y="3486"/>
                  </a:lnTo>
                  <a:lnTo>
                    <a:pt x="0" y="3486"/>
                  </a:lnTo>
                  <a:close/>
                </a:path>
              </a:pathLst>
            </a:custGeom>
            <a:solidFill>
              <a:srgbClr val="97BA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4" name="Freeform: Shape 2563">
              <a:extLst>
                <a:ext uri="{FF2B5EF4-FFF2-40B4-BE49-F238E27FC236}">
                  <a16:creationId xmlns:a16="http://schemas.microsoft.com/office/drawing/2014/main" id="{D69CF272-0A75-28ED-F47D-82E7C66F5C14}"/>
                </a:ext>
              </a:extLst>
            </p:cNvPr>
            <p:cNvSpPr/>
            <p:nvPr/>
          </p:nvSpPr>
          <p:spPr>
            <a:xfrm rot="-2700000">
              <a:off x="4107058" y="3548287"/>
              <a:ext cx="3486" cy="62427"/>
            </a:xfrm>
            <a:custGeom>
              <a:avLst/>
              <a:gdLst>
                <a:gd name="connsiteX0" fmla="*/ 0 w 3486"/>
                <a:gd name="connsiteY0" fmla="*/ 0 h 62427"/>
                <a:gd name="connsiteX1" fmla="*/ 3486 w 3486"/>
                <a:gd name="connsiteY1" fmla="*/ 0 h 62427"/>
                <a:gd name="connsiteX2" fmla="*/ 3486 w 3486"/>
                <a:gd name="connsiteY2" fmla="*/ 62427 h 62427"/>
                <a:gd name="connsiteX3" fmla="*/ 0 w 3486"/>
                <a:gd name="connsiteY3" fmla="*/ 62427 h 62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86" h="62427">
                  <a:moveTo>
                    <a:pt x="0" y="0"/>
                  </a:moveTo>
                  <a:lnTo>
                    <a:pt x="3486" y="0"/>
                  </a:lnTo>
                  <a:lnTo>
                    <a:pt x="3486" y="62427"/>
                  </a:lnTo>
                  <a:lnTo>
                    <a:pt x="0" y="62427"/>
                  </a:lnTo>
                  <a:close/>
                </a:path>
              </a:pathLst>
            </a:custGeom>
            <a:solidFill>
              <a:srgbClr val="97BA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5" name="Freeform: Shape 2564">
              <a:extLst>
                <a:ext uri="{FF2B5EF4-FFF2-40B4-BE49-F238E27FC236}">
                  <a16:creationId xmlns:a16="http://schemas.microsoft.com/office/drawing/2014/main" id="{D8068B94-7CB1-0CDA-C007-E2B20B673899}"/>
                </a:ext>
              </a:extLst>
            </p:cNvPr>
            <p:cNvSpPr/>
            <p:nvPr/>
          </p:nvSpPr>
          <p:spPr>
            <a:xfrm rot="-2699400">
              <a:off x="4137975" y="3577718"/>
              <a:ext cx="62575" cy="3486"/>
            </a:xfrm>
            <a:custGeom>
              <a:avLst/>
              <a:gdLst>
                <a:gd name="connsiteX0" fmla="*/ 0 w 62575"/>
                <a:gd name="connsiteY0" fmla="*/ 0 h 3486"/>
                <a:gd name="connsiteX1" fmla="*/ 62576 w 62575"/>
                <a:gd name="connsiteY1" fmla="*/ 0 h 3486"/>
                <a:gd name="connsiteX2" fmla="*/ 62576 w 62575"/>
                <a:gd name="connsiteY2" fmla="*/ 3486 h 3486"/>
                <a:gd name="connsiteX3" fmla="*/ 0 w 62575"/>
                <a:gd name="connsiteY3" fmla="*/ 3486 h 3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575" h="3486">
                  <a:moveTo>
                    <a:pt x="0" y="0"/>
                  </a:moveTo>
                  <a:lnTo>
                    <a:pt x="62576" y="0"/>
                  </a:lnTo>
                  <a:lnTo>
                    <a:pt x="62576" y="3486"/>
                  </a:lnTo>
                  <a:lnTo>
                    <a:pt x="0" y="3486"/>
                  </a:lnTo>
                  <a:close/>
                </a:path>
              </a:pathLst>
            </a:custGeom>
            <a:solidFill>
              <a:srgbClr val="97BA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6" name="Freeform: Shape 2565">
              <a:extLst>
                <a:ext uri="{FF2B5EF4-FFF2-40B4-BE49-F238E27FC236}">
                  <a16:creationId xmlns:a16="http://schemas.microsoft.com/office/drawing/2014/main" id="{86B21B50-70C6-E621-FEA2-C38245F3388F}"/>
                </a:ext>
              </a:extLst>
            </p:cNvPr>
            <p:cNvSpPr/>
            <p:nvPr/>
          </p:nvSpPr>
          <p:spPr>
            <a:xfrm rot="-2700000">
              <a:off x="4167465" y="3548287"/>
              <a:ext cx="3486" cy="62427"/>
            </a:xfrm>
            <a:custGeom>
              <a:avLst/>
              <a:gdLst>
                <a:gd name="connsiteX0" fmla="*/ 0 w 3486"/>
                <a:gd name="connsiteY0" fmla="*/ 0 h 62427"/>
                <a:gd name="connsiteX1" fmla="*/ 3486 w 3486"/>
                <a:gd name="connsiteY1" fmla="*/ 0 h 62427"/>
                <a:gd name="connsiteX2" fmla="*/ 3486 w 3486"/>
                <a:gd name="connsiteY2" fmla="*/ 62427 h 62427"/>
                <a:gd name="connsiteX3" fmla="*/ 0 w 3486"/>
                <a:gd name="connsiteY3" fmla="*/ 62427 h 62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86" h="62427">
                  <a:moveTo>
                    <a:pt x="0" y="0"/>
                  </a:moveTo>
                  <a:lnTo>
                    <a:pt x="3486" y="0"/>
                  </a:lnTo>
                  <a:lnTo>
                    <a:pt x="3486" y="62427"/>
                  </a:lnTo>
                  <a:lnTo>
                    <a:pt x="0" y="62427"/>
                  </a:lnTo>
                  <a:close/>
                </a:path>
              </a:pathLst>
            </a:custGeom>
            <a:solidFill>
              <a:srgbClr val="97BA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567" name="Freeform: Shape 2566">
            <a:extLst>
              <a:ext uri="{FF2B5EF4-FFF2-40B4-BE49-F238E27FC236}">
                <a16:creationId xmlns:a16="http://schemas.microsoft.com/office/drawing/2014/main" id="{7DBDC5DC-04EB-73C7-9FCD-669920E48594}"/>
              </a:ext>
            </a:extLst>
          </p:cNvPr>
          <p:cNvSpPr/>
          <p:nvPr/>
        </p:nvSpPr>
        <p:spPr>
          <a:xfrm>
            <a:off x="4026794" y="3618997"/>
            <a:ext cx="163796" cy="6972"/>
          </a:xfrm>
          <a:custGeom>
            <a:avLst/>
            <a:gdLst>
              <a:gd name="connsiteX0" fmla="*/ 0 w 163796"/>
              <a:gd name="connsiteY0" fmla="*/ 0 h 6972"/>
              <a:gd name="connsiteX1" fmla="*/ 163797 w 163796"/>
              <a:gd name="connsiteY1" fmla="*/ 0 h 6972"/>
              <a:gd name="connsiteX2" fmla="*/ 163797 w 163796"/>
              <a:gd name="connsiteY2" fmla="*/ 6972 h 6972"/>
              <a:gd name="connsiteX3" fmla="*/ 0 w 163796"/>
              <a:gd name="connsiteY3" fmla="*/ 6972 h 6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796" h="6972">
                <a:moveTo>
                  <a:pt x="0" y="0"/>
                </a:moveTo>
                <a:lnTo>
                  <a:pt x="163797" y="0"/>
                </a:lnTo>
                <a:lnTo>
                  <a:pt x="163797" y="6972"/>
                </a:lnTo>
                <a:lnTo>
                  <a:pt x="0" y="6972"/>
                </a:lnTo>
                <a:close/>
              </a:path>
            </a:pathLst>
          </a:custGeom>
          <a:solidFill>
            <a:srgbClr val="97BAD5">
              <a:alpha val="50000"/>
            </a:srgb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68" name="Freeform: Shape 2567">
            <a:extLst>
              <a:ext uri="{FF2B5EF4-FFF2-40B4-BE49-F238E27FC236}">
                <a16:creationId xmlns:a16="http://schemas.microsoft.com/office/drawing/2014/main" id="{67163CDD-22CD-18B1-3524-AB3BA011759D}"/>
              </a:ext>
            </a:extLst>
          </p:cNvPr>
          <p:cNvSpPr/>
          <p:nvPr/>
        </p:nvSpPr>
        <p:spPr>
          <a:xfrm>
            <a:off x="4026794" y="3634103"/>
            <a:ext cx="140562" cy="6972"/>
          </a:xfrm>
          <a:custGeom>
            <a:avLst/>
            <a:gdLst>
              <a:gd name="connsiteX0" fmla="*/ 0 w 140562"/>
              <a:gd name="connsiteY0" fmla="*/ 0 h 6972"/>
              <a:gd name="connsiteX1" fmla="*/ 140562 w 140562"/>
              <a:gd name="connsiteY1" fmla="*/ 0 h 6972"/>
              <a:gd name="connsiteX2" fmla="*/ 140562 w 140562"/>
              <a:gd name="connsiteY2" fmla="*/ 6972 h 6972"/>
              <a:gd name="connsiteX3" fmla="*/ 0 w 140562"/>
              <a:gd name="connsiteY3" fmla="*/ 6972 h 6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562" h="6972">
                <a:moveTo>
                  <a:pt x="0" y="0"/>
                </a:moveTo>
                <a:lnTo>
                  <a:pt x="140562" y="0"/>
                </a:lnTo>
                <a:lnTo>
                  <a:pt x="140562" y="6972"/>
                </a:lnTo>
                <a:lnTo>
                  <a:pt x="0" y="6972"/>
                </a:lnTo>
                <a:close/>
              </a:path>
            </a:pathLst>
          </a:custGeom>
          <a:solidFill>
            <a:srgbClr val="97BAD5">
              <a:alpha val="50000"/>
            </a:srgb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69" name="Freeform: Shape 2568">
            <a:extLst>
              <a:ext uri="{FF2B5EF4-FFF2-40B4-BE49-F238E27FC236}">
                <a16:creationId xmlns:a16="http://schemas.microsoft.com/office/drawing/2014/main" id="{6FAD0AB3-E26C-7468-394A-9C02B915A472}"/>
              </a:ext>
            </a:extLst>
          </p:cNvPr>
          <p:cNvSpPr/>
          <p:nvPr/>
        </p:nvSpPr>
        <p:spPr>
          <a:xfrm>
            <a:off x="4075026" y="3987976"/>
            <a:ext cx="21780" cy="60114"/>
          </a:xfrm>
          <a:custGeom>
            <a:avLst/>
            <a:gdLst>
              <a:gd name="connsiteX0" fmla="*/ 17424 w 21780"/>
              <a:gd name="connsiteY0" fmla="*/ 60115 h 60114"/>
              <a:gd name="connsiteX1" fmla="*/ 17424 w 21780"/>
              <a:gd name="connsiteY1" fmla="*/ 15684 h 60114"/>
              <a:gd name="connsiteX2" fmla="*/ 21780 w 21780"/>
              <a:gd name="connsiteY2" fmla="*/ 0 h 60114"/>
              <a:gd name="connsiteX3" fmla="*/ 14808 w 21780"/>
              <a:gd name="connsiteY3" fmla="*/ 0 h 60114"/>
              <a:gd name="connsiteX4" fmla="*/ 0 w 21780"/>
              <a:gd name="connsiteY4" fmla="*/ 19164 h 60114"/>
              <a:gd name="connsiteX5" fmla="*/ 0 w 21780"/>
              <a:gd name="connsiteY5" fmla="*/ 60109 h 60114"/>
              <a:gd name="connsiteX6" fmla="*/ 17424 w 21780"/>
              <a:gd name="connsiteY6" fmla="*/ 60109 h 6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780" h="60114">
                <a:moveTo>
                  <a:pt x="17424" y="60115"/>
                </a:moveTo>
                <a:lnTo>
                  <a:pt x="17424" y="15684"/>
                </a:lnTo>
                <a:cubicBezTo>
                  <a:pt x="17424" y="15684"/>
                  <a:pt x="18294" y="4356"/>
                  <a:pt x="21780" y="0"/>
                </a:cubicBezTo>
                <a:lnTo>
                  <a:pt x="14808" y="0"/>
                </a:lnTo>
                <a:cubicBezTo>
                  <a:pt x="14808" y="0"/>
                  <a:pt x="703" y="6752"/>
                  <a:pt x="0" y="19164"/>
                </a:cubicBezTo>
                <a:lnTo>
                  <a:pt x="0" y="60109"/>
                </a:lnTo>
                <a:lnTo>
                  <a:pt x="17424" y="60109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70" name="Freeform: Shape 2569">
            <a:extLst>
              <a:ext uri="{FF2B5EF4-FFF2-40B4-BE49-F238E27FC236}">
                <a16:creationId xmlns:a16="http://schemas.microsoft.com/office/drawing/2014/main" id="{58ACDFE3-F154-54BC-8FBD-6213551E514D}"/>
              </a:ext>
            </a:extLst>
          </p:cNvPr>
          <p:cNvSpPr/>
          <p:nvPr/>
        </p:nvSpPr>
        <p:spPr>
          <a:xfrm>
            <a:off x="4175000" y="3685388"/>
            <a:ext cx="124085" cy="103898"/>
          </a:xfrm>
          <a:custGeom>
            <a:avLst/>
            <a:gdLst>
              <a:gd name="connsiteX0" fmla="*/ 112044 w 124085"/>
              <a:gd name="connsiteY0" fmla="*/ 66835 h 103898"/>
              <a:gd name="connsiteX1" fmla="*/ 55206 w 124085"/>
              <a:gd name="connsiteY1" fmla="*/ 50859 h 103898"/>
              <a:gd name="connsiteX2" fmla="*/ 12968 w 124085"/>
              <a:gd name="connsiteY2" fmla="*/ 862 h 103898"/>
              <a:gd name="connsiteX3" fmla="*/ 37 w 124085"/>
              <a:gd name="connsiteY3" fmla="*/ 7757 h 103898"/>
              <a:gd name="connsiteX4" fmla="*/ 33223 w 124085"/>
              <a:gd name="connsiteY4" fmla="*/ 69821 h 103898"/>
              <a:gd name="connsiteX5" fmla="*/ 71230 w 124085"/>
              <a:gd name="connsiteY5" fmla="*/ 92125 h 103898"/>
              <a:gd name="connsiteX6" fmla="*/ 104774 w 124085"/>
              <a:gd name="connsiteY6" fmla="*/ 103871 h 103898"/>
              <a:gd name="connsiteX7" fmla="*/ 122097 w 124085"/>
              <a:gd name="connsiteY7" fmla="*/ 92769 h 103898"/>
              <a:gd name="connsiteX8" fmla="*/ 112050 w 124085"/>
              <a:gd name="connsiteY8" fmla="*/ 66835 h 10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4085" h="103898">
                <a:moveTo>
                  <a:pt x="112044" y="66835"/>
                </a:moveTo>
                <a:cubicBezTo>
                  <a:pt x="103463" y="63766"/>
                  <a:pt x="98302" y="68962"/>
                  <a:pt x="55206" y="50859"/>
                </a:cubicBezTo>
                <a:cubicBezTo>
                  <a:pt x="55230" y="50972"/>
                  <a:pt x="22229" y="17846"/>
                  <a:pt x="12968" y="862"/>
                </a:cubicBezTo>
                <a:cubicBezTo>
                  <a:pt x="11377" y="-2058"/>
                  <a:pt x="1241" y="2990"/>
                  <a:pt x="37" y="7757"/>
                </a:cubicBezTo>
                <a:cubicBezTo>
                  <a:pt x="-922" y="11565"/>
                  <a:pt x="16848" y="50859"/>
                  <a:pt x="33223" y="69821"/>
                </a:cubicBezTo>
                <a:cubicBezTo>
                  <a:pt x="35958" y="72985"/>
                  <a:pt x="48741" y="82323"/>
                  <a:pt x="71230" y="92125"/>
                </a:cubicBezTo>
                <a:cubicBezTo>
                  <a:pt x="81670" y="96678"/>
                  <a:pt x="93171" y="103340"/>
                  <a:pt x="104774" y="103871"/>
                </a:cubicBezTo>
                <a:cubicBezTo>
                  <a:pt x="113450" y="104264"/>
                  <a:pt x="118301" y="100545"/>
                  <a:pt x="122097" y="92769"/>
                </a:cubicBezTo>
                <a:cubicBezTo>
                  <a:pt x="126923" y="82871"/>
                  <a:pt x="122734" y="70655"/>
                  <a:pt x="112050" y="66835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71" name="Freeform: Shape 2570">
            <a:extLst>
              <a:ext uri="{FF2B5EF4-FFF2-40B4-BE49-F238E27FC236}">
                <a16:creationId xmlns:a16="http://schemas.microsoft.com/office/drawing/2014/main" id="{747AF26D-6424-A09A-5807-BEA09E6424F2}"/>
              </a:ext>
            </a:extLst>
          </p:cNvPr>
          <p:cNvSpPr/>
          <p:nvPr/>
        </p:nvSpPr>
        <p:spPr>
          <a:xfrm>
            <a:off x="4265713" y="3752036"/>
            <a:ext cx="92106" cy="174257"/>
          </a:xfrm>
          <a:custGeom>
            <a:avLst/>
            <a:gdLst>
              <a:gd name="connsiteX0" fmla="*/ 87494 w 92106"/>
              <a:gd name="connsiteY0" fmla="*/ 60863 h 174257"/>
              <a:gd name="connsiteX1" fmla="*/ 78800 w 92106"/>
              <a:gd name="connsiteY1" fmla="*/ 119697 h 174257"/>
              <a:gd name="connsiteX2" fmla="*/ 92106 w 92106"/>
              <a:gd name="connsiteY2" fmla="*/ 172768 h 174257"/>
              <a:gd name="connsiteX3" fmla="*/ 10545 w 92106"/>
              <a:gd name="connsiteY3" fmla="*/ 174258 h 174257"/>
              <a:gd name="connsiteX4" fmla="*/ 5992 w 92106"/>
              <a:gd name="connsiteY4" fmla="*/ 74634 h 174257"/>
              <a:gd name="connsiteX5" fmla="*/ 48182 w 92106"/>
              <a:gd name="connsiteY5" fmla="*/ 349 h 174257"/>
              <a:gd name="connsiteX6" fmla="*/ 87494 w 92106"/>
              <a:gd name="connsiteY6" fmla="*/ 60857 h 17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2106" h="174257">
                <a:moveTo>
                  <a:pt x="87494" y="60863"/>
                </a:moveTo>
                <a:cubicBezTo>
                  <a:pt x="85474" y="84687"/>
                  <a:pt x="81547" y="101176"/>
                  <a:pt x="78800" y="119697"/>
                </a:cubicBezTo>
                <a:cubicBezTo>
                  <a:pt x="77143" y="130852"/>
                  <a:pt x="91242" y="148050"/>
                  <a:pt x="92106" y="172768"/>
                </a:cubicBezTo>
                <a:lnTo>
                  <a:pt x="10545" y="174258"/>
                </a:lnTo>
                <a:cubicBezTo>
                  <a:pt x="10545" y="174258"/>
                  <a:pt x="12809" y="116514"/>
                  <a:pt x="5992" y="74634"/>
                </a:cubicBezTo>
                <a:cubicBezTo>
                  <a:pt x="2023" y="50256"/>
                  <a:pt x="-18208" y="-4889"/>
                  <a:pt x="48182" y="349"/>
                </a:cubicBezTo>
                <a:cubicBezTo>
                  <a:pt x="94454" y="3996"/>
                  <a:pt x="88495" y="49028"/>
                  <a:pt x="87494" y="60857"/>
                </a:cubicBezTo>
                <a:close/>
              </a:path>
            </a:pathLst>
          </a:custGeom>
          <a:solidFill>
            <a:srgbClr val="0089C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72" name="Freeform: Shape 2571">
            <a:extLst>
              <a:ext uri="{FF2B5EF4-FFF2-40B4-BE49-F238E27FC236}">
                <a16:creationId xmlns:a16="http://schemas.microsoft.com/office/drawing/2014/main" id="{787EDC53-033C-1163-15DF-882014C49D25}"/>
              </a:ext>
            </a:extLst>
          </p:cNvPr>
          <p:cNvSpPr/>
          <p:nvPr/>
        </p:nvSpPr>
        <p:spPr>
          <a:xfrm>
            <a:off x="4266765" y="3923659"/>
            <a:ext cx="52832" cy="285635"/>
          </a:xfrm>
          <a:custGeom>
            <a:avLst/>
            <a:gdLst>
              <a:gd name="connsiteX0" fmla="*/ 52213 w 52832"/>
              <a:gd name="connsiteY0" fmla="*/ 29068 h 285635"/>
              <a:gd name="connsiteX1" fmla="*/ 51617 w 52832"/>
              <a:gd name="connsiteY1" fmla="*/ 31655 h 285635"/>
              <a:gd name="connsiteX2" fmla="*/ 49979 w 52832"/>
              <a:gd name="connsiteY2" fmla="*/ 39199 h 285635"/>
              <a:gd name="connsiteX3" fmla="*/ 47571 w 52832"/>
              <a:gd name="connsiteY3" fmla="*/ 51081 h 285635"/>
              <a:gd name="connsiteX4" fmla="*/ 44657 w 52832"/>
              <a:gd name="connsiteY4" fmla="*/ 66581 h 285635"/>
              <a:gd name="connsiteX5" fmla="*/ 43096 w 52832"/>
              <a:gd name="connsiteY5" fmla="*/ 75465 h 285635"/>
              <a:gd name="connsiteX6" fmla="*/ 41523 w 52832"/>
              <a:gd name="connsiteY6" fmla="*/ 84988 h 285635"/>
              <a:gd name="connsiteX7" fmla="*/ 39985 w 52832"/>
              <a:gd name="connsiteY7" fmla="*/ 95053 h 285635"/>
              <a:gd name="connsiteX8" fmla="*/ 38519 w 52832"/>
              <a:gd name="connsiteY8" fmla="*/ 105577 h 285635"/>
              <a:gd name="connsiteX9" fmla="*/ 37167 w 52832"/>
              <a:gd name="connsiteY9" fmla="*/ 116458 h 285635"/>
              <a:gd name="connsiteX10" fmla="*/ 35981 w 52832"/>
              <a:gd name="connsiteY10" fmla="*/ 127607 h 285635"/>
              <a:gd name="connsiteX11" fmla="*/ 35003 w 52832"/>
              <a:gd name="connsiteY11" fmla="*/ 138923 h 285635"/>
              <a:gd name="connsiteX12" fmla="*/ 34628 w 52832"/>
              <a:gd name="connsiteY12" fmla="*/ 144608 h 285635"/>
              <a:gd name="connsiteX13" fmla="*/ 34437 w 52832"/>
              <a:gd name="connsiteY13" fmla="*/ 147457 h 285635"/>
              <a:gd name="connsiteX14" fmla="*/ 34342 w 52832"/>
              <a:gd name="connsiteY14" fmla="*/ 148881 h 285635"/>
              <a:gd name="connsiteX15" fmla="*/ 34342 w 52832"/>
              <a:gd name="connsiteY15" fmla="*/ 148881 h 285635"/>
              <a:gd name="connsiteX16" fmla="*/ 34342 w 52832"/>
              <a:gd name="connsiteY16" fmla="*/ 148970 h 285635"/>
              <a:gd name="connsiteX17" fmla="*/ 34330 w 52832"/>
              <a:gd name="connsiteY17" fmla="*/ 149155 h 285635"/>
              <a:gd name="connsiteX18" fmla="*/ 34312 w 52832"/>
              <a:gd name="connsiteY18" fmla="*/ 149525 h 285635"/>
              <a:gd name="connsiteX19" fmla="*/ 34282 w 52832"/>
              <a:gd name="connsiteY19" fmla="*/ 150264 h 285635"/>
              <a:gd name="connsiteX20" fmla="*/ 34032 w 52832"/>
              <a:gd name="connsiteY20" fmla="*/ 156175 h 285635"/>
              <a:gd name="connsiteX21" fmla="*/ 33824 w 52832"/>
              <a:gd name="connsiteY21" fmla="*/ 161967 h 285635"/>
              <a:gd name="connsiteX22" fmla="*/ 33633 w 52832"/>
              <a:gd name="connsiteY22" fmla="*/ 167724 h 285635"/>
              <a:gd name="connsiteX23" fmla="*/ 33484 w 52832"/>
              <a:gd name="connsiteY23" fmla="*/ 173510 h 285635"/>
              <a:gd name="connsiteX24" fmla="*/ 33049 w 52832"/>
              <a:gd name="connsiteY24" fmla="*/ 196160 h 285635"/>
              <a:gd name="connsiteX25" fmla="*/ 32793 w 52832"/>
              <a:gd name="connsiteY25" fmla="*/ 217404 h 285635"/>
              <a:gd name="connsiteX26" fmla="*/ 32656 w 52832"/>
              <a:gd name="connsiteY26" fmla="*/ 236461 h 285635"/>
              <a:gd name="connsiteX27" fmla="*/ 32536 w 52832"/>
              <a:gd name="connsiteY27" fmla="*/ 265011 h 285635"/>
              <a:gd name="connsiteX28" fmla="*/ 32536 w 52832"/>
              <a:gd name="connsiteY28" fmla="*/ 275827 h 285635"/>
              <a:gd name="connsiteX29" fmla="*/ 32536 w 52832"/>
              <a:gd name="connsiteY29" fmla="*/ 275880 h 285635"/>
              <a:gd name="connsiteX30" fmla="*/ 22776 w 52832"/>
              <a:gd name="connsiteY30" fmla="*/ 285635 h 285635"/>
              <a:gd name="connsiteX31" fmla="*/ 13086 w 52832"/>
              <a:gd name="connsiteY31" fmla="*/ 276995 h 285635"/>
              <a:gd name="connsiteX32" fmla="*/ 11841 w 52832"/>
              <a:gd name="connsiteY32" fmla="*/ 266173 h 285635"/>
              <a:gd name="connsiteX33" fmla="*/ 8706 w 52832"/>
              <a:gd name="connsiteY33" fmla="*/ 237659 h 285635"/>
              <a:gd name="connsiteX34" fmla="*/ 6746 w 52832"/>
              <a:gd name="connsiteY34" fmla="*/ 218584 h 285635"/>
              <a:gd name="connsiteX35" fmla="*/ 4690 w 52832"/>
              <a:gd name="connsiteY35" fmla="*/ 197257 h 285635"/>
              <a:gd name="connsiteX36" fmla="*/ 2717 w 52832"/>
              <a:gd name="connsiteY36" fmla="*/ 174368 h 285635"/>
              <a:gd name="connsiteX37" fmla="*/ 1025 w 52832"/>
              <a:gd name="connsiteY37" fmla="*/ 150585 h 285635"/>
              <a:gd name="connsiteX38" fmla="*/ 930 w 52832"/>
              <a:gd name="connsiteY38" fmla="*/ 149012 h 285635"/>
              <a:gd name="connsiteX39" fmla="*/ 858 w 52832"/>
              <a:gd name="connsiteY39" fmla="*/ 147481 h 285635"/>
              <a:gd name="connsiteX40" fmla="*/ 715 w 52832"/>
              <a:gd name="connsiteY40" fmla="*/ 144424 h 285635"/>
              <a:gd name="connsiteX41" fmla="*/ 423 w 52832"/>
              <a:gd name="connsiteY41" fmla="*/ 138310 h 285635"/>
              <a:gd name="connsiteX42" fmla="*/ 89 w 52832"/>
              <a:gd name="connsiteY42" fmla="*/ 126207 h 285635"/>
              <a:gd name="connsiteX43" fmla="*/ 0 w 52832"/>
              <a:gd name="connsiteY43" fmla="*/ 114324 h 285635"/>
              <a:gd name="connsiteX44" fmla="*/ 113 w 52832"/>
              <a:gd name="connsiteY44" fmla="*/ 102752 h 285635"/>
              <a:gd name="connsiteX45" fmla="*/ 393 w 52832"/>
              <a:gd name="connsiteY45" fmla="*/ 91579 h 285635"/>
              <a:gd name="connsiteX46" fmla="*/ 799 w 52832"/>
              <a:gd name="connsiteY46" fmla="*/ 80894 h 285635"/>
              <a:gd name="connsiteX47" fmla="*/ 1305 w 52832"/>
              <a:gd name="connsiteY47" fmla="*/ 70788 h 285635"/>
              <a:gd name="connsiteX48" fmla="*/ 1877 w 52832"/>
              <a:gd name="connsiteY48" fmla="*/ 61354 h 285635"/>
              <a:gd name="connsiteX49" fmla="*/ 2491 w 52832"/>
              <a:gd name="connsiteY49" fmla="*/ 52678 h 285635"/>
              <a:gd name="connsiteX50" fmla="*/ 3140 w 52832"/>
              <a:gd name="connsiteY50" fmla="*/ 44860 h 285635"/>
              <a:gd name="connsiteX51" fmla="*/ 4344 w 52832"/>
              <a:gd name="connsiteY51" fmla="*/ 32125 h 285635"/>
              <a:gd name="connsiteX52" fmla="*/ 5244 w 52832"/>
              <a:gd name="connsiteY52" fmla="*/ 23866 h 285635"/>
              <a:gd name="connsiteX53" fmla="*/ 5607 w 52832"/>
              <a:gd name="connsiteY53" fmla="*/ 20863 h 285635"/>
              <a:gd name="connsiteX54" fmla="*/ 31970 w 52832"/>
              <a:gd name="connsiteY54" fmla="*/ 173 h 285635"/>
              <a:gd name="connsiteX55" fmla="*/ 52660 w 52832"/>
              <a:gd name="connsiteY55" fmla="*/ 26536 h 285635"/>
              <a:gd name="connsiteX56" fmla="*/ 52237 w 52832"/>
              <a:gd name="connsiteY56" fmla="*/ 28979 h 285635"/>
              <a:gd name="connsiteX57" fmla="*/ 52219 w 52832"/>
              <a:gd name="connsiteY57" fmla="*/ 29050 h 28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52832" h="285635">
                <a:moveTo>
                  <a:pt x="52213" y="29068"/>
                </a:moveTo>
                <a:cubicBezTo>
                  <a:pt x="52213" y="29068"/>
                  <a:pt x="52005" y="29968"/>
                  <a:pt x="51617" y="31655"/>
                </a:cubicBezTo>
                <a:cubicBezTo>
                  <a:pt x="51230" y="33371"/>
                  <a:pt x="50676" y="35927"/>
                  <a:pt x="49979" y="39199"/>
                </a:cubicBezTo>
                <a:cubicBezTo>
                  <a:pt x="49287" y="42476"/>
                  <a:pt x="48477" y="46475"/>
                  <a:pt x="47571" y="51081"/>
                </a:cubicBezTo>
                <a:cubicBezTo>
                  <a:pt x="46677" y="55687"/>
                  <a:pt x="45706" y="60890"/>
                  <a:pt x="44657" y="66581"/>
                </a:cubicBezTo>
                <a:cubicBezTo>
                  <a:pt x="44157" y="69429"/>
                  <a:pt x="43632" y="72397"/>
                  <a:pt x="43096" y="75465"/>
                </a:cubicBezTo>
                <a:cubicBezTo>
                  <a:pt x="42589" y="78540"/>
                  <a:pt x="42065" y="81717"/>
                  <a:pt x="41523" y="84988"/>
                </a:cubicBezTo>
                <a:cubicBezTo>
                  <a:pt x="41022" y="88260"/>
                  <a:pt x="40510" y="91621"/>
                  <a:pt x="39985" y="95053"/>
                </a:cubicBezTo>
                <a:cubicBezTo>
                  <a:pt x="39509" y="98491"/>
                  <a:pt x="39020" y="102001"/>
                  <a:pt x="38519" y="105577"/>
                </a:cubicBezTo>
                <a:cubicBezTo>
                  <a:pt x="38078" y="109152"/>
                  <a:pt x="37625" y="112781"/>
                  <a:pt x="37167" y="116458"/>
                </a:cubicBezTo>
                <a:cubicBezTo>
                  <a:pt x="36773" y="120135"/>
                  <a:pt x="36380" y="123853"/>
                  <a:pt x="35981" y="127607"/>
                </a:cubicBezTo>
                <a:cubicBezTo>
                  <a:pt x="35659" y="131350"/>
                  <a:pt x="35301" y="135133"/>
                  <a:pt x="35003" y="138923"/>
                </a:cubicBezTo>
                <a:cubicBezTo>
                  <a:pt x="34878" y="140812"/>
                  <a:pt x="34753" y="142707"/>
                  <a:pt x="34628" y="144608"/>
                </a:cubicBezTo>
                <a:lnTo>
                  <a:pt x="34437" y="147457"/>
                </a:lnTo>
                <a:lnTo>
                  <a:pt x="34342" y="148881"/>
                </a:lnTo>
                <a:cubicBezTo>
                  <a:pt x="34342" y="148994"/>
                  <a:pt x="34342" y="148827"/>
                  <a:pt x="34342" y="148881"/>
                </a:cubicBezTo>
                <a:lnTo>
                  <a:pt x="34342" y="148970"/>
                </a:lnTo>
                <a:cubicBezTo>
                  <a:pt x="34342" y="148970"/>
                  <a:pt x="34330" y="149155"/>
                  <a:pt x="34330" y="149155"/>
                </a:cubicBezTo>
                <a:lnTo>
                  <a:pt x="34312" y="149525"/>
                </a:lnTo>
                <a:lnTo>
                  <a:pt x="34282" y="150264"/>
                </a:lnTo>
                <a:cubicBezTo>
                  <a:pt x="34199" y="152236"/>
                  <a:pt x="34116" y="154208"/>
                  <a:pt x="34032" y="156175"/>
                </a:cubicBezTo>
                <a:cubicBezTo>
                  <a:pt x="33943" y="158165"/>
                  <a:pt x="33895" y="160036"/>
                  <a:pt x="33824" y="161967"/>
                </a:cubicBezTo>
                <a:cubicBezTo>
                  <a:pt x="33758" y="163892"/>
                  <a:pt x="33698" y="165811"/>
                  <a:pt x="33633" y="167724"/>
                </a:cubicBezTo>
                <a:cubicBezTo>
                  <a:pt x="33585" y="169660"/>
                  <a:pt x="33532" y="171591"/>
                  <a:pt x="33484" y="173510"/>
                </a:cubicBezTo>
                <a:cubicBezTo>
                  <a:pt x="33287" y="181203"/>
                  <a:pt x="33162" y="188801"/>
                  <a:pt x="33049" y="196160"/>
                </a:cubicBezTo>
                <a:cubicBezTo>
                  <a:pt x="32960" y="203532"/>
                  <a:pt x="32876" y="210653"/>
                  <a:pt x="32793" y="217404"/>
                </a:cubicBezTo>
                <a:cubicBezTo>
                  <a:pt x="32745" y="224168"/>
                  <a:pt x="32697" y="230562"/>
                  <a:pt x="32656" y="236461"/>
                </a:cubicBezTo>
                <a:cubicBezTo>
                  <a:pt x="32608" y="248272"/>
                  <a:pt x="32566" y="258122"/>
                  <a:pt x="32536" y="265011"/>
                </a:cubicBezTo>
                <a:cubicBezTo>
                  <a:pt x="32536" y="271894"/>
                  <a:pt x="32536" y="275827"/>
                  <a:pt x="32536" y="275827"/>
                </a:cubicBezTo>
                <a:lnTo>
                  <a:pt x="32536" y="275880"/>
                </a:lnTo>
                <a:cubicBezTo>
                  <a:pt x="32536" y="281267"/>
                  <a:pt x="28162" y="285635"/>
                  <a:pt x="22776" y="285635"/>
                </a:cubicBezTo>
                <a:cubicBezTo>
                  <a:pt x="17764" y="285635"/>
                  <a:pt x="13640" y="281851"/>
                  <a:pt x="13086" y="276995"/>
                </a:cubicBezTo>
                <a:cubicBezTo>
                  <a:pt x="13086" y="276995"/>
                  <a:pt x="12633" y="273062"/>
                  <a:pt x="11841" y="266173"/>
                </a:cubicBezTo>
                <a:cubicBezTo>
                  <a:pt x="11066" y="259290"/>
                  <a:pt x="9940" y="249470"/>
                  <a:pt x="8706" y="237659"/>
                </a:cubicBezTo>
                <a:cubicBezTo>
                  <a:pt x="8098" y="231754"/>
                  <a:pt x="7443" y="225354"/>
                  <a:pt x="6746" y="218584"/>
                </a:cubicBezTo>
                <a:cubicBezTo>
                  <a:pt x="6072" y="211809"/>
                  <a:pt x="5363" y="204664"/>
                  <a:pt x="4690" y="197257"/>
                </a:cubicBezTo>
                <a:cubicBezTo>
                  <a:pt x="4016" y="189850"/>
                  <a:pt x="3343" y="182186"/>
                  <a:pt x="2717" y="174368"/>
                </a:cubicBezTo>
                <a:cubicBezTo>
                  <a:pt x="2086" y="166633"/>
                  <a:pt x="1502" y="158356"/>
                  <a:pt x="1025" y="150585"/>
                </a:cubicBezTo>
                <a:lnTo>
                  <a:pt x="930" y="149012"/>
                </a:lnTo>
                <a:lnTo>
                  <a:pt x="858" y="147481"/>
                </a:lnTo>
                <a:lnTo>
                  <a:pt x="715" y="144424"/>
                </a:lnTo>
                <a:cubicBezTo>
                  <a:pt x="620" y="142386"/>
                  <a:pt x="524" y="140348"/>
                  <a:pt x="423" y="138310"/>
                </a:cubicBezTo>
                <a:cubicBezTo>
                  <a:pt x="280" y="134252"/>
                  <a:pt x="203" y="130217"/>
                  <a:pt x="89" y="126207"/>
                </a:cubicBezTo>
                <a:cubicBezTo>
                  <a:pt x="60" y="122208"/>
                  <a:pt x="30" y="118240"/>
                  <a:pt x="0" y="114324"/>
                </a:cubicBezTo>
                <a:cubicBezTo>
                  <a:pt x="42" y="110415"/>
                  <a:pt x="77" y="106548"/>
                  <a:pt x="113" y="102752"/>
                </a:cubicBezTo>
                <a:cubicBezTo>
                  <a:pt x="209" y="98956"/>
                  <a:pt x="298" y="95232"/>
                  <a:pt x="393" y="91579"/>
                </a:cubicBezTo>
                <a:cubicBezTo>
                  <a:pt x="530" y="87932"/>
                  <a:pt x="667" y="84368"/>
                  <a:pt x="799" y="80894"/>
                </a:cubicBezTo>
                <a:cubicBezTo>
                  <a:pt x="971" y="77426"/>
                  <a:pt x="1138" y="74053"/>
                  <a:pt x="1305" y="70788"/>
                </a:cubicBezTo>
                <a:cubicBezTo>
                  <a:pt x="1502" y="67528"/>
                  <a:pt x="1692" y="64376"/>
                  <a:pt x="1877" y="61354"/>
                </a:cubicBezTo>
                <a:cubicBezTo>
                  <a:pt x="2092" y="58333"/>
                  <a:pt x="2294" y="55437"/>
                  <a:pt x="2491" y="52678"/>
                </a:cubicBezTo>
                <a:cubicBezTo>
                  <a:pt x="2717" y="49925"/>
                  <a:pt x="2938" y="47315"/>
                  <a:pt x="3140" y="44860"/>
                </a:cubicBezTo>
                <a:cubicBezTo>
                  <a:pt x="3575" y="39950"/>
                  <a:pt x="3987" y="35665"/>
                  <a:pt x="4344" y="32125"/>
                </a:cubicBezTo>
                <a:cubicBezTo>
                  <a:pt x="4708" y="28586"/>
                  <a:pt x="5018" y="25791"/>
                  <a:pt x="5244" y="23866"/>
                </a:cubicBezTo>
                <a:cubicBezTo>
                  <a:pt x="5482" y="21911"/>
                  <a:pt x="5607" y="20863"/>
                  <a:pt x="5607" y="20863"/>
                </a:cubicBezTo>
                <a:cubicBezTo>
                  <a:pt x="7175" y="7872"/>
                  <a:pt x="18980" y="-1394"/>
                  <a:pt x="31970" y="173"/>
                </a:cubicBezTo>
                <a:cubicBezTo>
                  <a:pt x="44961" y="1740"/>
                  <a:pt x="54227" y="13545"/>
                  <a:pt x="52660" y="26536"/>
                </a:cubicBezTo>
                <a:cubicBezTo>
                  <a:pt x="52559" y="27364"/>
                  <a:pt x="52416" y="28180"/>
                  <a:pt x="52237" y="28979"/>
                </a:cubicBezTo>
                <a:lnTo>
                  <a:pt x="52219" y="29050"/>
                </a:lnTo>
                <a:close/>
              </a:path>
            </a:pathLst>
          </a:custGeom>
          <a:solidFill>
            <a:srgbClr val="123D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73" name="Freeform: Shape 2572">
            <a:extLst>
              <a:ext uri="{FF2B5EF4-FFF2-40B4-BE49-F238E27FC236}">
                <a16:creationId xmlns:a16="http://schemas.microsoft.com/office/drawing/2014/main" id="{BA52D345-7AD2-0820-E0D2-6991785FFE58}"/>
              </a:ext>
            </a:extLst>
          </p:cNvPr>
          <p:cNvSpPr/>
          <p:nvPr/>
        </p:nvSpPr>
        <p:spPr>
          <a:xfrm>
            <a:off x="4313209" y="3923672"/>
            <a:ext cx="49041" cy="285686"/>
          </a:xfrm>
          <a:custGeom>
            <a:avLst/>
            <a:gdLst>
              <a:gd name="connsiteX0" fmla="*/ 48685 w 49041"/>
              <a:gd name="connsiteY0" fmla="*/ 27798 h 285686"/>
              <a:gd name="connsiteX1" fmla="*/ 48227 w 49041"/>
              <a:gd name="connsiteY1" fmla="*/ 30420 h 285686"/>
              <a:gd name="connsiteX2" fmla="*/ 46987 w 49041"/>
              <a:gd name="connsiteY2" fmla="*/ 38059 h 285686"/>
              <a:gd name="connsiteX3" fmla="*/ 45199 w 49041"/>
              <a:gd name="connsiteY3" fmla="*/ 50073 h 285686"/>
              <a:gd name="connsiteX4" fmla="*/ 43078 w 49041"/>
              <a:gd name="connsiteY4" fmla="*/ 65727 h 285686"/>
              <a:gd name="connsiteX5" fmla="*/ 41958 w 49041"/>
              <a:gd name="connsiteY5" fmla="*/ 74696 h 285686"/>
              <a:gd name="connsiteX6" fmla="*/ 40855 w 49041"/>
              <a:gd name="connsiteY6" fmla="*/ 84302 h 285686"/>
              <a:gd name="connsiteX7" fmla="*/ 39806 w 49041"/>
              <a:gd name="connsiteY7" fmla="*/ 94450 h 285686"/>
              <a:gd name="connsiteX8" fmla="*/ 38841 w 49041"/>
              <a:gd name="connsiteY8" fmla="*/ 105051 h 285686"/>
              <a:gd name="connsiteX9" fmla="*/ 38001 w 49041"/>
              <a:gd name="connsiteY9" fmla="*/ 116010 h 285686"/>
              <a:gd name="connsiteX10" fmla="*/ 37322 w 49041"/>
              <a:gd name="connsiteY10" fmla="*/ 127225 h 285686"/>
              <a:gd name="connsiteX11" fmla="*/ 36845 w 49041"/>
              <a:gd name="connsiteY11" fmla="*/ 138601 h 285686"/>
              <a:gd name="connsiteX12" fmla="*/ 36708 w 49041"/>
              <a:gd name="connsiteY12" fmla="*/ 144315 h 285686"/>
              <a:gd name="connsiteX13" fmla="*/ 36636 w 49041"/>
              <a:gd name="connsiteY13" fmla="*/ 147182 h 285686"/>
              <a:gd name="connsiteX14" fmla="*/ 36618 w 49041"/>
              <a:gd name="connsiteY14" fmla="*/ 147897 h 285686"/>
              <a:gd name="connsiteX15" fmla="*/ 36618 w 49041"/>
              <a:gd name="connsiteY15" fmla="*/ 148075 h 285686"/>
              <a:gd name="connsiteX16" fmla="*/ 36612 w 49041"/>
              <a:gd name="connsiteY16" fmla="*/ 148165 h 285686"/>
              <a:gd name="connsiteX17" fmla="*/ 36606 w 49041"/>
              <a:gd name="connsiteY17" fmla="*/ 148165 h 285686"/>
              <a:gd name="connsiteX18" fmla="*/ 36606 w 49041"/>
              <a:gd name="connsiteY18" fmla="*/ 148534 h 285686"/>
              <a:gd name="connsiteX19" fmla="*/ 36606 w 49041"/>
              <a:gd name="connsiteY19" fmla="*/ 150012 h 285686"/>
              <a:gd name="connsiteX20" fmla="*/ 36600 w 49041"/>
              <a:gd name="connsiteY20" fmla="*/ 155930 h 285686"/>
              <a:gd name="connsiteX21" fmla="*/ 36618 w 49041"/>
              <a:gd name="connsiteY21" fmla="*/ 161781 h 285686"/>
              <a:gd name="connsiteX22" fmla="*/ 36744 w 49041"/>
              <a:gd name="connsiteY22" fmla="*/ 173288 h 285686"/>
              <a:gd name="connsiteX23" fmla="*/ 37286 w 49041"/>
              <a:gd name="connsiteY23" fmla="*/ 195867 h 285686"/>
              <a:gd name="connsiteX24" fmla="*/ 38936 w 49041"/>
              <a:gd name="connsiteY24" fmla="*/ 236001 h 285686"/>
              <a:gd name="connsiteX25" fmla="*/ 40539 w 49041"/>
              <a:gd name="connsiteY25" fmla="*/ 264414 h 285686"/>
              <a:gd name="connsiteX26" fmla="*/ 41255 w 49041"/>
              <a:gd name="connsiteY26" fmla="*/ 275140 h 285686"/>
              <a:gd name="connsiteX27" fmla="*/ 41266 w 49041"/>
              <a:gd name="connsiteY27" fmla="*/ 275283 h 285686"/>
              <a:gd name="connsiteX28" fmla="*/ 32185 w 49041"/>
              <a:gd name="connsiteY28" fmla="*/ 285664 h 285686"/>
              <a:gd name="connsiteX29" fmla="*/ 21941 w 49041"/>
              <a:gd name="connsiteY29" fmla="*/ 277691 h 285686"/>
              <a:gd name="connsiteX30" fmla="*/ 19963 w 49041"/>
              <a:gd name="connsiteY30" fmla="*/ 266911 h 285686"/>
              <a:gd name="connsiteX31" fmla="*/ 15100 w 49041"/>
              <a:gd name="connsiteY31" fmla="*/ 238540 h 285686"/>
              <a:gd name="connsiteX32" fmla="*/ 12115 w 49041"/>
              <a:gd name="connsiteY32" fmla="*/ 219530 h 285686"/>
              <a:gd name="connsiteX33" fmla="*/ 9028 w 49041"/>
              <a:gd name="connsiteY33" fmla="*/ 198251 h 285686"/>
              <a:gd name="connsiteX34" fmla="*/ 6066 w 49041"/>
              <a:gd name="connsiteY34" fmla="*/ 175392 h 285686"/>
              <a:gd name="connsiteX35" fmla="*/ 4690 w 49041"/>
              <a:gd name="connsiteY35" fmla="*/ 163515 h 285686"/>
              <a:gd name="connsiteX36" fmla="*/ 4052 w 49041"/>
              <a:gd name="connsiteY36" fmla="*/ 157592 h 285686"/>
              <a:gd name="connsiteX37" fmla="*/ 3438 w 49041"/>
              <a:gd name="connsiteY37" fmla="*/ 151705 h 285686"/>
              <a:gd name="connsiteX38" fmla="*/ 3283 w 49041"/>
              <a:gd name="connsiteY38" fmla="*/ 150233 h 285686"/>
              <a:gd name="connsiteX39" fmla="*/ 3248 w 49041"/>
              <a:gd name="connsiteY39" fmla="*/ 149863 h 285686"/>
              <a:gd name="connsiteX40" fmla="*/ 3206 w 49041"/>
              <a:gd name="connsiteY40" fmla="*/ 149386 h 285686"/>
              <a:gd name="connsiteX41" fmla="*/ 3134 w 49041"/>
              <a:gd name="connsiteY41" fmla="*/ 148624 h 285686"/>
              <a:gd name="connsiteX42" fmla="*/ 2860 w 49041"/>
              <a:gd name="connsiteY42" fmla="*/ 145585 h 285686"/>
              <a:gd name="connsiteX43" fmla="*/ 2312 w 49041"/>
              <a:gd name="connsiteY43" fmla="*/ 139506 h 285686"/>
              <a:gd name="connsiteX44" fmla="*/ 1442 w 49041"/>
              <a:gd name="connsiteY44" fmla="*/ 127451 h 285686"/>
              <a:gd name="connsiteX45" fmla="*/ 804 w 49041"/>
              <a:gd name="connsiteY45" fmla="*/ 115605 h 285686"/>
              <a:gd name="connsiteX46" fmla="*/ 369 w 49041"/>
              <a:gd name="connsiteY46" fmla="*/ 104056 h 285686"/>
              <a:gd name="connsiteX47" fmla="*/ 113 w 49041"/>
              <a:gd name="connsiteY47" fmla="*/ 92901 h 285686"/>
              <a:gd name="connsiteX48" fmla="*/ 0 w 49041"/>
              <a:gd name="connsiteY48" fmla="*/ 82222 h 285686"/>
              <a:gd name="connsiteX49" fmla="*/ 0 w 49041"/>
              <a:gd name="connsiteY49" fmla="*/ 72121 h 285686"/>
              <a:gd name="connsiteX50" fmla="*/ 95 w 49041"/>
              <a:gd name="connsiteY50" fmla="*/ 62682 h 285686"/>
              <a:gd name="connsiteX51" fmla="*/ 268 w 49041"/>
              <a:gd name="connsiteY51" fmla="*/ 54000 h 285686"/>
              <a:gd name="connsiteX52" fmla="*/ 512 w 49041"/>
              <a:gd name="connsiteY52" fmla="*/ 46170 h 285686"/>
              <a:gd name="connsiteX53" fmla="*/ 1049 w 49041"/>
              <a:gd name="connsiteY53" fmla="*/ 33411 h 285686"/>
              <a:gd name="connsiteX54" fmla="*/ 1502 w 49041"/>
              <a:gd name="connsiteY54" fmla="*/ 25134 h 285686"/>
              <a:gd name="connsiteX55" fmla="*/ 1698 w 49041"/>
              <a:gd name="connsiteY55" fmla="*/ 22131 h 285686"/>
              <a:gd name="connsiteX56" fmla="*/ 26911 w 49041"/>
              <a:gd name="connsiteY56" fmla="*/ 53 h 285686"/>
              <a:gd name="connsiteX57" fmla="*/ 48989 w 49041"/>
              <a:gd name="connsiteY57" fmla="*/ 25265 h 285686"/>
              <a:gd name="connsiteX58" fmla="*/ 48697 w 49041"/>
              <a:gd name="connsiteY58" fmla="*/ 27732 h 285686"/>
              <a:gd name="connsiteX59" fmla="*/ 48685 w 49041"/>
              <a:gd name="connsiteY59" fmla="*/ 27798 h 285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49041" h="285686">
                <a:moveTo>
                  <a:pt x="48685" y="27798"/>
                </a:moveTo>
                <a:cubicBezTo>
                  <a:pt x="48685" y="27798"/>
                  <a:pt x="48525" y="28710"/>
                  <a:pt x="48227" y="30420"/>
                </a:cubicBezTo>
                <a:cubicBezTo>
                  <a:pt x="47935" y="32160"/>
                  <a:pt x="47512" y="34746"/>
                  <a:pt x="46987" y="38059"/>
                </a:cubicBezTo>
                <a:cubicBezTo>
                  <a:pt x="46469" y="41379"/>
                  <a:pt x="45861" y="45419"/>
                  <a:pt x="45199" y="50073"/>
                </a:cubicBezTo>
                <a:cubicBezTo>
                  <a:pt x="44544" y="54727"/>
                  <a:pt x="43835" y="59983"/>
                  <a:pt x="43078" y="65727"/>
                </a:cubicBezTo>
                <a:cubicBezTo>
                  <a:pt x="42720" y="68600"/>
                  <a:pt x="42345" y="71597"/>
                  <a:pt x="41958" y="74696"/>
                </a:cubicBezTo>
                <a:cubicBezTo>
                  <a:pt x="41600" y="77794"/>
                  <a:pt x="41237" y="81000"/>
                  <a:pt x="40855" y="84302"/>
                </a:cubicBezTo>
                <a:cubicBezTo>
                  <a:pt x="40516" y="87597"/>
                  <a:pt x="40164" y="90988"/>
                  <a:pt x="39806" y="94450"/>
                </a:cubicBezTo>
                <a:cubicBezTo>
                  <a:pt x="39491" y="97912"/>
                  <a:pt x="39169" y="101452"/>
                  <a:pt x="38841" y="105051"/>
                </a:cubicBezTo>
                <a:cubicBezTo>
                  <a:pt x="38567" y="108650"/>
                  <a:pt x="38287" y="112303"/>
                  <a:pt x="38001" y="116010"/>
                </a:cubicBezTo>
                <a:cubicBezTo>
                  <a:pt x="37774" y="119710"/>
                  <a:pt x="37548" y="123453"/>
                  <a:pt x="37322" y="127225"/>
                </a:cubicBezTo>
                <a:cubicBezTo>
                  <a:pt x="37167" y="130985"/>
                  <a:pt x="36964" y="134793"/>
                  <a:pt x="36845" y="138601"/>
                </a:cubicBezTo>
                <a:cubicBezTo>
                  <a:pt x="36797" y="140502"/>
                  <a:pt x="36755" y="142408"/>
                  <a:pt x="36708" y="144315"/>
                </a:cubicBezTo>
                <a:lnTo>
                  <a:pt x="36636" y="147182"/>
                </a:lnTo>
                <a:lnTo>
                  <a:pt x="36618" y="147897"/>
                </a:lnTo>
                <a:lnTo>
                  <a:pt x="36618" y="148075"/>
                </a:lnTo>
                <a:cubicBezTo>
                  <a:pt x="36618" y="148075"/>
                  <a:pt x="36612" y="148165"/>
                  <a:pt x="36612" y="148165"/>
                </a:cubicBezTo>
                <a:cubicBezTo>
                  <a:pt x="36612" y="148153"/>
                  <a:pt x="36612" y="148320"/>
                  <a:pt x="36606" y="148165"/>
                </a:cubicBezTo>
                <a:lnTo>
                  <a:pt x="36606" y="148534"/>
                </a:lnTo>
                <a:cubicBezTo>
                  <a:pt x="36606" y="148534"/>
                  <a:pt x="36606" y="150012"/>
                  <a:pt x="36606" y="150012"/>
                </a:cubicBezTo>
                <a:cubicBezTo>
                  <a:pt x="36606" y="151985"/>
                  <a:pt x="36606" y="153957"/>
                  <a:pt x="36600" y="155930"/>
                </a:cubicBezTo>
                <a:cubicBezTo>
                  <a:pt x="36600" y="157902"/>
                  <a:pt x="36595" y="159880"/>
                  <a:pt x="36618" y="161781"/>
                </a:cubicBezTo>
                <a:cubicBezTo>
                  <a:pt x="36660" y="165637"/>
                  <a:pt x="36654" y="169433"/>
                  <a:pt x="36744" y="173288"/>
                </a:cubicBezTo>
                <a:cubicBezTo>
                  <a:pt x="36863" y="180964"/>
                  <a:pt x="37053" y="188532"/>
                  <a:pt x="37286" y="195867"/>
                </a:cubicBezTo>
                <a:cubicBezTo>
                  <a:pt x="37745" y="210532"/>
                  <a:pt x="38329" y="224250"/>
                  <a:pt x="38936" y="236001"/>
                </a:cubicBezTo>
                <a:cubicBezTo>
                  <a:pt x="39544" y="247759"/>
                  <a:pt x="40098" y="257561"/>
                  <a:pt x="40539" y="264414"/>
                </a:cubicBezTo>
                <a:cubicBezTo>
                  <a:pt x="40998" y="271243"/>
                  <a:pt x="41255" y="275140"/>
                  <a:pt x="41255" y="275140"/>
                </a:cubicBezTo>
                <a:lnTo>
                  <a:pt x="41266" y="275283"/>
                </a:lnTo>
                <a:cubicBezTo>
                  <a:pt x="41624" y="280659"/>
                  <a:pt x="37560" y="285307"/>
                  <a:pt x="32185" y="285664"/>
                </a:cubicBezTo>
                <a:cubicBezTo>
                  <a:pt x="27185" y="285998"/>
                  <a:pt x="22817" y="282506"/>
                  <a:pt x="21941" y="277691"/>
                </a:cubicBezTo>
                <a:cubicBezTo>
                  <a:pt x="21941" y="277691"/>
                  <a:pt x="21220" y="273770"/>
                  <a:pt x="19963" y="266911"/>
                </a:cubicBezTo>
                <a:cubicBezTo>
                  <a:pt x="18741" y="260070"/>
                  <a:pt x="17001" y="250303"/>
                  <a:pt x="15100" y="238540"/>
                </a:cubicBezTo>
                <a:cubicBezTo>
                  <a:pt x="14147" y="232658"/>
                  <a:pt x="13140" y="226288"/>
                  <a:pt x="12115" y="219530"/>
                </a:cubicBezTo>
                <a:cubicBezTo>
                  <a:pt x="11090" y="212779"/>
                  <a:pt x="10035" y="205646"/>
                  <a:pt x="9028" y="198251"/>
                </a:cubicBezTo>
                <a:cubicBezTo>
                  <a:pt x="8015" y="190856"/>
                  <a:pt x="7014" y="183198"/>
                  <a:pt x="6066" y="175392"/>
                </a:cubicBezTo>
                <a:cubicBezTo>
                  <a:pt x="5572" y="171506"/>
                  <a:pt x="5155" y="167496"/>
                  <a:pt x="4690" y="163515"/>
                </a:cubicBezTo>
                <a:cubicBezTo>
                  <a:pt x="4451" y="161501"/>
                  <a:pt x="4255" y="159547"/>
                  <a:pt x="4052" y="157592"/>
                </a:cubicBezTo>
                <a:cubicBezTo>
                  <a:pt x="3850" y="155632"/>
                  <a:pt x="3641" y="153671"/>
                  <a:pt x="3438" y="151705"/>
                </a:cubicBezTo>
                <a:lnTo>
                  <a:pt x="3283" y="150233"/>
                </a:lnTo>
                <a:lnTo>
                  <a:pt x="3248" y="149863"/>
                </a:lnTo>
                <a:lnTo>
                  <a:pt x="3206" y="149386"/>
                </a:lnTo>
                <a:lnTo>
                  <a:pt x="3134" y="148624"/>
                </a:lnTo>
                <a:lnTo>
                  <a:pt x="2860" y="145585"/>
                </a:lnTo>
                <a:cubicBezTo>
                  <a:pt x="2676" y="143559"/>
                  <a:pt x="2497" y="141532"/>
                  <a:pt x="2312" y="139506"/>
                </a:cubicBezTo>
                <a:cubicBezTo>
                  <a:pt x="1978" y="135466"/>
                  <a:pt x="1734" y="131450"/>
                  <a:pt x="1442" y="127451"/>
                </a:cubicBezTo>
                <a:cubicBezTo>
                  <a:pt x="1228" y="123465"/>
                  <a:pt x="1019" y="119514"/>
                  <a:pt x="804" y="115605"/>
                </a:cubicBezTo>
                <a:cubicBezTo>
                  <a:pt x="655" y="111701"/>
                  <a:pt x="512" y="107846"/>
                  <a:pt x="369" y="104056"/>
                </a:cubicBezTo>
                <a:cubicBezTo>
                  <a:pt x="280" y="100266"/>
                  <a:pt x="197" y="96542"/>
                  <a:pt x="113" y="92901"/>
                </a:cubicBezTo>
                <a:cubicBezTo>
                  <a:pt x="72" y="89260"/>
                  <a:pt x="36" y="85696"/>
                  <a:pt x="0" y="82222"/>
                </a:cubicBezTo>
                <a:cubicBezTo>
                  <a:pt x="0" y="78754"/>
                  <a:pt x="0" y="75381"/>
                  <a:pt x="0" y="72121"/>
                </a:cubicBezTo>
                <a:cubicBezTo>
                  <a:pt x="36" y="68862"/>
                  <a:pt x="66" y="65709"/>
                  <a:pt x="95" y="62682"/>
                </a:cubicBezTo>
                <a:cubicBezTo>
                  <a:pt x="155" y="59655"/>
                  <a:pt x="209" y="56759"/>
                  <a:pt x="268" y="54000"/>
                </a:cubicBezTo>
                <a:cubicBezTo>
                  <a:pt x="358" y="51241"/>
                  <a:pt x="435" y="48625"/>
                  <a:pt x="512" y="46170"/>
                </a:cubicBezTo>
                <a:cubicBezTo>
                  <a:pt x="691" y="41254"/>
                  <a:pt x="876" y="36957"/>
                  <a:pt x="1049" y="33411"/>
                </a:cubicBezTo>
                <a:cubicBezTo>
                  <a:pt x="1228" y="29866"/>
                  <a:pt x="1388" y="27065"/>
                  <a:pt x="1502" y="25134"/>
                </a:cubicBezTo>
                <a:cubicBezTo>
                  <a:pt x="1633" y="23174"/>
                  <a:pt x="1698" y="22131"/>
                  <a:pt x="1698" y="22131"/>
                </a:cubicBezTo>
                <a:cubicBezTo>
                  <a:pt x="2562" y="9075"/>
                  <a:pt x="13849" y="-811"/>
                  <a:pt x="26911" y="53"/>
                </a:cubicBezTo>
                <a:cubicBezTo>
                  <a:pt x="39967" y="917"/>
                  <a:pt x="49853" y="12203"/>
                  <a:pt x="48989" y="25265"/>
                </a:cubicBezTo>
                <a:cubicBezTo>
                  <a:pt x="48936" y="26100"/>
                  <a:pt x="48834" y="26928"/>
                  <a:pt x="48697" y="27732"/>
                </a:cubicBezTo>
                <a:lnTo>
                  <a:pt x="48685" y="27798"/>
                </a:lnTo>
                <a:close/>
              </a:path>
            </a:pathLst>
          </a:custGeom>
          <a:solidFill>
            <a:srgbClr val="123D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74" name="Freeform: Shape 2573">
            <a:extLst>
              <a:ext uri="{FF2B5EF4-FFF2-40B4-BE49-F238E27FC236}">
                <a16:creationId xmlns:a16="http://schemas.microsoft.com/office/drawing/2014/main" id="{1EB87347-7E48-442D-8AFB-64000DA2AA7D}"/>
              </a:ext>
            </a:extLst>
          </p:cNvPr>
          <p:cNvSpPr/>
          <p:nvPr/>
        </p:nvSpPr>
        <p:spPr>
          <a:xfrm>
            <a:off x="4271025" y="3914721"/>
            <a:ext cx="89137" cy="56362"/>
          </a:xfrm>
          <a:custGeom>
            <a:avLst/>
            <a:gdLst>
              <a:gd name="connsiteX0" fmla="*/ 86966 w 89137"/>
              <a:gd name="connsiteY0" fmla="*/ 4493 h 56362"/>
              <a:gd name="connsiteX1" fmla="*/ 89070 w 89137"/>
              <a:gd name="connsiteY1" fmla="*/ 25582 h 56362"/>
              <a:gd name="connsiteX2" fmla="*/ 48954 w 89137"/>
              <a:gd name="connsiteY2" fmla="*/ 56164 h 56362"/>
              <a:gd name="connsiteX3" fmla="*/ 48954 w 89137"/>
              <a:gd name="connsiteY3" fmla="*/ 56164 h 56362"/>
              <a:gd name="connsiteX4" fmla="*/ 0 w 89137"/>
              <a:gd name="connsiteY4" fmla="*/ 29611 h 56362"/>
              <a:gd name="connsiteX5" fmla="*/ 3033 w 89137"/>
              <a:gd name="connsiteY5" fmla="*/ 0 h 56362"/>
              <a:gd name="connsiteX6" fmla="*/ 86972 w 89137"/>
              <a:gd name="connsiteY6" fmla="*/ 4499 h 56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137" h="56362">
                <a:moveTo>
                  <a:pt x="86966" y="4493"/>
                </a:moveTo>
                <a:lnTo>
                  <a:pt x="89070" y="25582"/>
                </a:lnTo>
                <a:cubicBezTo>
                  <a:pt x="90447" y="40456"/>
                  <a:pt x="70704" y="54144"/>
                  <a:pt x="48954" y="56164"/>
                </a:cubicBezTo>
                <a:lnTo>
                  <a:pt x="48954" y="56164"/>
                </a:lnTo>
                <a:cubicBezTo>
                  <a:pt x="27203" y="58184"/>
                  <a:pt x="1377" y="44478"/>
                  <a:pt x="0" y="29611"/>
                </a:cubicBezTo>
                <a:lnTo>
                  <a:pt x="3033" y="0"/>
                </a:lnTo>
                <a:lnTo>
                  <a:pt x="86972" y="4499"/>
                </a:lnTo>
                <a:close/>
              </a:path>
            </a:pathLst>
          </a:custGeom>
          <a:solidFill>
            <a:srgbClr val="123D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75" name="Freeform: Shape 2574">
            <a:extLst>
              <a:ext uri="{FF2B5EF4-FFF2-40B4-BE49-F238E27FC236}">
                <a16:creationId xmlns:a16="http://schemas.microsoft.com/office/drawing/2014/main" id="{FE569B44-58D7-94F2-526A-9C0C6449D54C}"/>
              </a:ext>
            </a:extLst>
          </p:cNvPr>
          <p:cNvSpPr/>
          <p:nvPr/>
        </p:nvSpPr>
        <p:spPr>
          <a:xfrm>
            <a:off x="4247398" y="4199200"/>
            <a:ext cx="51885" cy="21649"/>
          </a:xfrm>
          <a:custGeom>
            <a:avLst/>
            <a:gdLst>
              <a:gd name="connsiteX0" fmla="*/ 50294 w 51885"/>
              <a:gd name="connsiteY0" fmla="*/ 0 h 21649"/>
              <a:gd name="connsiteX1" fmla="*/ 51885 w 51885"/>
              <a:gd name="connsiteY1" fmla="*/ 21494 h 21649"/>
              <a:gd name="connsiteX2" fmla="*/ 155 w 51885"/>
              <a:gd name="connsiteY2" fmla="*/ 21649 h 21649"/>
              <a:gd name="connsiteX3" fmla="*/ 9606 w 51885"/>
              <a:gd name="connsiteY3" fmla="*/ 10875 h 21649"/>
              <a:gd name="connsiteX4" fmla="*/ 35879 w 51885"/>
              <a:gd name="connsiteY4" fmla="*/ 48 h 21649"/>
              <a:gd name="connsiteX5" fmla="*/ 50288 w 51885"/>
              <a:gd name="connsiteY5" fmla="*/ 0 h 21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85" h="21649">
                <a:moveTo>
                  <a:pt x="50294" y="0"/>
                </a:moveTo>
                <a:lnTo>
                  <a:pt x="51885" y="21494"/>
                </a:lnTo>
                <a:lnTo>
                  <a:pt x="155" y="21649"/>
                </a:lnTo>
                <a:cubicBezTo>
                  <a:pt x="155" y="21649"/>
                  <a:pt x="-1979" y="12156"/>
                  <a:pt x="9606" y="10875"/>
                </a:cubicBezTo>
                <a:cubicBezTo>
                  <a:pt x="17072" y="10047"/>
                  <a:pt x="35879" y="48"/>
                  <a:pt x="35879" y="48"/>
                </a:cubicBezTo>
                <a:lnTo>
                  <a:pt x="50288" y="0"/>
                </a:lnTo>
                <a:close/>
              </a:path>
            </a:pathLst>
          </a:custGeom>
          <a:solidFill>
            <a:srgbClr val="0E2E4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76" name="Freeform: Shape 2575">
            <a:extLst>
              <a:ext uri="{FF2B5EF4-FFF2-40B4-BE49-F238E27FC236}">
                <a16:creationId xmlns:a16="http://schemas.microsoft.com/office/drawing/2014/main" id="{E1B8E424-6095-35CD-6019-1AF897BE24CD}"/>
              </a:ext>
            </a:extLst>
          </p:cNvPr>
          <p:cNvSpPr/>
          <p:nvPr/>
        </p:nvSpPr>
        <p:spPr>
          <a:xfrm>
            <a:off x="4318515" y="4199206"/>
            <a:ext cx="36776" cy="21607"/>
          </a:xfrm>
          <a:custGeom>
            <a:avLst/>
            <a:gdLst>
              <a:gd name="connsiteX0" fmla="*/ 35186 w 36776"/>
              <a:gd name="connsiteY0" fmla="*/ 0 h 21607"/>
              <a:gd name="connsiteX1" fmla="*/ 36777 w 36776"/>
              <a:gd name="connsiteY1" fmla="*/ 21494 h 21607"/>
              <a:gd name="connsiteX2" fmla="*/ 111 w 36776"/>
              <a:gd name="connsiteY2" fmla="*/ 21607 h 21607"/>
              <a:gd name="connsiteX3" fmla="*/ 6803 w 36776"/>
              <a:gd name="connsiteY3" fmla="*/ 10839 h 21607"/>
              <a:gd name="connsiteX4" fmla="*/ 16939 w 36776"/>
              <a:gd name="connsiteY4" fmla="*/ 36 h 21607"/>
              <a:gd name="connsiteX5" fmla="*/ 35186 w 36776"/>
              <a:gd name="connsiteY5" fmla="*/ 0 h 21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776" h="21607">
                <a:moveTo>
                  <a:pt x="35186" y="0"/>
                </a:moveTo>
                <a:lnTo>
                  <a:pt x="36777" y="21494"/>
                </a:lnTo>
                <a:lnTo>
                  <a:pt x="111" y="21607"/>
                </a:lnTo>
                <a:cubicBezTo>
                  <a:pt x="111" y="21607"/>
                  <a:pt x="-1409" y="12115"/>
                  <a:pt x="6803" y="10839"/>
                </a:cubicBezTo>
                <a:cubicBezTo>
                  <a:pt x="12095" y="10017"/>
                  <a:pt x="16939" y="36"/>
                  <a:pt x="16939" y="36"/>
                </a:cubicBezTo>
                <a:lnTo>
                  <a:pt x="35186" y="0"/>
                </a:lnTo>
                <a:close/>
              </a:path>
            </a:pathLst>
          </a:custGeom>
          <a:solidFill>
            <a:srgbClr val="0E2E4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77" name="Freeform: Shape 2576">
            <a:extLst>
              <a:ext uri="{FF2B5EF4-FFF2-40B4-BE49-F238E27FC236}">
                <a16:creationId xmlns:a16="http://schemas.microsoft.com/office/drawing/2014/main" id="{40CFB2D3-247E-D9B8-842C-91A47F46D61A}"/>
              </a:ext>
            </a:extLst>
          </p:cNvPr>
          <p:cNvSpPr/>
          <p:nvPr/>
        </p:nvSpPr>
        <p:spPr>
          <a:xfrm>
            <a:off x="4309866" y="3753803"/>
            <a:ext cx="58070" cy="268681"/>
          </a:xfrm>
          <a:custGeom>
            <a:avLst/>
            <a:gdLst>
              <a:gd name="connsiteX0" fmla="*/ 0 w 58070"/>
              <a:gd name="connsiteY0" fmla="*/ 268670 h 268681"/>
              <a:gd name="connsiteX1" fmla="*/ 1025 w 58070"/>
              <a:gd name="connsiteY1" fmla="*/ 87819 h 268681"/>
              <a:gd name="connsiteX2" fmla="*/ 10416 w 58070"/>
              <a:gd name="connsiteY2" fmla="*/ 24206 h 268681"/>
              <a:gd name="connsiteX3" fmla="*/ 14117 w 58070"/>
              <a:gd name="connsiteY3" fmla="*/ 0 h 268681"/>
              <a:gd name="connsiteX4" fmla="*/ 49424 w 58070"/>
              <a:gd name="connsiteY4" fmla="*/ 69918 h 268681"/>
              <a:gd name="connsiteX5" fmla="*/ 46928 w 58070"/>
              <a:gd name="connsiteY5" fmla="*/ 131814 h 268681"/>
              <a:gd name="connsiteX6" fmla="*/ 58071 w 58070"/>
              <a:gd name="connsiteY6" fmla="*/ 266364 h 268681"/>
              <a:gd name="connsiteX7" fmla="*/ 0 w 58070"/>
              <a:gd name="connsiteY7" fmla="*/ 268682 h 268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070" h="268681">
                <a:moveTo>
                  <a:pt x="0" y="268670"/>
                </a:moveTo>
                <a:cubicBezTo>
                  <a:pt x="441" y="237903"/>
                  <a:pt x="1067" y="118585"/>
                  <a:pt x="1025" y="87819"/>
                </a:cubicBezTo>
                <a:cubicBezTo>
                  <a:pt x="977" y="50735"/>
                  <a:pt x="7735" y="48805"/>
                  <a:pt x="10416" y="24206"/>
                </a:cubicBezTo>
                <a:cubicBezTo>
                  <a:pt x="11745" y="12013"/>
                  <a:pt x="14606" y="1752"/>
                  <a:pt x="14117" y="0"/>
                </a:cubicBezTo>
                <a:cubicBezTo>
                  <a:pt x="71288" y="13914"/>
                  <a:pt x="51522" y="45021"/>
                  <a:pt x="49424" y="69918"/>
                </a:cubicBezTo>
                <a:cubicBezTo>
                  <a:pt x="47821" y="89004"/>
                  <a:pt x="42875" y="111613"/>
                  <a:pt x="46928" y="131814"/>
                </a:cubicBezTo>
                <a:cubicBezTo>
                  <a:pt x="58828" y="191155"/>
                  <a:pt x="56921" y="233482"/>
                  <a:pt x="58071" y="266364"/>
                </a:cubicBezTo>
                <a:lnTo>
                  <a:pt x="0" y="268682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78" name="Freeform: Shape 2577">
            <a:extLst>
              <a:ext uri="{FF2B5EF4-FFF2-40B4-BE49-F238E27FC236}">
                <a16:creationId xmlns:a16="http://schemas.microsoft.com/office/drawing/2014/main" id="{FC940BF8-4444-56BC-C6BE-E702F5B7EC85}"/>
              </a:ext>
            </a:extLst>
          </p:cNvPr>
          <p:cNvSpPr/>
          <p:nvPr/>
        </p:nvSpPr>
        <p:spPr>
          <a:xfrm>
            <a:off x="4257489" y="3752599"/>
            <a:ext cx="37372" cy="267555"/>
          </a:xfrm>
          <a:custGeom>
            <a:avLst/>
            <a:gdLst>
              <a:gd name="connsiteX0" fmla="*/ 5980 w 37372"/>
              <a:gd name="connsiteY0" fmla="*/ 77980 h 267555"/>
              <a:gd name="connsiteX1" fmla="*/ 37372 w 37372"/>
              <a:gd name="connsiteY1" fmla="*/ 0 h 267555"/>
              <a:gd name="connsiteX2" fmla="*/ 36943 w 37372"/>
              <a:gd name="connsiteY2" fmla="*/ 787 h 267555"/>
              <a:gd name="connsiteX3" fmla="*/ 23005 w 37372"/>
              <a:gd name="connsiteY3" fmla="*/ 62630 h 267555"/>
              <a:gd name="connsiteX4" fmla="*/ 22624 w 37372"/>
              <a:gd name="connsiteY4" fmla="*/ 267556 h 267555"/>
              <a:gd name="connsiteX5" fmla="*/ 158 w 37372"/>
              <a:gd name="connsiteY5" fmla="*/ 265160 h 267555"/>
              <a:gd name="connsiteX6" fmla="*/ 1582 w 37372"/>
              <a:gd name="connsiteY6" fmla="*/ 168892 h 267555"/>
              <a:gd name="connsiteX7" fmla="*/ 5980 w 37372"/>
              <a:gd name="connsiteY7" fmla="*/ 77980 h 26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372" h="267555">
                <a:moveTo>
                  <a:pt x="5980" y="77980"/>
                </a:moveTo>
                <a:cubicBezTo>
                  <a:pt x="2452" y="56295"/>
                  <a:pt x="-10419" y="4177"/>
                  <a:pt x="37372" y="0"/>
                </a:cubicBezTo>
                <a:cubicBezTo>
                  <a:pt x="37217" y="250"/>
                  <a:pt x="37068" y="512"/>
                  <a:pt x="36943" y="787"/>
                </a:cubicBezTo>
                <a:cubicBezTo>
                  <a:pt x="30543" y="14761"/>
                  <a:pt x="24978" y="47541"/>
                  <a:pt x="23005" y="62630"/>
                </a:cubicBezTo>
                <a:cubicBezTo>
                  <a:pt x="19489" y="89535"/>
                  <a:pt x="22630" y="266829"/>
                  <a:pt x="22624" y="267556"/>
                </a:cubicBezTo>
                <a:lnTo>
                  <a:pt x="158" y="265160"/>
                </a:lnTo>
                <a:cubicBezTo>
                  <a:pt x="158" y="265160"/>
                  <a:pt x="-700" y="215307"/>
                  <a:pt x="1582" y="168892"/>
                </a:cubicBezTo>
                <a:cubicBezTo>
                  <a:pt x="3340" y="133084"/>
                  <a:pt x="8954" y="96221"/>
                  <a:pt x="5980" y="77980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79" name="Freeform: Shape 2578">
            <a:extLst>
              <a:ext uri="{FF2B5EF4-FFF2-40B4-BE49-F238E27FC236}">
                <a16:creationId xmlns:a16="http://schemas.microsoft.com/office/drawing/2014/main" id="{4D8DD440-480D-E5B3-2C0D-0D54328A122D}"/>
              </a:ext>
            </a:extLst>
          </p:cNvPr>
          <p:cNvSpPr/>
          <p:nvPr/>
        </p:nvSpPr>
        <p:spPr>
          <a:xfrm>
            <a:off x="4319551" y="3767917"/>
            <a:ext cx="84679" cy="113351"/>
          </a:xfrm>
          <a:custGeom>
            <a:avLst/>
            <a:gdLst>
              <a:gd name="connsiteX0" fmla="*/ 84671 w 84679"/>
              <a:gd name="connsiteY0" fmla="*/ 98392 h 113351"/>
              <a:gd name="connsiteX1" fmla="*/ 84671 w 84679"/>
              <a:gd name="connsiteY1" fmla="*/ 97356 h 113351"/>
              <a:gd name="connsiteX2" fmla="*/ 84617 w 84679"/>
              <a:gd name="connsiteY2" fmla="*/ 96378 h 113351"/>
              <a:gd name="connsiteX3" fmla="*/ 84236 w 84679"/>
              <a:gd name="connsiteY3" fmla="*/ 93166 h 113351"/>
              <a:gd name="connsiteX4" fmla="*/ 83092 w 84679"/>
              <a:gd name="connsiteY4" fmla="*/ 88197 h 113351"/>
              <a:gd name="connsiteX5" fmla="*/ 80345 w 84679"/>
              <a:gd name="connsiteY5" fmla="*/ 80062 h 113351"/>
              <a:gd name="connsiteX6" fmla="*/ 74165 w 84679"/>
              <a:gd name="connsiteY6" fmla="*/ 65802 h 113351"/>
              <a:gd name="connsiteX7" fmla="*/ 67717 w 84679"/>
              <a:gd name="connsiteY7" fmla="*/ 52764 h 113351"/>
              <a:gd name="connsiteX8" fmla="*/ 55656 w 84679"/>
              <a:gd name="connsiteY8" fmla="*/ 30370 h 113351"/>
              <a:gd name="connsiteX9" fmla="*/ 46753 w 84679"/>
              <a:gd name="connsiteY9" fmla="*/ 14817 h 113351"/>
              <a:gd name="connsiteX10" fmla="*/ 44191 w 84679"/>
              <a:gd name="connsiteY10" fmla="*/ 10467 h 113351"/>
              <a:gd name="connsiteX11" fmla="*/ 43250 w 84679"/>
              <a:gd name="connsiteY11" fmla="*/ 8893 h 113351"/>
              <a:gd name="connsiteX12" fmla="*/ 42171 w 84679"/>
              <a:gd name="connsiteY12" fmla="*/ 7296 h 113351"/>
              <a:gd name="connsiteX13" fmla="*/ 16493 w 84679"/>
              <a:gd name="connsiteY13" fmla="*/ 3572 h 113351"/>
              <a:gd name="connsiteX14" fmla="*/ 12709 w 84679"/>
              <a:gd name="connsiteY14" fmla="*/ 28868 h 113351"/>
              <a:gd name="connsiteX15" fmla="*/ 12775 w 84679"/>
              <a:gd name="connsiteY15" fmla="*/ 28952 h 113351"/>
              <a:gd name="connsiteX16" fmla="*/ 16678 w 84679"/>
              <a:gd name="connsiteY16" fmla="*/ 34124 h 113351"/>
              <a:gd name="connsiteX17" fmla="*/ 26892 w 84679"/>
              <a:gd name="connsiteY17" fmla="*/ 48080 h 113351"/>
              <a:gd name="connsiteX18" fmla="*/ 40753 w 84679"/>
              <a:gd name="connsiteY18" fmla="*/ 68079 h 113351"/>
              <a:gd name="connsiteX19" fmla="*/ 48058 w 84679"/>
              <a:gd name="connsiteY19" fmla="*/ 79443 h 113351"/>
              <a:gd name="connsiteX20" fmla="*/ 54053 w 84679"/>
              <a:gd name="connsiteY20" fmla="*/ 89770 h 113351"/>
              <a:gd name="connsiteX21" fmla="*/ 44328 w 84679"/>
              <a:gd name="connsiteY21" fmla="*/ 90413 h 113351"/>
              <a:gd name="connsiteX22" fmla="*/ 32678 w 84679"/>
              <a:gd name="connsiteY22" fmla="*/ 90842 h 113351"/>
              <a:gd name="connsiteX23" fmla="*/ 15081 w 84679"/>
              <a:gd name="connsiteY23" fmla="*/ 91081 h 113351"/>
              <a:gd name="connsiteX24" fmla="*/ 8425 w 84679"/>
              <a:gd name="connsiteY24" fmla="*/ 91069 h 113351"/>
              <a:gd name="connsiteX25" fmla="*/ 8276 w 84679"/>
              <a:gd name="connsiteY25" fmla="*/ 91069 h 113351"/>
              <a:gd name="connsiteX26" fmla="*/ 100 w 84679"/>
              <a:gd name="connsiteY26" fmla="*/ 97952 h 113351"/>
              <a:gd name="connsiteX27" fmla="*/ 6989 w 84679"/>
              <a:gd name="connsiteY27" fmla="*/ 107248 h 113351"/>
              <a:gd name="connsiteX28" fmla="*/ 13770 w 84679"/>
              <a:gd name="connsiteY28" fmla="*/ 108291 h 113351"/>
              <a:gd name="connsiteX29" fmla="*/ 31635 w 84679"/>
              <a:gd name="connsiteY29" fmla="*/ 110758 h 113351"/>
              <a:gd name="connsiteX30" fmla="*/ 43708 w 84679"/>
              <a:gd name="connsiteY30" fmla="*/ 112140 h 113351"/>
              <a:gd name="connsiteX31" fmla="*/ 57563 w 84679"/>
              <a:gd name="connsiteY31" fmla="*/ 113219 h 113351"/>
              <a:gd name="connsiteX32" fmla="*/ 65483 w 84679"/>
              <a:gd name="connsiteY32" fmla="*/ 113308 h 113351"/>
              <a:gd name="connsiteX33" fmla="*/ 70304 w 84679"/>
              <a:gd name="connsiteY33" fmla="*/ 112903 h 113351"/>
              <a:gd name="connsiteX34" fmla="*/ 73641 w 84679"/>
              <a:gd name="connsiteY34" fmla="*/ 112188 h 113351"/>
              <a:gd name="connsiteX35" fmla="*/ 76120 w 84679"/>
              <a:gd name="connsiteY35" fmla="*/ 111270 h 113351"/>
              <a:gd name="connsiteX36" fmla="*/ 76942 w 84679"/>
              <a:gd name="connsiteY36" fmla="*/ 110865 h 113351"/>
              <a:gd name="connsiteX37" fmla="*/ 77884 w 84679"/>
              <a:gd name="connsiteY37" fmla="*/ 110328 h 113351"/>
              <a:gd name="connsiteX38" fmla="*/ 78992 w 84679"/>
              <a:gd name="connsiteY38" fmla="*/ 109572 h 113351"/>
              <a:gd name="connsiteX39" fmla="*/ 79624 w 84679"/>
              <a:gd name="connsiteY39" fmla="*/ 109071 h 113351"/>
              <a:gd name="connsiteX40" fmla="*/ 79933 w 84679"/>
              <a:gd name="connsiteY40" fmla="*/ 108809 h 113351"/>
              <a:gd name="connsiteX41" fmla="*/ 80297 w 84679"/>
              <a:gd name="connsiteY41" fmla="*/ 108475 h 113351"/>
              <a:gd name="connsiteX42" fmla="*/ 80988 w 84679"/>
              <a:gd name="connsiteY42" fmla="*/ 107778 h 113351"/>
              <a:gd name="connsiteX43" fmla="*/ 81757 w 84679"/>
              <a:gd name="connsiteY43" fmla="*/ 106866 h 113351"/>
              <a:gd name="connsiteX44" fmla="*/ 82120 w 84679"/>
              <a:gd name="connsiteY44" fmla="*/ 106384 h 113351"/>
              <a:gd name="connsiteX45" fmla="*/ 82514 w 84679"/>
              <a:gd name="connsiteY45" fmla="*/ 105794 h 113351"/>
              <a:gd name="connsiteX46" fmla="*/ 83229 w 84679"/>
              <a:gd name="connsiteY46" fmla="*/ 104530 h 113351"/>
              <a:gd name="connsiteX47" fmla="*/ 83866 w 84679"/>
              <a:gd name="connsiteY47" fmla="*/ 103047 h 113351"/>
              <a:gd name="connsiteX48" fmla="*/ 84206 w 84679"/>
              <a:gd name="connsiteY48" fmla="*/ 101944 h 113351"/>
              <a:gd name="connsiteX49" fmla="*/ 84474 w 84679"/>
              <a:gd name="connsiteY49" fmla="*/ 100693 h 113351"/>
              <a:gd name="connsiteX50" fmla="*/ 84605 w 84679"/>
              <a:gd name="connsiteY50" fmla="*/ 99668 h 113351"/>
              <a:gd name="connsiteX51" fmla="*/ 84605 w 84679"/>
              <a:gd name="connsiteY51" fmla="*/ 99614 h 113351"/>
              <a:gd name="connsiteX52" fmla="*/ 84623 w 84679"/>
              <a:gd name="connsiteY52" fmla="*/ 99560 h 113351"/>
              <a:gd name="connsiteX53" fmla="*/ 84671 w 84679"/>
              <a:gd name="connsiteY53" fmla="*/ 98410 h 113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84679" h="113351">
                <a:moveTo>
                  <a:pt x="84671" y="98392"/>
                </a:moveTo>
                <a:lnTo>
                  <a:pt x="84671" y="97356"/>
                </a:lnTo>
                <a:cubicBezTo>
                  <a:pt x="84653" y="97010"/>
                  <a:pt x="84641" y="96646"/>
                  <a:pt x="84617" y="96378"/>
                </a:cubicBezTo>
                <a:cubicBezTo>
                  <a:pt x="84534" y="95157"/>
                  <a:pt x="84391" y="94120"/>
                  <a:pt x="84236" y="93166"/>
                </a:cubicBezTo>
                <a:cubicBezTo>
                  <a:pt x="83914" y="91260"/>
                  <a:pt x="83515" y="89692"/>
                  <a:pt x="83092" y="88197"/>
                </a:cubicBezTo>
                <a:cubicBezTo>
                  <a:pt x="82251" y="85205"/>
                  <a:pt x="81310" y="82619"/>
                  <a:pt x="80345" y="80062"/>
                </a:cubicBezTo>
                <a:cubicBezTo>
                  <a:pt x="78396" y="75015"/>
                  <a:pt x="76298" y="70337"/>
                  <a:pt x="74165" y="65802"/>
                </a:cubicBezTo>
                <a:cubicBezTo>
                  <a:pt x="72032" y="61280"/>
                  <a:pt x="69863" y="56929"/>
                  <a:pt x="67717" y="52764"/>
                </a:cubicBezTo>
                <a:cubicBezTo>
                  <a:pt x="63433" y="44439"/>
                  <a:pt x="59273" y="36847"/>
                  <a:pt x="55656" y="30370"/>
                </a:cubicBezTo>
                <a:cubicBezTo>
                  <a:pt x="52033" y="23898"/>
                  <a:pt x="48946" y="18559"/>
                  <a:pt x="46753" y="14817"/>
                </a:cubicBezTo>
                <a:cubicBezTo>
                  <a:pt x="45651" y="12946"/>
                  <a:pt x="44781" y="11474"/>
                  <a:pt x="44191" y="10467"/>
                </a:cubicBezTo>
                <a:cubicBezTo>
                  <a:pt x="43577" y="9442"/>
                  <a:pt x="43250" y="8893"/>
                  <a:pt x="43250" y="8893"/>
                </a:cubicBezTo>
                <a:cubicBezTo>
                  <a:pt x="42928" y="8357"/>
                  <a:pt x="42558" y="7809"/>
                  <a:pt x="42171" y="7296"/>
                </a:cubicBezTo>
                <a:cubicBezTo>
                  <a:pt x="36122" y="-719"/>
                  <a:pt x="24627" y="-2387"/>
                  <a:pt x="16493" y="3572"/>
                </a:cubicBezTo>
                <a:cubicBezTo>
                  <a:pt x="8359" y="9525"/>
                  <a:pt x="6661" y="20853"/>
                  <a:pt x="12709" y="28868"/>
                </a:cubicBezTo>
                <a:lnTo>
                  <a:pt x="12775" y="28952"/>
                </a:lnTo>
                <a:cubicBezTo>
                  <a:pt x="12775" y="28952"/>
                  <a:pt x="14193" y="30829"/>
                  <a:pt x="16678" y="34124"/>
                </a:cubicBezTo>
                <a:cubicBezTo>
                  <a:pt x="19169" y="37461"/>
                  <a:pt x="22721" y="42270"/>
                  <a:pt x="26892" y="48080"/>
                </a:cubicBezTo>
                <a:cubicBezTo>
                  <a:pt x="31057" y="53890"/>
                  <a:pt x="35854" y="60713"/>
                  <a:pt x="40753" y="68079"/>
                </a:cubicBezTo>
                <a:cubicBezTo>
                  <a:pt x="43202" y="71756"/>
                  <a:pt x="45675" y="75575"/>
                  <a:pt x="48058" y="79443"/>
                </a:cubicBezTo>
                <a:cubicBezTo>
                  <a:pt x="50174" y="82875"/>
                  <a:pt x="52230" y="86367"/>
                  <a:pt x="54053" y="89770"/>
                </a:cubicBezTo>
                <a:cubicBezTo>
                  <a:pt x="50770" y="90056"/>
                  <a:pt x="47486" y="90258"/>
                  <a:pt x="44328" y="90413"/>
                </a:cubicBezTo>
                <a:cubicBezTo>
                  <a:pt x="40222" y="90616"/>
                  <a:pt x="36307" y="90747"/>
                  <a:pt x="32678" y="90842"/>
                </a:cubicBezTo>
                <a:cubicBezTo>
                  <a:pt x="25420" y="91027"/>
                  <a:pt x="19336" y="91069"/>
                  <a:pt x="15081" y="91081"/>
                </a:cubicBezTo>
                <a:cubicBezTo>
                  <a:pt x="10844" y="91075"/>
                  <a:pt x="8425" y="91069"/>
                  <a:pt x="8425" y="91069"/>
                </a:cubicBezTo>
                <a:lnTo>
                  <a:pt x="8276" y="91069"/>
                </a:lnTo>
                <a:cubicBezTo>
                  <a:pt x="4265" y="91057"/>
                  <a:pt x="738" y="93929"/>
                  <a:pt x="100" y="97952"/>
                </a:cubicBezTo>
                <a:cubicBezTo>
                  <a:pt x="-603" y="102391"/>
                  <a:pt x="2478" y="106556"/>
                  <a:pt x="6989" y="107248"/>
                </a:cubicBezTo>
                <a:cubicBezTo>
                  <a:pt x="6989" y="107248"/>
                  <a:pt x="9456" y="107629"/>
                  <a:pt x="13770" y="108291"/>
                </a:cubicBezTo>
                <a:cubicBezTo>
                  <a:pt x="18073" y="108928"/>
                  <a:pt x="24210" y="109822"/>
                  <a:pt x="31635" y="110758"/>
                </a:cubicBezTo>
                <a:cubicBezTo>
                  <a:pt x="35354" y="111222"/>
                  <a:pt x="39388" y="111699"/>
                  <a:pt x="43708" y="112140"/>
                </a:cubicBezTo>
                <a:cubicBezTo>
                  <a:pt x="48035" y="112575"/>
                  <a:pt x="52611" y="112986"/>
                  <a:pt x="57563" y="113219"/>
                </a:cubicBezTo>
                <a:cubicBezTo>
                  <a:pt x="60054" y="113326"/>
                  <a:pt x="62610" y="113403"/>
                  <a:pt x="65483" y="113308"/>
                </a:cubicBezTo>
                <a:cubicBezTo>
                  <a:pt x="66937" y="113254"/>
                  <a:pt x="68438" y="113171"/>
                  <a:pt x="70304" y="112903"/>
                </a:cubicBezTo>
                <a:cubicBezTo>
                  <a:pt x="71251" y="112754"/>
                  <a:pt x="72264" y="112587"/>
                  <a:pt x="73641" y="112188"/>
                </a:cubicBezTo>
                <a:cubicBezTo>
                  <a:pt x="74338" y="111979"/>
                  <a:pt x="75101" y="111729"/>
                  <a:pt x="76120" y="111270"/>
                </a:cubicBezTo>
                <a:cubicBezTo>
                  <a:pt x="76388" y="111145"/>
                  <a:pt x="76668" y="111008"/>
                  <a:pt x="76942" y="110865"/>
                </a:cubicBezTo>
                <a:cubicBezTo>
                  <a:pt x="77246" y="110704"/>
                  <a:pt x="77574" y="110513"/>
                  <a:pt x="77884" y="110328"/>
                </a:cubicBezTo>
                <a:cubicBezTo>
                  <a:pt x="78259" y="110090"/>
                  <a:pt x="78599" y="109864"/>
                  <a:pt x="78992" y="109572"/>
                </a:cubicBezTo>
                <a:cubicBezTo>
                  <a:pt x="79206" y="109411"/>
                  <a:pt x="79415" y="109244"/>
                  <a:pt x="79624" y="109071"/>
                </a:cubicBezTo>
                <a:lnTo>
                  <a:pt x="79933" y="108809"/>
                </a:lnTo>
                <a:lnTo>
                  <a:pt x="80297" y="108475"/>
                </a:lnTo>
                <a:cubicBezTo>
                  <a:pt x="80535" y="108249"/>
                  <a:pt x="80768" y="108016"/>
                  <a:pt x="80988" y="107778"/>
                </a:cubicBezTo>
                <a:cubicBezTo>
                  <a:pt x="81250" y="107492"/>
                  <a:pt x="81513" y="107182"/>
                  <a:pt x="81757" y="106866"/>
                </a:cubicBezTo>
                <a:cubicBezTo>
                  <a:pt x="81882" y="106705"/>
                  <a:pt x="81995" y="106556"/>
                  <a:pt x="82120" y="106384"/>
                </a:cubicBezTo>
                <a:cubicBezTo>
                  <a:pt x="82257" y="106193"/>
                  <a:pt x="82389" y="105996"/>
                  <a:pt x="82514" y="105794"/>
                </a:cubicBezTo>
                <a:cubicBezTo>
                  <a:pt x="82776" y="105377"/>
                  <a:pt x="82990" y="105019"/>
                  <a:pt x="83229" y="104530"/>
                </a:cubicBezTo>
                <a:cubicBezTo>
                  <a:pt x="83467" y="104048"/>
                  <a:pt x="83682" y="103553"/>
                  <a:pt x="83866" y="103047"/>
                </a:cubicBezTo>
                <a:cubicBezTo>
                  <a:pt x="83938" y="102868"/>
                  <a:pt x="84117" y="102308"/>
                  <a:pt x="84206" y="101944"/>
                </a:cubicBezTo>
                <a:cubicBezTo>
                  <a:pt x="84313" y="101533"/>
                  <a:pt x="84403" y="101110"/>
                  <a:pt x="84474" y="100693"/>
                </a:cubicBezTo>
                <a:cubicBezTo>
                  <a:pt x="84534" y="100377"/>
                  <a:pt x="84611" y="99614"/>
                  <a:pt x="84605" y="99668"/>
                </a:cubicBezTo>
                <a:lnTo>
                  <a:pt x="84605" y="99614"/>
                </a:lnTo>
                <a:cubicBezTo>
                  <a:pt x="84605" y="99614"/>
                  <a:pt x="84623" y="99560"/>
                  <a:pt x="84623" y="99560"/>
                </a:cubicBezTo>
                <a:cubicBezTo>
                  <a:pt x="84623" y="99781"/>
                  <a:pt x="84707" y="97522"/>
                  <a:pt x="84671" y="98410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80" name="Freeform: Shape 2579">
            <a:extLst>
              <a:ext uri="{FF2B5EF4-FFF2-40B4-BE49-F238E27FC236}">
                <a16:creationId xmlns:a16="http://schemas.microsoft.com/office/drawing/2014/main" id="{CAAEA5F9-F758-885E-9202-06DCDE7EAD3D}"/>
              </a:ext>
            </a:extLst>
          </p:cNvPr>
          <p:cNvSpPr/>
          <p:nvPr/>
        </p:nvSpPr>
        <p:spPr>
          <a:xfrm>
            <a:off x="4281553" y="3680986"/>
            <a:ext cx="55521" cy="62568"/>
          </a:xfrm>
          <a:custGeom>
            <a:avLst/>
            <a:gdLst>
              <a:gd name="connsiteX0" fmla="*/ 36531 w 55521"/>
              <a:gd name="connsiteY0" fmla="*/ 55214 h 62568"/>
              <a:gd name="connsiteX1" fmla="*/ 53812 w 55521"/>
              <a:gd name="connsiteY1" fmla="*/ 6022 h 62568"/>
              <a:gd name="connsiteX2" fmla="*/ 9351 w 55521"/>
              <a:gd name="connsiteY2" fmla="*/ 819 h 62568"/>
              <a:gd name="connsiteX3" fmla="*/ 9941 w 55521"/>
              <a:gd name="connsiteY3" fmla="*/ 60106 h 62568"/>
              <a:gd name="connsiteX4" fmla="*/ 36531 w 55521"/>
              <a:gd name="connsiteY4" fmla="*/ 55208 h 62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521" h="62568">
                <a:moveTo>
                  <a:pt x="36531" y="55214"/>
                </a:moveTo>
                <a:cubicBezTo>
                  <a:pt x="36531" y="55214"/>
                  <a:pt x="62280" y="17636"/>
                  <a:pt x="53812" y="6022"/>
                </a:cubicBezTo>
                <a:cubicBezTo>
                  <a:pt x="47197" y="-3048"/>
                  <a:pt x="9351" y="819"/>
                  <a:pt x="9351" y="819"/>
                </a:cubicBezTo>
                <a:cubicBezTo>
                  <a:pt x="9351" y="819"/>
                  <a:pt x="-12077" y="50536"/>
                  <a:pt x="9941" y="60106"/>
                </a:cubicBezTo>
                <a:cubicBezTo>
                  <a:pt x="27473" y="67734"/>
                  <a:pt x="36531" y="55208"/>
                  <a:pt x="36531" y="55208"/>
                </a:cubicBezTo>
                <a:close/>
              </a:path>
            </a:pathLst>
          </a:custGeom>
          <a:solidFill>
            <a:srgbClr val="E9AC8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81" name="Freeform: Shape 2580">
            <a:extLst>
              <a:ext uri="{FF2B5EF4-FFF2-40B4-BE49-F238E27FC236}">
                <a16:creationId xmlns:a16="http://schemas.microsoft.com/office/drawing/2014/main" id="{D88790B4-87D2-1C45-81ED-E2DE96BE2BB5}"/>
              </a:ext>
            </a:extLst>
          </p:cNvPr>
          <p:cNvSpPr/>
          <p:nvPr/>
        </p:nvSpPr>
        <p:spPr>
          <a:xfrm>
            <a:off x="4293700" y="3724552"/>
            <a:ext cx="24799" cy="41782"/>
          </a:xfrm>
          <a:custGeom>
            <a:avLst/>
            <a:gdLst>
              <a:gd name="connsiteX0" fmla="*/ 21530 w 24799"/>
              <a:gd name="connsiteY0" fmla="*/ 10468 h 41782"/>
              <a:gd name="connsiteX1" fmla="*/ 21530 w 24799"/>
              <a:gd name="connsiteY1" fmla="*/ 10646 h 41782"/>
              <a:gd name="connsiteX2" fmla="*/ 21542 w 24799"/>
              <a:gd name="connsiteY2" fmla="*/ 10801 h 41782"/>
              <a:gd name="connsiteX3" fmla="*/ 21542 w 24799"/>
              <a:gd name="connsiteY3" fmla="*/ 11087 h 41782"/>
              <a:gd name="connsiteX4" fmla="*/ 21578 w 24799"/>
              <a:gd name="connsiteY4" fmla="*/ 12935 h 41782"/>
              <a:gd name="connsiteX5" fmla="*/ 21733 w 24799"/>
              <a:gd name="connsiteY5" fmla="*/ 15586 h 41782"/>
              <a:gd name="connsiteX6" fmla="*/ 22066 w 24799"/>
              <a:gd name="connsiteY6" fmla="*/ 18554 h 41782"/>
              <a:gd name="connsiteX7" fmla="*/ 22585 w 24799"/>
              <a:gd name="connsiteY7" fmla="*/ 21367 h 41782"/>
              <a:gd name="connsiteX8" fmla="*/ 22889 w 24799"/>
              <a:gd name="connsiteY8" fmla="*/ 22582 h 41782"/>
              <a:gd name="connsiteX9" fmla="*/ 23193 w 24799"/>
              <a:gd name="connsiteY9" fmla="*/ 23613 h 41782"/>
              <a:gd name="connsiteX10" fmla="*/ 23473 w 24799"/>
              <a:gd name="connsiteY10" fmla="*/ 24436 h 41782"/>
              <a:gd name="connsiteX11" fmla="*/ 23717 w 24799"/>
              <a:gd name="connsiteY11" fmla="*/ 25020 h 41782"/>
              <a:gd name="connsiteX12" fmla="*/ 23926 w 24799"/>
              <a:gd name="connsiteY12" fmla="*/ 25520 h 41782"/>
              <a:gd name="connsiteX13" fmla="*/ 17001 w 24799"/>
              <a:gd name="connsiteY13" fmla="*/ 40942 h 41782"/>
              <a:gd name="connsiteX14" fmla="*/ 971 w 24799"/>
              <a:gd name="connsiteY14" fmla="*/ 34286 h 41782"/>
              <a:gd name="connsiteX15" fmla="*/ 107 w 24799"/>
              <a:gd name="connsiteY15" fmla="*/ 30389 h 41782"/>
              <a:gd name="connsiteX16" fmla="*/ 77 w 24799"/>
              <a:gd name="connsiteY16" fmla="*/ 29542 h 41782"/>
              <a:gd name="connsiteX17" fmla="*/ 36 w 24799"/>
              <a:gd name="connsiteY17" fmla="*/ 28428 h 41782"/>
              <a:gd name="connsiteX18" fmla="*/ 0 w 24799"/>
              <a:gd name="connsiteY18" fmla="*/ 27165 h 41782"/>
              <a:gd name="connsiteX19" fmla="*/ 30 w 24799"/>
              <a:gd name="connsiteY19" fmla="*/ 25580 h 41782"/>
              <a:gd name="connsiteX20" fmla="*/ 131 w 24799"/>
              <a:gd name="connsiteY20" fmla="*/ 23750 h 41782"/>
              <a:gd name="connsiteX21" fmla="*/ 316 w 24799"/>
              <a:gd name="connsiteY21" fmla="*/ 21766 h 41782"/>
              <a:gd name="connsiteX22" fmla="*/ 942 w 24799"/>
              <a:gd name="connsiteY22" fmla="*/ 17624 h 41782"/>
              <a:gd name="connsiteX23" fmla="*/ 1812 w 24799"/>
              <a:gd name="connsiteY23" fmla="*/ 13656 h 41782"/>
              <a:gd name="connsiteX24" fmla="*/ 2741 w 24799"/>
              <a:gd name="connsiteY24" fmla="*/ 10283 h 41782"/>
              <a:gd name="connsiteX25" fmla="*/ 3504 w 24799"/>
              <a:gd name="connsiteY25" fmla="*/ 7893 h 41782"/>
              <a:gd name="connsiteX26" fmla="*/ 3754 w 24799"/>
              <a:gd name="connsiteY26" fmla="*/ 7148 h 41782"/>
              <a:gd name="connsiteX27" fmla="*/ 3838 w 24799"/>
              <a:gd name="connsiteY27" fmla="*/ 6910 h 41782"/>
              <a:gd name="connsiteX28" fmla="*/ 14546 w 24799"/>
              <a:gd name="connsiteY28" fmla="*/ 188 h 41782"/>
              <a:gd name="connsiteX29" fmla="*/ 21536 w 24799"/>
              <a:gd name="connsiteY29" fmla="*/ 10485 h 41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4799" h="41782">
                <a:moveTo>
                  <a:pt x="21530" y="10468"/>
                </a:moveTo>
                <a:cubicBezTo>
                  <a:pt x="21530" y="10468"/>
                  <a:pt x="21518" y="10581"/>
                  <a:pt x="21530" y="10646"/>
                </a:cubicBezTo>
                <a:cubicBezTo>
                  <a:pt x="21530" y="10688"/>
                  <a:pt x="21536" y="10742"/>
                  <a:pt x="21542" y="10801"/>
                </a:cubicBezTo>
                <a:cubicBezTo>
                  <a:pt x="21542" y="10885"/>
                  <a:pt x="21542" y="10980"/>
                  <a:pt x="21542" y="11087"/>
                </a:cubicBezTo>
                <a:cubicBezTo>
                  <a:pt x="21542" y="11510"/>
                  <a:pt x="21554" y="12154"/>
                  <a:pt x="21578" y="12935"/>
                </a:cubicBezTo>
                <a:cubicBezTo>
                  <a:pt x="21602" y="13709"/>
                  <a:pt x="21655" y="14621"/>
                  <a:pt x="21733" y="15586"/>
                </a:cubicBezTo>
                <a:cubicBezTo>
                  <a:pt x="21810" y="16552"/>
                  <a:pt x="21923" y="17565"/>
                  <a:pt x="22066" y="18554"/>
                </a:cubicBezTo>
                <a:cubicBezTo>
                  <a:pt x="22215" y="19543"/>
                  <a:pt x="22382" y="20509"/>
                  <a:pt x="22585" y="21367"/>
                </a:cubicBezTo>
                <a:cubicBezTo>
                  <a:pt x="22686" y="21796"/>
                  <a:pt x="22775" y="22213"/>
                  <a:pt x="22889" y="22582"/>
                </a:cubicBezTo>
                <a:cubicBezTo>
                  <a:pt x="22996" y="22952"/>
                  <a:pt x="23079" y="23321"/>
                  <a:pt x="23193" y="23613"/>
                </a:cubicBezTo>
                <a:cubicBezTo>
                  <a:pt x="23294" y="23917"/>
                  <a:pt x="23389" y="24191"/>
                  <a:pt x="23473" y="24436"/>
                </a:cubicBezTo>
                <a:cubicBezTo>
                  <a:pt x="23568" y="24662"/>
                  <a:pt x="23646" y="24859"/>
                  <a:pt x="23717" y="25020"/>
                </a:cubicBezTo>
                <a:cubicBezTo>
                  <a:pt x="23848" y="25335"/>
                  <a:pt x="23926" y="25520"/>
                  <a:pt x="23926" y="25520"/>
                </a:cubicBezTo>
                <a:cubicBezTo>
                  <a:pt x="26440" y="31616"/>
                  <a:pt x="23342" y="38523"/>
                  <a:pt x="17001" y="40942"/>
                </a:cubicBezTo>
                <a:cubicBezTo>
                  <a:pt x="10661" y="43362"/>
                  <a:pt x="3486" y="40382"/>
                  <a:pt x="971" y="34286"/>
                </a:cubicBezTo>
                <a:cubicBezTo>
                  <a:pt x="441" y="33005"/>
                  <a:pt x="161" y="31688"/>
                  <a:pt x="107" y="30389"/>
                </a:cubicBezTo>
                <a:lnTo>
                  <a:pt x="77" y="29542"/>
                </a:lnTo>
                <a:cubicBezTo>
                  <a:pt x="77" y="29542"/>
                  <a:pt x="60" y="29137"/>
                  <a:pt x="36" y="28428"/>
                </a:cubicBezTo>
                <a:cubicBezTo>
                  <a:pt x="24" y="28077"/>
                  <a:pt x="6" y="27642"/>
                  <a:pt x="0" y="27165"/>
                </a:cubicBezTo>
                <a:cubicBezTo>
                  <a:pt x="12" y="26694"/>
                  <a:pt x="18" y="26158"/>
                  <a:pt x="30" y="25580"/>
                </a:cubicBezTo>
                <a:cubicBezTo>
                  <a:pt x="30" y="24996"/>
                  <a:pt x="89" y="24400"/>
                  <a:pt x="131" y="23750"/>
                </a:cubicBezTo>
                <a:cubicBezTo>
                  <a:pt x="167" y="23101"/>
                  <a:pt x="238" y="22445"/>
                  <a:pt x="316" y="21766"/>
                </a:cubicBezTo>
                <a:cubicBezTo>
                  <a:pt x="465" y="20401"/>
                  <a:pt x="685" y="19001"/>
                  <a:pt x="942" y="17624"/>
                </a:cubicBezTo>
                <a:cubicBezTo>
                  <a:pt x="1198" y="16248"/>
                  <a:pt x="1502" y="14901"/>
                  <a:pt x="1812" y="13656"/>
                </a:cubicBezTo>
                <a:cubicBezTo>
                  <a:pt x="2127" y="12410"/>
                  <a:pt x="2443" y="11266"/>
                  <a:pt x="2741" y="10283"/>
                </a:cubicBezTo>
                <a:cubicBezTo>
                  <a:pt x="3033" y="9300"/>
                  <a:pt x="3301" y="8489"/>
                  <a:pt x="3504" y="7893"/>
                </a:cubicBezTo>
                <a:cubicBezTo>
                  <a:pt x="3611" y="7571"/>
                  <a:pt x="3695" y="7321"/>
                  <a:pt x="3754" y="7148"/>
                </a:cubicBezTo>
                <a:cubicBezTo>
                  <a:pt x="3820" y="6940"/>
                  <a:pt x="3838" y="6922"/>
                  <a:pt x="3838" y="6910"/>
                </a:cubicBezTo>
                <a:cubicBezTo>
                  <a:pt x="4863" y="2208"/>
                  <a:pt x="9660" y="-801"/>
                  <a:pt x="14546" y="188"/>
                </a:cubicBezTo>
                <a:cubicBezTo>
                  <a:pt x="19432" y="1177"/>
                  <a:pt x="22561" y="5784"/>
                  <a:pt x="21536" y="10485"/>
                </a:cubicBezTo>
                <a:close/>
              </a:path>
            </a:pathLst>
          </a:custGeom>
          <a:solidFill>
            <a:srgbClr val="E9AC8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82" name="Freeform: Shape 2581">
            <a:extLst>
              <a:ext uri="{FF2B5EF4-FFF2-40B4-BE49-F238E27FC236}">
                <a16:creationId xmlns:a16="http://schemas.microsoft.com/office/drawing/2014/main" id="{1DCFB8FB-BB5E-6DC0-0BDA-8416FCAC754A}"/>
              </a:ext>
            </a:extLst>
          </p:cNvPr>
          <p:cNvSpPr/>
          <p:nvPr/>
        </p:nvSpPr>
        <p:spPr>
          <a:xfrm>
            <a:off x="4285467" y="3672848"/>
            <a:ext cx="53329" cy="62052"/>
          </a:xfrm>
          <a:custGeom>
            <a:avLst/>
            <a:gdLst>
              <a:gd name="connsiteX0" fmla="*/ 33201 w 53329"/>
              <a:gd name="connsiteY0" fmla="*/ 62046 h 62052"/>
              <a:gd name="connsiteX1" fmla="*/ 45745 w 53329"/>
              <a:gd name="connsiteY1" fmla="*/ 50331 h 62052"/>
              <a:gd name="connsiteX2" fmla="*/ 43856 w 53329"/>
              <a:gd name="connsiteY2" fmla="*/ 6073 h 62052"/>
              <a:gd name="connsiteX3" fmla="*/ 7625 w 53329"/>
              <a:gd name="connsiteY3" fmla="*/ 3808 h 62052"/>
              <a:gd name="connsiteX4" fmla="*/ 2000 w 53329"/>
              <a:gd name="connsiteY4" fmla="*/ 20732 h 62052"/>
              <a:gd name="connsiteX5" fmla="*/ 28565 w 53329"/>
              <a:gd name="connsiteY5" fmla="*/ 27513 h 62052"/>
              <a:gd name="connsiteX6" fmla="*/ 29977 w 53329"/>
              <a:gd name="connsiteY6" fmla="*/ 42268 h 62052"/>
              <a:gd name="connsiteX7" fmla="*/ 39607 w 53329"/>
              <a:gd name="connsiteY7" fmla="*/ 40570 h 62052"/>
              <a:gd name="connsiteX8" fmla="*/ 34155 w 53329"/>
              <a:gd name="connsiteY8" fmla="*/ 50617 h 62052"/>
              <a:gd name="connsiteX9" fmla="*/ 33201 w 53329"/>
              <a:gd name="connsiteY9" fmla="*/ 62052 h 62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3329" h="62052">
                <a:moveTo>
                  <a:pt x="33201" y="62046"/>
                </a:moveTo>
                <a:cubicBezTo>
                  <a:pt x="33201" y="62046"/>
                  <a:pt x="36991" y="62708"/>
                  <a:pt x="45745" y="50331"/>
                </a:cubicBezTo>
                <a:cubicBezTo>
                  <a:pt x="54499" y="37954"/>
                  <a:pt x="57824" y="14386"/>
                  <a:pt x="43856" y="6073"/>
                </a:cubicBezTo>
                <a:cubicBezTo>
                  <a:pt x="31634" y="-1197"/>
                  <a:pt x="20860" y="-1924"/>
                  <a:pt x="7625" y="3808"/>
                </a:cubicBezTo>
                <a:cubicBezTo>
                  <a:pt x="-5163" y="9350"/>
                  <a:pt x="2000" y="20732"/>
                  <a:pt x="2000" y="20732"/>
                </a:cubicBezTo>
                <a:cubicBezTo>
                  <a:pt x="2000" y="20732"/>
                  <a:pt x="26217" y="22931"/>
                  <a:pt x="28565" y="27513"/>
                </a:cubicBezTo>
                <a:cubicBezTo>
                  <a:pt x="30913" y="32090"/>
                  <a:pt x="29977" y="42268"/>
                  <a:pt x="29977" y="42268"/>
                </a:cubicBezTo>
                <a:cubicBezTo>
                  <a:pt x="29977" y="42268"/>
                  <a:pt x="38725" y="33091"/>
                  <a:pt x="39607" y="40570"/>
                </a:cubicBezTo>
                <a:cubicBezTo>
                  <a:pt x="40495" y="48048"/>
                  <a:pt x="36872" y="51820"/>
                  <a:pt x="34155" y="50617"/>
                </a:cubicBezTo>
                <a:lnTo>
                  <a:pt x="33201" y="62052"/>
                </a:lnTo>
                <a:close/>
              </a:path>
            </a:pathLst>
          </a:custGeom>
          <a:solidFill>
            <a:srgbClr val="0E2E4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83" name="Freeform: Shape 2582">
            <a:extLst>
              <a:ext uri="{FF2B5EF4-FFF2-40B4-BE49-F238E27FC236}">
                <a16:creationId xmlns:a16="http://schemas.microsoft.com/office/drawing/2014/main" id="{4C905E81-A235-6B95-C5E1-018119CF88D2}"/>
              </a:ext>
            </a:extLst>
          </p:cNvPr>
          <p:cNvSpPr/>
          <p:nvPr/>
        </p:nvSpPr>
        <p:spPr>
          <a:xfrm>
            <a:off x="4326806" y="3681892"/>
            <a:ext cx="22051" cy="32945"/>
          </a:xfrm>
          <a:custGeom>
            <a:avLst/>
            <a:gdLst>
              <a:gd name="connsiteX0" fmla="*/ 2005 w 22051"/>
              <a:gd name="connsiteY0" fmla="*/ 3423 h 32945"/>
              <a:gd name="connsiteX1" fmla="*/ 19667 w 22051"/>
              <a:gd name="connsiteY1" fmla="*/ 4108 h 32945"/>
              <a:gd name="connsiteX2" fmla="*/ 7982 w 22051"/>
              <a:gd name="connsiteY2" fmla="*/ 32009 h 32945"/>
              <a:gd name="connsiteX3" fmla="*/ 2005 w 22051"/>
              <a:gd name="connsiteY3" fmla="*/ 3423 h 32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51" h="32945">
                <a:moveTo>
                  <a:pt x="2005" y="3423"/>
                </a:moveTo>
                <a:cubicBezTo>
                  <a:pt x="2005" y="3423"/>
                  <a:pt x="13154" y="-4717"/>
                  <a:pt x="19667" y="4108"/>
                </a:cubicBezTo>
                <a:cubicBezTo>
                  <a:pt x="26181" y="12934"/>
                  <a:pt x="18374" y="38087"/>
                  <a:pt x="7982" y="32009"/>
                </a:cubicBezTo>
                <a:cubicBezTo>
                  <a:pt x="-5301" y="24238"/>
                  <a:pt x="2005" y="3423"/>
                  <a:pt x="2005" y="3423"/>
                </a:cubicBezTo>
                <a:close/>
              </a:path>
            </a:pathLst>
          </a:custGeom>
          <a:solidFill>
            <a:srgbClr val="0E2E4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84" name="Freeform: Shape 2583">
            <a:extLst>
              <a:ext uri="{FF2B5EF4-FFF2-40B4-BE49-F238E27FC236}">
                <a16:creationId xmlns:a16="http://schemas.microsoft.com/office/drawing/2014/main" id="{C55BDF55-490C-D814-301E-7F0CBCD250F7}"/>
              </a:ext>
            </a:extLst>
          </p:cNvPr>
          <p:cNvSpPr/>
          <p:nvPr/>
        </p:nvSpPr>
        <p:spPr>
          <a:xfrm>
            <a:off x="4153363" y="3651146"/>
            <a:ext cx="35139" cy="43797"/>
          </a:xfrm>
          <a:custGeom>
            <a:avLst/>
            <a:gdLst>
              <a:gd name="connsiteX0" fmla="*/ 34820 w 35139"/>
              <a:gd name="connsiteY0" fmla="*/ 35760 h 43797"/>
              <a:gd name="connsiteX1" fmla="*/ 27299 w 35139"/>
              <a:gd name="connsiteY1" fmla="*/ 16167 h 43797"/>
              <a:gd name="connsiteX2" fmla="*/ 1425 w 35139"/>
              <a:gd name="connsiteY2" fmla="*/ 0 h 43797"/>
              <a:gd name="connsiteX3" fmla="*/ 1103 w 35139"/>
              <a:gd name="connsiteY3" fmla="*/ 4380 h 43797"/>
              <a:gd name="connsiteX4" fmla="*/ 12098 w 35139"/>
              <a:gd name="connsiteY4" fmla="*/ 11650 h 43797"/>
              <a:gd name="connsiteX5" fmla="*/ 7736 w 35139"/>
              <a:gd name="connsiteY5" fmla="*/ 23818 h 43797"/>
              <a:gd name="connsiteX6" fmla="*/ 12348 w 35139"/>
              <a:gd name="connsiteY6" fmla="*/ 32173 h 43797"/>
              <a:gd name="connsiteX7" fmla="*/ 15345 w 35139"/>
              <a:gd name="connsiteY7" fmla="*/ 31464 h 43797"/>
              <a:gd name="connsiteX8" fmla="*/ 27907 w 35139"/>
              <a:gd name="connsiteY8" fmla="*/ 43763 h 43797"/>
              <a:gd name="connsiteX9" fmla="*/ 27907 w 35139"/>
              <a:gd name="connsiteY9" fmla="*/ 43763 h 43797"/>
              <a:gd name="connsiteX10" fmla="*/ 34820 w 35139"/>
              <a:gd name="connsiteY10" fmla="*/ 35760 h 43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139" h="43797">
                <a:moveTo>
                  <a:pt x="34820" y="35760"/>
                </a:moveTo>
                <a:cubicBezTo>
                  <a:pt x="34820" y="35760"/>
                  <a:pt x="30565" y="20201"/>
                  <a:pt x="27299" y="16167"/>
                </a:cubicBezTo>
                <a:cubicBezTo>
                  <a:pt x="22413" y="10130"/>
                  <a:pt x="1425" y="0"/>
                  <a:pt x="1425" y="0"/>
                </a:cubicBezTo>
                <a:cubicBezTo>
                  <a:pt x="1425" y="0"/>
                  <a:pt x="-1555" y="2390"/>
                  <a:pt x="1103" y="4380"/>
                </a:cubicBezTo>
                <a:lnTo>
                  <a:pt x="12098" y="11650"/>
                </a:lnTo>
                <a:cubicBezTo>
                  <a:pt x="12098" y="11650"/>
                  <a:pt x="8463" y="22126"/>
                  <a:pt x="7736" y="23818"/>
                </a:cubicBezTo>
                <a:cubicBezTo>
                  <a:pt x="7003" y="25511"/>
                  <a:pt x="12348" y="32173"/>
                  <a:pt x="12348" y="32173"/>
                </a:cubicBezTo>
                <a:cubicBezTo>
                  <a:pt x="12348" y="32173"/>
                  <a:pt x="14225" y="32149"/>
                  <a:pt x="15345" y="31464"/>
                </a:cubicBezTo>
                <a:cubicBezTo>
                  <a:pt x="15345" y="31464"/>
                  <a:pt x="18140" y="44556"/>
                  <a:pt x="27907" y="43763"/>
                </a:cubicBezTo>
                <a:lnTo>
                  <a:pt x="27907" y="43763"/>
                </a:lnTo>
                <a:cubicBezTo>
                  <a:pt x="32692" y="43972"/>
                  <a:pt x="36250" y="39848"/>
                  <a:pt x="34820" y="35760"/>
                </a:cubicBezTo>
                <a:close/>
              </a:path>
            </a:pathLst>
          </a:custGeom>
          <a:solidFill>
            <a:srgbClr val="E9AC8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85" name="Freeform: Shape 2584">
            <a:extLst>
              <a:ext uri="{FF2B5EF4-FFF2-40B4-BE49-F238E27FC236}">
                <a16:creationId xmlns:a16="http://schemas.microsoft.com/office/drawing/2014/main" id="{EAF88F89-29AB-0A08-D1F2-C2D6AD9298F2}"/>
              </a:ext>
            </a:extLst>
          </p:cNvPr>
          <p:cNvSpPr/>
          <p:nvPr/>
        </p:nvSpPr>
        <p:spPr>
          <a:xfrm>
            <a:off x="4310635" y="3746056"/>
            <a:ext cx="20242" cy="85822"/>
          </a:xfrm>
          <a:custGeom>
            <a:avLst/>
            <a:gdLst>
              <a:gd name="connsiteX0" fmla="*/ 20243 w 20242"/>
              <a:gd name="connsiteY0" fmla="*/ 9612 h 85822"/>
              <a:gd name="connsiteX1" fmla="*/ 6144 w 20242"/>
              <a:gd name="connsiteY1" fmla="*/ 0 h 85822"/>
              <a:gd name="connsiteX2" fmla="*/ 0 w 20242"/>
              <a:gd name="connsiteY2" fmla="*/ 85822 h 85822"/>
              <a:gd name="connsiteX3" fmla="*/ 19188 w 20242"/>
              <a:gd name="connsiteY3" fmla="*/ 36976 h 85822"/>
              <a:gd name="connsiteX4" fmla="*/ 13616 w 20242"/>
              <a:gd name="connsiteY4" fmla="*/ 21631 h 85822"/>
              <a:gd name="connsiteX5" fmla="*/ 20243 w 20242"/>
              <a:gd name="connsiteY5" fmla="*/ 9606 h 85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242" h="85822">
                <a:moveTo>
                  <a:pt x="20243" y="9612"/>
                </a:moveTo>
                <a:lnTo>
                  <a:pt x="6144" y="0"/>
                </a:lnTo>
                <a:cubicBezTo>
                  <a:pt x="6144" y="0"/>
                  <a:pt x="3289" y="63398"/>
                  <a:pt x="0" y="85822"/>
                </a:cubicBezTo>
                <a:lnTo>
                  <a:pt x="19188" y="36976"/>
                </a:lnTo>
                <a:lnTo>
                  <a:pt x="13616" y="21631"/>
                </a:lnTo>
                <a:cubicBezTo>
                  <a:pt x="13616" y="21631"/>
                  <a:pt x="16447" y="14612"/>
                  <a:pt x="20243" y="9606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86" name="Freeform: Shape 2585">
            <a:extLst>
              <a:ext uri="{FF2B5EF4-FFF2-40B4-BE49-F238E27FC236}">
                <a16:creationId xmlns:a16="http://schemas.microsoft.com/office/drawing/2014/main" id="{D9B5C5AE-D1DE-7924-EC44-3AEAA6CF3C71}"/>
              </a:ext>
            </a:extLst>
          </p:cNvPr>
          <p:cNvSpPr/>
          <p:nvPr/>
        </p:nvSpPr>
        <p:spPr>
          <a:xfrm>
            <a:off x="4275161" y="3747349"/>
            <a:ext cx="18832" cy="78057"/>
          </a:xfrm>
          <a:custGeom>
            <a:avLst/>
            <a:gdLst>
              <a:gd name="connsiteX0" fmla="*/ 9618 w 18832"/>
              <a:gd name="connsiteY0" fmla="*/ 5333 h 78057"/>
              <a:gd name="connsiteX1" fmla="*/ 18831 w 18832"/>
              <a:gd name="connsiteY1" fmla="*/ 0 h 78057"/>
              <a:gd name="connsiteX2" fmla="*/ 4565 w 18832"/>
              <a:gd name="connsiteY2" fmla="*/ 78058 h 78057"/>
              <a:gd name="connsiteX3" fmla="*/ 0 w 18832"/>
              <a:gd name="connsiteY3" fmla="*/ 25928 h 78057"/>
              <a:gd name="connsiteX4" fmla="*/ 10440 w 18832"/>
              <a:gd name="connsiteY4" fmla="*/ 16316 h 78057"/>
              <a:gd name="connsiteX5" fmla="*/ 9618 w 18832"/>
              <a:gd name="connsiteY5" fmla="*/ 5327 h 78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832" h="78057">
                <a:moveTo>
                  <a:pt x="9618" y="5333"/>
                </a:moveTo>
                <a:lnTo>
                  <a:pt x="18831" y="0"/>
                </a:lnTo>
                <a:cubicBezTo>
                  <a:pt x="18831" y="0"/>
                  <a:pt x="19313" y="13902"/>
                  <a:pt x="4565" y="78058"/>
                </a:cubicBezTo>
                <a:lnTo>
                  <a:pt x="0" y="25928"/>
                </a:lnTo>
                <a:lnTo>
                  <a:pt x="10440" y="16316"/>
                </a:lnTo>
                <a:lnTo>
                  <a:pt x="9618" y="5327"/>
                </a:ln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87" name="Freeform: Shape 2586">
            <a:extLst>
              <a:ext uri="{FF2B5EF4-FFF2-40B4-BE49-F238E27FC236}">
                <a16:creationId xmlns:a16="http://schemas.microsoft.com/office/drawing/2014/main" id="{3337FB8D-633F-ACE8-CC15-BDEBFFCEA1B9}"/>
              </a:ext>
            </a:extLst>
          </p:cNvPr>
          <p:cNvSpPr/>
          <p:nvPr/>
        </p:nvSpPr>
        <p:spPr>
          <a:xfrm>
            <a:off x="4253799" y="3833750"/>
            <a:ext cx="73736" cy="44638"/>
          </a:xfrm>
          <a:custGeom>
            <a:avLst/>
            <a:gdLst>
              <a:gd name="connsiteX0" fmla="*/ 21338 w 73736"/>
              <a:gd name="connsiteY0" fmla="*/ 42588 h 44638"/>
              <a:gd name="connsiteX1" fmla="*/ 69052 w 73736"/>
              <a:gd name="connsiteY1" fmla="*/ 44638 h 44638"/>
              <a:gd name="connsiteX2" fmla="*/ 73623 w 73736"/>
              <a:gd name="connsiteY2" fmla="*/ 39406 h 44638"/>
              <a:gd name="connsiteX3" fmla="*/ 54256 w 73736"/>
              <a:gd name="connsiteY3" fmla="*/ 3545 h 44638"/>
              <a:gd name="connsiteX4" fmla="*/ 47874 w 73736"/>
              <a:gd name="connsiteY4" fmla="*/ 148 h 44638"/>
              <a:gd name="connsiteX5" fmla="*/ 3127 w 73736"/>
              <a:gd name="connsiteY5" fmla="*/ 1000 h 44638"/>
              <a:gd name="connsiteX6" fmla="*/ 118 w 73736"/>
              <a:gd name="connsiteY6" fmla="*/ 5899 h 44638"/>
              <a:gd name="connsiteX7" fmla="*/ 16059 w 73736"/>
              <a:gd name="connsiteY7" fmla="*/ 39073 h 44638"/>
              <a:gd name="connsiteX8" fmla="*/ 21332 w 73736"/>
              <a:gd name="connsiteY8" fmla="*/ 42594 h 4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736" h="44638">
                <a:moveTo>
                  <a:pt x="21338" y="42588"/>
                </a:moveTo>
                <a:lnTo>
                  <a:pt x="69052" y="44638"/>
                </a:lnTo>
                <a:cubicBezTo>
                  <a:pt x="72187" y="44340"/>
                  <a:pt x="74255" y="41998"/>
                  <a:pt x="73623" y="39406"/>
                </a:cubicBezTo>
                <a:lnTo>
                  <a:pt x="54256" y="3545"/>
                </a:lnTo>
                <a:cubicBezTo>
                  <a:pt x="53642" y="1018"/>
                  <a:pt x="50764" y="-496"/>
                  <a:pt x="47874" y="148"/>
                </a:cubicBezTo>
                <a:lnTo>
                  <a:pt x="3127" y="1000"/>
                </a:lnTo>
                <a:cubicBezTo>
                  <a:pt x="923" y="1536"/>
                  <a:pt x="-418" y="3729"/>
                  <a:pt x="118" y="5899"/>
                </a:cubicBezTo>
                <a:lnTo>
                  <a:pt x="16059" y="39073"/>
                </a:lnTo>
                <a:cubicBezTo>
                  <a:pt x="16601" y="41289"/>
                  <a:pt x="18949" y="42869"/>
                  <a:pt x="21332" y="42594"/>
                </a:cubicBezTo>
                <a:close/>
              </a:path>
            </a:pathLst>
          </a:custGeom>
          <a:solidFill>
            <a:srgbClr val="0E2E4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88" name="Freeform: Shape 2587">
            <a:extLst>
              <a:ext uri="{FF2B5EF4-FFF2-40B4-BE49-F238E27FC236}">
                <a16:creationId xmlns:a16="http://schemas.microsoft.com/office/drawing/2014/main" id="{5157C297-728C-4EAB-26C7-04742648476A}"/>
              </a:ext>
            </a:extLst>
          </p:cNvPr>
          <p:cNvSpPr/>
          <p:nvPr/>
        </p:nvSpPr>
        <p:spPr>
          <a:xfrm>
            <a:off x="4314712" y="3849731"/>
            <a:ext cx="46" cy="65"/>
          </a:xfrm>
          <a:custGeom>
            <a:avLst/>
            <a:gdLst>
              <a:gd name="connsiteX0" fmla="*/ 11 w 46"/>
              <a:gd name="connsiteY0" fmla="*/ 0 h 65"/>
              <a:gd name="connsiteX1" fmla="*/ 47 w 46"/>
              <a:gd name="connsiteY1" fmla="*/ 66 h 65"/>
              <a:gd name="connsiteX2" fmla="*/ 11 w 46"/>
              <a:gd name="connsiteY2" fmla="*/ 0 h 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" h="65">
                <a:moveTo>
                  <a:pt x="11" y="0"/>
                </a:moveTo>
                <a:lnTo>
                  <a:pt x="47" y="66"/>
                </a:lnTo>
                <a:cubicBezTo>
                  <a:pt x="-30" y="30"/>
                  <a:pt x="11" y="0"/>
                  <a:pt x="11" y="0"/>
                </a:cubicBezTo>
                <a:close/>
              </a:path>
            </a:pathLst>
          </a:custGeom>
          <a:solidFill>
            <a:srgbClr val="FFBC9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89" name="Freeform: Shape 2588">
            <a:extLst>
              <a:ext uri="{FF2B5EF4-FFF2-40B4-BE49-F238E27FC236}">
                <a16:creationId xmlns:a16="http://schemas.microsoft.com/office/drawing/2014/main" id="{2D93B325-773D-BB18-960F-BFC4564C7A48}"/>
              </a:ext>
            </a:extLst>
          </p:cNvPr>
          <p:cNvSpPr/>
          <p:nvPr/>
        </p:nvSpPr>
        <p:spPr>
          <a:xfrm>
            <a:off x="4293631" y="3849803"/>
            <a:ext cx="42280" cy="24352"/>
          </a:xfrm>
          <a:custGeom>
            <a:avLst/>
            <a:gdLst>
              <a:gd name="connsiteX0" fmla="*/ 4454 w 42280"/>
              <a:gd name="connsiteY0" fmla="*/ 12669 h 24352"/>
              <a:gd name="connsiteX1" fmla="*/ 12934 w 42280"/>
              <a:gd name="connsiteY1" fmla="*/ 15303 h 24352"/>
              <a:gd name="connsiteX2" fmla="*/ 1069 w 42280"/>
              <a:gd name="connsiteY2" fmla="*/ 10583 h 24352"/>
              <a:gd name="connsiteX3" fmla="*/ 1605 w 42280"/>
              <a:gd name="connsiteY3" fmla="*/ 7699 h 24352"/>
              <a:gd name="connsiteX4" fmla="*/ 1671 w 42280"/>
              <a:gd name="connsiteY4" fmla="*/ 7699 h 24352"/>
              <a:gd name="connsiteX5" fmla="*/ 6039 w 42280"/>
              <a:gd name="connsiteY5" fmla="*/ 8837 h 24352"/>
              <a:gd name="connsiteX6" fmla="*/ 908 w 42280"/>
              <a:gd name="connsiteY6" fmla="*/ 6972 h 24352"/>
              <a:gd name="connsiteX7" fmla="*/ 1331 w 42280"/>
              <a:gd name="connsiteY7" fmla="*/ 4302 h 24352"/>
              <a:gd name="connsiteX8" fmla="*/ 1468 w 42280"/>
              <a:gd name="connsiteY8" fmla="*/ 4302 h 24352"/>
              <a:gd name="connsiteX9" fmla="*/ 4811 w 42280"/>
              <a:gd name="connsiteY9" fmla="*/ 5065 h 24352"/>
              <a:gd name="connsiteX10" fmla="*/ 3006 w 42280"/>
              <a:gd name="connsiteY10" fmla="*/ 3951 h 24352"/>
              <a:gd name="connsiteX11" fmla="*/ 3232 w 42280"/>
              <a:gd name="connsiteY11" fmla="*/ 1984 h 24352"/>
              <a:gd name="connsiteX12" fmla="*/ 4752 w 42280"/>
              <a:gd name="connsiteY12" fmla="*/ 1722 h 24352"/>
              <a:gd name="connsiteX13" fmla="*/ 17355 w 42280"/>
              <a:gd name="connsiteY13" fmla="*/ 5488 h 24352"/>
              <a:gd name="connsiteX14" fmla="*/ 23463 w 42280"/>
              <a:gd name="connsiteY14" fmla="*/ 4529 h 24352"/>
              <a:gd name="connsiteX15" fmla="*/ 21121 w 42280"/>
              <a:gd name="connsiteY15" fmla="*/ 0 h 24352"/>
              <a:gd name="connsiteX16" fmla="*/ 24447 w 42280"/>
              <a:gd name="connsiteY16" fmla="*/ 209 h 24352"/>
              <a:gd name="connsiteX17" fmla="*/ 30280 w 42280"/>
              <a:gd name="connsiteY17" fmla="*/ 3546 h 24352"/>
              <a:gd name="connsiteX18" fmla="*/ 40226 w 42280"/>
              <a:gd name="connsiteY18" fmla="*/ 12985 h 24352"/>
              <a:gd name="connsiteX19" fmla="*/ 41907 w 42280"/>
              <a:gd name="connsiteY19" fmla="*/ 19951 h 24352"/>
              <a:gd name="connsiteX20" fmla="*/ 41907 w 42280"/>
              <a:gd name="connsiteY20" fmla="*/ 19951 h 24352"/>
              <a:gd name="connsiteX21" fmla="*/ 34374 w 42280"/>
              <a:gd name="connsiteY21" fmla="*/ 24218 h 24352"/>
              <a:gd name="connsiteX22" fmla="*/ 16074 w 42280"/>
              <a:gd name="connsiteY22" fmla="*/ 20487 h 24352"/>
              <a:gd name="connsiteX23" fmla="*/ 3804 w 42280"/>
              <a:gd name="connsiteY23" fmla="*/ 15005 h 24352"/>
              <a:gd name="connsiteX24" fmla="*/ 4400 w 42280"/>
              <a:gd name="connsiteY24" fmla="*/ 12657 h 24352"/>
              <a:gd name="connsiteX25" fmla="*/ 4448 w 42280"/>
              <a:gd name="connsiteY25" fmla="*/ 12663 h 24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2280" h="24352">
                <a:moveTo>
                  <a:pt x="4454" y="12669"/>
                </a:moveTo>
                <a:cubicBezTo>
                  <a:pt x="6075" y="12901"/>
                  <a:pt x="12934" y="15303"/>
                  <a:pt x="12934" y="15303"/>
                </a:cubicBezTo>
                <a:lnTo>
                  <a:pt x="1069" y="10583"/>
                </a:lnTo>
                <a:cubicBezTo>
                  <a:pt x="-456" y="9975"/>
                  <a:pt x="-33" y="7669"/>
                  <a:pt x="1605" y="7699"/>
                </a:cubicBezTo>
                <a:cubicBezTo>
                  <a:pt x="1629" y="7699"/>
                  <a:pt x="1647" y="7699"/>
                  <a:pt x="1671" y="7699"/>
                </a:cubicBezTo>
                <a:cubicBezTo>
                  <a:pt x="2464" y="7729"/>
                  <a:pt x="4174" y="8223"/>
                  <a:pt x="6039" y="8837"/>
                </a:cubicBezTo>
                <a:lnTo>
                  <a:pt x="908" y="6972"/>
                </a:lnTo>
                <a:cubicBezTo>
                  <a:pt x="-516" y="6454"/>
                  <a:pt x="-182" y="4332"/>
                  <a:pt x="1331" y="4302"/>
                </a:cubicBezTo>
                <a:cubicBezTo>
                  <a:pt x="1379" y="4302"/>
                  <a:pt x="1421" y="4302"/>
                  <a:pt x="1468" y="4302"/>
                </a:cubicBezTo>
                <a:lnTo>
                  <a:pt x="4811" y="5065"/>
                </a:lnTo>
                <a:lnTo>
                  <a:pt x="3006" y="3951"/>
                </a:lnTo>
                <a:cubicBezTo>
                  <a:pt x="2219" y="3462"/>
                  <a:pt x="2356" y="2288"/>
                  <a:pt x="3232" y="1984"/>
                </a:cubicBezTo>
                <a:cubicBezTo>
                  <a:pt x="3685" y="1829"/>
                  <a:pt x="4198" y="1716"/>
                  <a:pt x="4752" y="1722"/>
                </a:cubicBezTo>
                <a:cubicBezTo>
                  <a:pt x="6635" y="1734"/>
                  <a:pt x="14638" y="5065"/>
                  <a:pt x="17355" y="5488"/>
                </a:cubicBezTo>
                <a:cubicBezTo>
                  <a:pt x="19506" y="5822"/>
                  <a:pt x="23463" y="4529"/>
                  <a:pt x="23463" y="4529"/>
                </a:cubicBezTo>
                <a:lnTo>
                  <a:pt x="21121" y="0"/>
                </a:lnTo>
                <a:cubicBezTo>
                  <a:pt x="21276" y="77"/>
                  <a:pt x="21926" y="197"/>
                  <a:pt x="24447" y="209"/>
                </a:cubicBezTo>
                <a:cubicBezTo>
                  <a:pt x="28213" y="232"/>
                  <a:pt x="30280" y="3546"/>
                  <a:pt x="30280" y="3546"/>
                </a:cubicBezTo>
                <a:lnTo>
                  <a:pt x="40226" y="12985"/>
                </a:lnTo>
                <a:cubicBezTo>
                  <a:pt x="42109" y="14772"/>
                  <a:pt x="42771" y="17502"/>
                  <a:pt x="41907" y="19951"/>
                </a:cubicBezTo>
                <a:lnTo>
                  <a:pt x="41907" y="19951"/>
                </a:lnTo>
                <a:cubicBezTo>
                  <a:pt x="40816" y="23056"/>
                  <a:pt x="37598" y="24879"/>
                  <a:pt x="34374" y="24218"/>
                </a:cubicBezTo>
                <a:cubicBezTo>
                  <a:pt x="34374" y="24218"/>
                  <a:pt x="20520" y="21911"/>
                  <a:pt x="16074" y="20487"/>
                </a:cubicBezTo>
                <a:cubicBezTo>
                  <a:pt x="12874" y="19462"/>
                  <a:pt x="3804" y="15005"/>
                  <a:pt x="3804" y="15005"/>
                </a:cubicBezTo>
                <a:cubicBezTo>
                  <a:pt x="2547" y="14445"/>
                  <a:pt x="3030" y="12496"/>
                  <a:pt x="4400" y="12657"/>
                </a:cubicBezTo>
                <a:cubicBezTo>
                  <a:pt x="4418" y="12657"/>
                  <a:pt x="4430" y="12657"/>
                  <a:pt x="4448" y="12663"/>
                </a:cubicBezTo>
                <a:close/>
              </a:path>
            </a:pathLst>
          </a:custGeom>
          <a:solidFill>
            <a:srgbClr val="FFBC9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90" name="Freeform: Shape 2589">
            <a:extLst>
              <a:ext uri="{FF2B5EF4-FFF2-40B4-BE49-F238E27FC236}">
                <a16:creationId xmlns:a16="http://schemas.microsoft.com/office/drawing/2014/main" id="{A76413B0-4C6E-0555-D6DC-C06448A6ACC5}"/>
              </a:ext>
            </a:extLst>
          </p:cNvPr>
          <p:cNvSpPr/>
          <p:nvPr/>
        </p:nvSpPr>
        <p:spPr>
          <a:xfrm>
            <a:off x="3999441" y="3965284"/>
            <a:ext cx="74351" cy="66217"/>
          </a:xfrm>
          <a:custGeom>
            <a:avLst/>
            <a:gdLst>
              <a:gd name="connsiteX0" fmla="*/ 69703 w 74351"/>
              <a:gd name="connsiteY0" fmla="*/ 66217 h 66217"/>
              <a:gd name="connsiteX1" fmla="*/ 4648 w 74351"/>
              <a:gd name="connsiteY1" fmla="*/ 66217 h 66217"/>
              <a:gd name="connsiteX2" fmla="*/ 0 w 74351"/>
              <a:gd name="connsiteY2" fmla="*/ 61569 h 66217"/>
              <a:gd name="connsiteX3" fmla="*/ 0 w 74351"/>
              <a:gd name="connsiteY3" fmla="*/ 4648 h 66217"/>
              <a:gd name="connsiteX4" fmla="*/ 4648 w 74351"/>
              <a:gd name="connsiteY4" fmla="*/ 0 h 66217"/>
              <a:gd name="connsiteX5" fmla="*/ 9296 w 74351"/>
              <a:gd name="connsiteY5" fmla="*/ 4648 h 66217"/>
              <a:gd name="connsiteX6" fmla="*/ 9296 w 74351"/>
              <a:gd name="connsiteY6" fmla="*/ 56921 h 66217"/>
              <a:gd name="connsiteX7" fmla="*/ 69703 w 74351"/>
              <a:gd name="connsiteY7" fmla="*/ 56921 h 66217"/>
              <a:gd name="connsiteX8" fmla="*/ 74351 w 74351"/>
              <a:gd name="connsiteY8" fmla="*/ 61569 h 66217"/>
              <a:gd name="connsiteX9" fmla="*/ 69703 w 74351"/>
              <a:gd name="connsiteY9" fmla="*/ 66217 h 66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4351" h="66217">
                <a:moveTo>
                  <a:pt x="69703" y="66217"/>
                </a:moveTo>
                <a:lnTo>
                  <a:pt x="4648" y="66217"/>
                </a:lnTo>
                <a:cubicBezTo>
                  <a:pt x="2080" y="66217"/>
                  <a:pt x="0" y="64137"/>
                  <a:pt x="0" y="61569"/>
                </a:cubicBezTo>
                <a:lnTo>
                  <a:pt x="0" y="4648"/>
                </a:lnTo>
                <a:cubicBezTo>
                  <a:pt x="0" y="2080"/>
                  <a:pt x="2080" y="0"/>
                  <a:pt x="4648" y="0"/>
                </a:cubicBezTo>
                <a:cubicBezTo>
                  <a:pt x="7216" y="0"/>
                  <a:pt x="9296" y="2080"/>
                  <a:pt x="9296" y="4648"/>
                </a:cubicBezTo>
                <a:lnTo>
                  <a:pt x="9296" y="56921"/>
                </a:lnTo>
                <a:lnTo>
                  <a:pt x="69703" y="56921"/>
                </a:lnTo>
                <a:cubicBezTo>
                  <a:pt x="72271" y="56921"/>
                  <a:pt x="74351" y="59001"/>
                  <a:pt x="74351" y="61569"/>
                </a:cubicBezTo>
                <a:cubicBezTo>
                  <a:pt x="74351" y="64137"/>
                  <a:pt x="72271" y="66217"/>
                  <a:pt x="69703" y="66217"/>
                </a:cubicBezTo>
                <a:close/>
              </a:path>
            </a:pathLst>
          </a:custGeom>
          <a:solidFill>
            <a:srgbClr val="123D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91" name="Freeform: Shape 2590">
            <a:extLst>
              <a:ext uri="{FF2B5EF4-FFF2-40B4-BE49-F238E27FC236}">
                <a16:creationId xmlns:a16="http://schemas.microsoft.com/office/drawing/2014/main" id="{F6A188DE-B59E-3B0D-C2D4-7E798EF5B99C}"/>
              </a:ext>
            </a:extLst>
          </p:cNvPr>
          <p:cNvSpPr/>
          <p:nvPr/>
        </p:nvSpPr>
        <p:spPr>
          <a:xfrm>
            <a:off x="3994299" y="4014350"/>
            <a:ext cx="21130" cy="21130"/>
          </a:xfrm>
          <a:custGeom>
            <a:avLst/>
            <a:gdLst>
              <a:gd name="connsiteX0" fmla="*/ 21131 w 21130"/>
              <a:gd name="connsiteY0" fmla="*/ 10565 h 21130"/>
              <a:gd name="connsiteX1" fmla="*/ 10565 w 21130"/>
              <a:gd name="connsiteY1" fmla="*/ 21131 h 21130"/>
              <a:gd name="connsiteX2" fmla="*/ 0 w 21130"/>
              <a:gd name="connsiteY2" fmla="*/ 10565 h 21130"/>
              <a:gd name="connsiteX3" fmla="*/ 10565 w 21130"/>
              <a:gd name="connsiteY3" fmla="*/ 0 h 21130"/>
              <a:gd name="connsiteX4" fmla="*/ 21131 w 21130"/>
              <a:gd name="connsiteY4" fmla="*/ 10565 h 21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30" h="21130">
                <a:moveTo>
                  <a:pt x="21131" y="10565"/>
                </a:moveTo>
                <a:cubicBezTo>
                  <a:pt x="21131" y="16401"/>
                  <a:pt x="16401" y="21131"/>
                  <a:pt x="10565" y="21131"/>
                </a:cubicBezTo>
                <a:cubicBezTo>
                  <a:pt x="4730" y="21131"/>
                  <a:pt x="0" y="16401"/>
                  <a:pt x="0" y="10565"/>
                </a:cubicBezTo>
                <a:cubicBezTo>
                  <a:pt x="0" y="4730"/>
                  <a:pt x="4730" y="0"/>
                  <a:pt x="10565" y="0"/>
                </a:cubicBezTo>
                <a:cubicBezTo>
                  <a:pt x="16401" y="0"/>
                  <a:pt x="21131" y="4730"/>
                  <a:pt x="21131" y="10565"/>
                </a:cubicBezTo>
                <a:close/>
              </a:path>
            </a:pathLst>
          </a:custGeom>
          <a:solidFill>
            <a:srgbClr val="123D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92" name="Freeform: Shape 2591">
            <a:extLst>
              <a:ext uri="{FF2B5EF4-FFF2-40B4-BE49-F238E27FC236}">
                <a16:creationId xmlns:a16="http://schemas.microsoft.com/office/drawing/2014/main" id="{04BB9778-74D4-89AC-30E7-75B5FF515164}"/>
              </a:ext>
            </a:extLst>
          </p:cNvPr>
          <p:cNvSpPr/>
          <p:nvPr/>
        </p:nvSpPr>
        <p:spPr>
          <a:xfrm>
            <a:off x="3988822" y="3945196"/>
            <a:ext cx="29974" cy="28806"/>
          </a:xfrm>
          <a:custGeom>
            <a:avLst/>
            <a:gdLst>
              <a:gd name="connsiteX0" fmla="*/ 20779 w 29974"/>
              <a:gd name="connsiteY0" fmla="*/ 0 h 28806"/>
              <a:gd name="connsiteX1" fmla="*/ 20779 w 29974"/>
              <a:gd name="connsiteY1" fmla="*/ 12371 h 28806"/>
              <a:gd name="connsiteX2" fmla="*/ 14981 w 29974"/>
              <a:gd name="connsiteY2" fmla="*/ 18169 h 28806"/>
              <a:gd name="connsiteX3" fmla="*/ 9183 w 29974"/>
              <a:gd name="connsiteY3" fmla="*/ 12371 h 28806"/>
              <a:gd name="connsiteX4" fmla="*/ 9183 w 29974"/>
              <a:gd name="connsiteY4" fmla="*/ 0 h 28806"/>
              <a:gd name="connsiteX5" fmla="*/ 0 w 29974"/>
              <a:gd name="connsiteY5" fmla="*/ 13819 h 28806"/>
              <a:gd name="connsiteX6" fmla="*/ 14987 w 29974"/>
              <a:gd name="connsiteY6" fmla="*/ 28806 h 28806"/>
              <a:gd name="connsiteX7" fmla="*/ 29974 w 29974"/>
              <a:gd name="connsiteY7" fmla="*/ 13819 h 28806"/>
              <a:gd name="connsiteX8" fmla="*/ 20791 w 29974"/>
              <a:gd name="connsiteY8" fmla="*/ 0 h 28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974" h="28806">
                <a:moveTo>
                  <a:pt x="20779" y="0"/>
                </a:moveTo>
                <a:lnTo>
                  <a:pt x="20779" y="12371"/>
                </a:lnTo>
                <a:cubicBezTo>
                  <a:pt x="20779" y="15577"/>
                  <a:pt x="18181" y="18169"/>
                  <a:pt x="14981" y="18169"/>
                </a:cubicBezTo>
                <a:cubicBezTo>
                  <a:pt x="11781" y="18169"/>
                  <a:pt x="9183" y="15571"/>
                  <a:pt x="9183" y="12371"/>
                </a:cubicBezTo>
                <a:lnTo>
                  <a:pt x="9183" y="0"/>
                </a:lnTo>
                <a:cubicBezTo>
                  <a:pt x="3790" y="2264"/>
                  <a:pt x="0" y="7598"/>
                  <a:pt x="0" y="13819"/>
                </a:cubicBezTo>
                <a:cubicBezTo>
                  <a:pt x="0" y="22096"/>
                  <a:pt x="6710" y="28806"/>
                  <a:pt x="14987" y="28806"/>
                </a:cubicBezTo>
                <a:cubicBezTo>
                  <a:pt x="23264" y="28806"/>
                  <a:pt x="29974" y="22096"/>
                  <a:pt x="29974" y="13819"/>
                </a:cubicBezTo>
                <a:cubicBezTo>
                  <a:pt x="29974" y="7598"/>
                  <a:pt x="26184" y="2264"/>
                  <a:pt x="20791" y="0"/>
                </a:cubicBezTo>
                <a:close/>
              </a:path>
            </a:pathLst>
          </a:custGeom>
          <a:solidFill>
            <a:srgbClr val="123D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93" name="Freeform: Shape 2592">
            <a:extLst>
              <a:ext uri="{FF2B5EF4-FFF2-40B4-BE49-F238E27FC236}">
                <a16:creationId xmlns:a16="http://schemas.microsoft.com/office/drawing/2014/main" id="{C382802E-55BC-0730-7ECC-38F37B9C81CF}"/>
              </a:ext>
            </a:extLst>
          </p:cNvPr>
          <p:cNvSpPr/>
          <p:nvPr/>
        </p:nvSpPr>
        <p:spPr>
          <a:xfrm>
            <a:off x="4056249" y="4156486"/>
            <a:ext cx="19801" cy="64363"/>
          </a:xfrm>
          <a:custGeom>
            <a:avLst/>
            <a:gdLst>
              <a:gd name="connsiteX0" fmla="*/ 9898 w 19801"/>
              <a:gd name="connsiteY0" fmla="*/ 0 h 64363"/>
              <a:gd name="connsiteX1" fmla="*/ 19802 w 19801"/>
              <a:gd name="connsiteY1" fmla="*/ 9904 h 64363"/>
              <a:gd name="connsiteX2" fmla="*/ 19802 w 19801"/>
              <a:gd name="connsiteY2" fmla="*/ 54460 h 64363"/>
              <a:gd name="connsiteX3" fmla="*/ 9898 w 19801"/>
              <a:gd name="connsiteY3" fmla="*/ 64364 h 64363"/>
              <a:gd name="connsiteX4" fmla="*/ 9904 w 19801"/>
              <a:gd name="connsiteY4" fmla="*/ 64364 h 64363"/>
              <a:gd name="connsiteX5" fmla="*/ 0 w 19801"/>
              <a:gd name="connsiteY5" fmla="*/ 54460 h 64363"/>
              <a:gd name="connsiteX6" fmla="*/ 0 w 19801"/>
              <a:gd name="connsiteY6" fmla="*/ 9904 h 64363"/>
              <a:gd name="connsiteX7" fmla="*/ 9904 w 19801"/>
              <a:gd name="connsiteY7" fmla="*/ 0 h 64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01" h="64363">
                <a:moveTo>
                  <a:pt x="9898" y="0"/>
                </a:moveTo>
                <a:cubicBezTo>
                  <a:pt x="15368" y="0"/>
                  <a:pt x="19802" y="4434"/>
                  <a:pt x="19802" y="9904"/>
                </a:cubicBezTo>
                <a:lnTo>
                  <a:pt x="19802" y="54460"/>
                </a:lnTo>
                <a:cubicBezTo>
                  <a:pt x="19802" y="59930"/>
                  <a:pt x="15368" y="64364"/>
                  <a:pt x="9898" y="64364"/>
                </a:cubicBezTo>
                <a:lnTo>
                  <a:pt x="9904" y="64364"/>
                </a:lnTo>
                <a:cubicBezTo>
                  <a:pt x="4434" y="64364"/>
                  <a:pt x="0" y="59930"/>
                  <a:pt x="0" y="54460"/>
                </a:cubicBezTo>
                <a:lnTo>
                  <a:pt x="0" y="9904"/>
                </a:lnTo>
                <a:cubicBezTo>
                  <a:pt x="0" y="4434"/>
                  <a:pt x="4434" y="0"/>
                  <a:pt x="9904" y="0"/>
                </a:cubicBezTo>
                <a:close/>
              </a:path>
            </a:pathLst>
          </a:custGeom>
          <a:solidFill>
            <a:srgbClr val="0E2E4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94" name="Freeform: Shape 2593">
            <a:extLst>
              <a:ext uri="{FF2B5EF4-FFF2-40B4-BE49-F238E27FC236}">
                <a16:creationId xmlns:a16="http://schemas.microsoft.com/office/drawing/2014/main" id="{FAC4001D-E17F-4043-6834-FA17EC6393D8}"/>
              </a:ext>
            </a:extLst>
          </p:cNvPr>
          <p:cNvSpPr/>
          <p:nvPr/>
        </p:nvSpPr>
        <p:spPr>
          <a:xfrm>
            <a:off x="4141654" y="4156486"/>
            <a:ext cx="19801" cy="64363"/>
          </a:xfrm>
          <a:custGeom>
            <a:avLst/>
            <a:gdLst>
              <a:gd name="connsiteX0" fmla="*/ 9898 w 19801"/>
              <a:gd name="connsiteY0" fmla="*/ 0 h 64363"/>
              <a:gd name="connsiteX1" fmla="*/ 19802 w 19801"/>
              <a:gd name="connsiteY1" fmla="*/ 9904 h 64363"/>
              <a:gd name="connsiteX2" fmla="*/ 19802 w 19801"/>
              <a:gd name="connsiteY2" fmla="*/ 54460 h 64363"/>
              <a:gd name="connsiteX3" fmla="*/ 9898 w 19801"/>
              <a:gd name="connsiteY3" fmla="*/ 64364 h 64363"/>
              <a:gd name="connsiteX4" fmla="*/ 9904 w 19801"/>
              <a:gd name="connsiteY4" fmla="*/ 64364 h 64363"/>
              <a:gd name="connsiteX5" fmla="*/ 0 w 19801"/>
              <a:gd name="connsiteY5" fmla="*/ 54460 h 64363"/>
              <a:gd name="connsiteX6" fmla="*/ 0 w 19801"/>
              <a:gd name="connsiteY6" fmla="*/ 9904 h 64363"/>
              <a:gd name="connsiteX7" fmla="*/ 9904 w 19801"/>
              <a:gd name="connsiteY7" fmla="*/ 0 h 64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801" h="64363">
                <a:moveTo>
                  <a:pt x="9898" y="0"/>
                </a:moveTo>
                <a:cubicBezTo>
                  <a:pt x="15368" y="0"/>
                  <a:pt x="19802" y="4434"/>
                  <a:pt x="19802" y="9904"/>
                </a:cubicBezTo>
                <a:lnTo>
                  <a:pt x="19802" y="54460"/>
                </a:lnTo>
                <a:cubicBezTo>
                  <a:pt x="19802" y="59930"/>
                  <a:pt x="15368" y="64364"/>
                  <a:pt x="9898" y="64364"/>
                </a:cubicBezTo>
                <a:lnTo>
                  <a:pt x="9904" y="64364"/>
                </a:lnTo>
                <a:cubicBezTo>
                  <a:pt x="4434" y="64364"/>
                  <a:pt x="0" y="59930"/>
                  <a:pt x="0" y="54460"/>
                </a:cubicBezTo>
                <a:lnTo>
                  <a:pt x="0" y="9904"/>
                </a:lnTo>
                <a:cubicBezTo>
                  <a:pt x="0" y="4434"/>
                  <a:pt x="4434" y="0"/>
                  <a:pt x="9904" y="0"/>
                </a:cubicBezTo>
                <a:close/>
              </a:path>
            </a:pathLst>
          </a:custGeom>
          <a:solidFill>
            <a:srgbClr val="0E2E4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95" name="Freeform: Shape 2594">
            <a:extLst>
              <a:ext uri="{FF2B5EF4-FFF2-40B4-BE49-F238E27FC236}">
                <a16:creationId xmlns:a16="http://schemas.microsoft.com/office/drawing/2014/main" id="{DACD0BF4-0887-CB88-5967-93608CC79AA3}"/>
              </a:ext>
            </a:extLst>
          </p:cNvPr>
          <p:cNvSpPr/>
          <p:nvPr/>
        </p:nvSpPr>
        <p:spPr>
          <a:xfrm>
            <a:off x="4032765" y="4019284"/>
            <a:ext cx="152182" cy="186160"/>
          </a:xfrm>
          <a:custGeom>
            <a:avLst/>
            <a:gdLst>
              <a:gd name="connsiteX0" fmla="*/ 115898 w 152182"/>
              <a:gd name="connsiteY0" fmla="*/ 186161 h 186160"/>
              <a:gd name="connsiteX1" fmla="*/ 36279 w 152182"/>
              <a:gd name="connsiteY1" fmla="*/ 186161 h 186160"/>
              <a:gd name="connsiteX2" fmla="*/ 0 w 152182"/>
              <a:gd name="connsiteY2" fmla="*/ 154530 h 186160"/>
              <a:gd name="connsiteX3" fmla="*/ 0 w 152182"/>
              <a:gd name="connsiteY3" fmla="*/ 109128 h 186160"/>
              <a:gd name="connsiteX4" fmla="*/ 76091 w 152182"/>
              <a:gd name="connsiteY4" fmla="*/ 0 h 186160"/>
              <a:gd name="connsiteX5" fmla="*/ 76091 w 152182"/>
              <a:gd name="connsiteY5" fmla="*/ 0 h 186160"/>
              <a:gd name="connsiteX6" fmla="*/ 152182 w 152182"/>
              <a:gd name="connsiteY6" fmla="*/ 109128 h 186160"/>
              <a:gd name="connsiteX7" fmla="*/ 152182 w 152182"/>
              <a:gd name="connsiteY7" fmla="*/ 154530 h 186160"/>
              <a:gd name="connsiteX8" fmla="*/ 115904 w 152182"/>
              <a:gd name="connsiteY8" fmla="*/ 186161 h 186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2182" h="186160">
                <a:moveTo>
                  <a:pt x="115898" y="186161"/>
                </a:moveTo>
                <a:lnTo>
                  <a:pt x="36279" y="186161"/>
                </a:lnTo>
                <a:cubicBezTo>
                  <a:pt x="16244" y="186161"/>
                  <a:pt x="0" y="172002"/>
                  <a:pt x="0" y="154530"/>
                </a:cubicBezTo>
                <a:lnTo>
                  <a:pt x="0" y="109128"/>
                </a:lnTo>
                <a:cubicBezTo>
                  <a:pt x="0" y="72492"/>
                  <a:pt x="34068" y="0"/>
                  <a:pt x="76091" y="0"/>
                </a:cubicBezTo>
                <a:lnTo>
                  <a:pt x="76091" y="0"/>
                </a:lnTo>
                <a:cubicBezTo>
                  <a:pt x="118114" y="0"/>
                  <a:pt x="152182" y="72492"/>
                  <a:pt x="152182" y="109128"/>
                </a:cubicBezTo>
                <a:lnTo>
                  <a:pt x="152182" y="154530"/>
                </a:lnTo>
                <a:cubicBezTo>
                  <a:pt x="152182" y="171996"/>
                  <a:pt x="135938" y="186161"/>
                  <a:pt x="115904" y="186161"/>
                </a:cubicBezTo>
                <a:close/>
              </a:path>
            </a:pathLst>
          </a:custGeom>
          <a:solidFill>
            <a:srgbClr val="97BAD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96" name="Freeform: Shape 2595">
            <a:extLst>
              <a:ext uri="{FF2B5EF4-FFF2-40B4-BE49-F238E27FC236}">
                <a16:creationId xmlns:a16="http://schemas.microsoft.com/office/drawing/2014/main" id="{AF93603B-2151-47E8-2CBE-2F31F96C3F98}"/>
              </a:ext>
            </a:extLst>
          </p:cNvPr>
          <p:cNvSpPr/>
          <p:nvPr/>
        </p:nvSpPr>
        <p:spPr>
          <a:xfrm>
            <a:off x="4062029" y="3899466"/>
            <a:ext cx="93640" cy="93640"/>
          </a:xfrm>
          <a:custGeom>
            <a:avLst/>
            <a:gdLst>
              <a:gd name="connsiteX0" fmla="*/ 28014 w 93640"/>
              <a:gd name="connsiteY0" fmla="*/ 0 h 93640"/>
              <a:gd name="connsiteX1" fmla="*/ 65633 w 93640"/>
              <a:gd name="connsiteY1" fmla="*/ 0 h 93640"/>
              <a:gd name="connsiteX2" fmla="*/ 93641 w 93640"/>
              <a:gd name="connsiteY2" fmla="*/ 28008 h 93640"/>
              <a:gd name="connsiteX3" fmla="*/ 93641 w 93640"/>
              <a:gd name="connsiteY3" fmla="*/ 46820 h 93640"/>
              <a:gd name="connsiteX4" fmla="*/ 46820 w 93640"/>
              <a:gd name="connsiteY4" fmla="*/ 93641 h 93640"/>
              <a:gd name="connsiteX5" fmla="*/ 46820 w 93640"/>
              <a:gd name="connsiteY5" fmla="*/ 93641 h 93640"/>
              <a:gd name="connsiteX6" fmla="*/ 0 w 93640"/>
              <a:gd name="connsiteY6" fmla="*/ 46820 h 93640"/>
              <a:gd name="connsiteX7" fmla="*/ 0 w 93640"/>
              <a:gd name="connsiteY7" fmla="*/ 28008 h 93640"/>
              <a:gd name="connsiteX8" fmla="*/ 28008 w 93640"/>
              <a:gd name="connsiteY8" fmla="*/ 0 h 93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640" h="93640">
                <a:moveTo>
                  <a:pt x="28014" y="0"/>
                </a:moveTo>
                <a:lnTo>
                  <a:pt x="65633" y="0"/>
                </a:lnTo>
                <a:cubicBezTo>
                  <a:pt x="81091" y="0"/>
                  <a:pt x="93641" y="12550"/>
                  <a:pt x="93641" y="28008"/>
                </a:cubicBezTo>
                <a:lnTo>
                  <a:pt x="93641" y="46820"/>
                </a:lnTo>
                <a:cubicBezTo>
                  <a:pt x="93641" y="72659"/>
                  <a:pt x="72659" y="93641"/>
                  <a:pt x="46820" y="93641"/>
                </a:cubicBezTo>
                <a:lnTo>
                  <a:pt x="46820" y="93641"/>
                </a:lnTo>
                <a:cubicBezTo>
                  <a:pt x="20982" y="93641"/>
                  <a:pt x="0" y="72659"/>
                  <a:pt x="0" y="46820"/>
                </a:cubicBezTo>
                <a:lnTo>
                  <a:pt x="0" y="28008"/>
                </a:lnTo>
                <a:cubicBezTo>
                  <a:pt x="0" y="12550"/>
                  <a:pt x="12550" y="0"/>
                  <a:pt x="28008" y="0"/>
                </a:cubicBezTo>
                <a:close/>
              </a:path>
            </a:pathLst>
          </a:custGeom>
          <a:solidFill>
            <a:srgbClr val="97BAD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97" name="Freeform: Shape 2596">
            <a:extLst>
              <a:ext uri="{FF2B5EF4-FFF2-40B4-BE49-F238E27FC236}">
                <a16:creationId xmlns:a16="http://schemas.microsoft.com/office/drawing/2014/main" id="{E7A8C06F-9D80-0BB8-08EF-E79FD939495D}"/>
              </a:ext>
            </a:extLst>
          </p:cNvPr>
          <p:cNvSpPr/>
          <p:nvPr/>
        </p:nvSpPr>
        <p:spPr>
          <a:xfrm>
            <a:off x="4062035" y="3899466"/>
            <a:ext cx="78194" cy="80262"/>
          </a:xfrm>
          <a:custGeom>
            <a:avLst/>
            <a:gdLst>
              <a:gd name="connsiteX0" fmla="*/ 39097 w 78194"/>
              <a:gd name="connsiteY0" fmla="*/ 80263 h 80262"/>
              <a:gd name="connsiteX1" fmla="*/ 39097 w 78194"/>
              <a:gd name="connsiteY1" fmla="*/ 80263 h 80262"/>
              <a:gd name="connsiteX2" fmla="*/ 0 w 78194"/>
              <a:gd name="connsiteY2" fmla="*/ 54543 h 80262"/>
              <a:gd name="connsiteX3" fmla="*/ 0 w 78194"/>
              <a:gd name="connsiteY3" fmla="*/ 23389 h 80262"/>
              <a:gd name="connsiteX4" fmla="*/ 23389 w 78194"/>
              <a:gd name="connsiteY4" fmla="*/ 0 h 80262"/>
              <a:gd name="connsiteX5" fmla="*/ 54805 w 78194"/>
              <a:gd name="connsiteY5" fmla="*/ 0 h 80262"/>
              <a:gd name="connsiteX6" fmla="*/ 78195 w 78194"/>
              <a:gd name="connsiteY6" fmla="*/ 23389 h 80262"/>
              <a:gd name="connsiteX7" fmla="*/ 78195 w 78194"/>
              <a:gd name="connsiteY7" fmla="*/ 54543 h 80262"/>
              <a:gd name="connsiteX8" fmla="*/ 39097 w 78194"/>
              <a:gd name="connsiteY8" fmla="*/ 80263 h 80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8194" h="80262">
                <a:moveTo>
                  <a:pt x="39097" y="80263"/>
                </a:moveTo>
                <a:lnTo>
                  <a:pt x="39097" y="80263"/>
                </a:lnTo>
                <a:cubicBezTo>
                  <a:pt x="17502" y="80263"/>
                  <a:pt x="0" y="76139"/>
                  <a:pt x="0" y="54543"/>
                </a:cubicBezTo>
                <a:lnTo>
                  <a:pt x="0" y="23389"/>
                </a:lnTo>
                <a:cubicBezTo>
                  <a:pt x="0" y="10470"/>
                  <a:pt x="10470" y="0"/>
                  <a:pt x="23389" y="0"/>
                </a:cubicBezTo>
                <a:lnTo>
                  <a:pt x="54805" y="0"/>
                </a:lnTo>
                <a:cubicBezTo>
                  <a:pt x="67725" y="0"/>
                  <a:pt x="78195" y="10470"/>
                  <a:pt x="78195" y="23389"/>
                </a:cubicBezTo>
                <a:lnTo>
                  <a:pt x="78195" y="54543"/>
                </a:lnTo>
                <a:cubicBezTo>
                  <a:pt x="78195" y="76139"/>
                  <a:pt x="60687" y="80263"/>
                  <a:pt x="39097" y="80263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98" name="Freeform: Shape 2597">
            <a:extLst>
              <a:ext uri="{FF2B5EF4-FFF2-40B4-BE49-F238E27FC236}">
                <a16:creationId xmlns:a16="http://schemas.microsoft.com/office/drawing/2014/main" id="{395A127D-21E9-FA96-86DA-863E78BC09CF}"/>
              </a:ext>
            </a:extLst>
          </p:cNvPr>
          <p:cNvSpPr/>
          <p:nvPr/>
        </p:nvSpPr>
        <p:spPr>
          <a:xfrm>
            <a:off x="4070181" y="3922760"/>
            <a:ext cx="55961" cy="34258"/>
          </a:xfrm>
          <a:custGeom>
            <a:avLst/>
            <a:gdLst>
              <a:gd name="connsiteX0" fmla="*/ 55956 w 55961"/>
              <a:gd name="connsiteY0" fmla="*/ 0 h 34258"/>
              <a:gd name="connsiteX1" fmla="*/ 1037 w 55961"/>
              <a:gd name="connsiteY1" fmla="*/ 0 h 34258"/>
              <a:gd name="connsiteX2" fmla="*/ 0 w 55961"/>
              <a:gd name="connsiteY2" fmla="*/ 6877 h 34258"/>
              <a:gd name="connsiteX3" fmla="*/ 0 w 55961"/>
              <a:gd name="connsiteY3" fmla="*/ 22418 h 34258"/>
              <a:gd name="connsiteX4" fmla="*/ 1853 w 55961"/>
              <a:gd name="connsiteY4" fmla="*/ 34259 h 34258"/>
              <a:gd name="connsiteX5" fmla="*/ 55961 w 55961"/>
              <a:gd name="connsiteY5" fmla="*/ 34259 h 34258"/>
              <a:gd name="connsiteX6" fmla="*/ 55961 w 55961"/>
              <a:gd name="connsiteY6" fmla="*/ 6 h 34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961" h="34258">
                <a:moveTo>
                  <a:pt x="55956" y="0"/>
                </a:moveTo>
                <a:lnTo>
                  <a:pt x="1037" y="0"/>
                </a:lnTo>
                <a:cubicBezTo>
                  <a:pt x="364" y="2175"/>
                  <a:pt x="0" y="4481"/>
                  <a:pt x="0" y="6877"/>
                </a:cubicBezTo>
                <a:lnTo>
                  <a:pt x="0" y="22418"/>
                </a:lnTo>
                <a:cubicBezTo>
                  <a:pt x="0" y="26548"/>
                  <a:pt x="655" y="30522"/>
                  <a:pt x="1853" y="34259"/>
                </a:cubicBezTo>
                <a:lnTo>
                  <a:pt x="55961" y="34259"/>
                </a:lnTo>
                <a:lnTo>
                  <a:pt x="55961" y="6"/>
                </a:lnTo>
                <a:close/>
              </a:path>
            </a:pathLst>
          </a:custGeom>
          <a:solidFill>
            <a:srgbClr val="0E2E4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99" name="Freeform: Shape 2598">
            <a:extLst>
              <a:ext uri="{FF2B5EF4-FFF2-40B4-BE49-F238E27FC236}">
                <a16:creationId xmlns:a16="http://schemas.microsoft.com/office/drawing/2014/main" id="{16B3F9FF-EF0F-BC54-5076-4FE9450329F2}"/>
              </a:ext>
            </a:extLst>
          </p:cNvPr>
          <p:cNvSpPr/>
          <p:nvPr/>
        </p:nvSpPr>
        <p:spPr>
          <a:xfrm>
            <a:off x="4058108" y="3986843"/>
            <a:ext cx="101488" cy="117584"/>
          </a:xfrm>
          <a:custGeom>
            <a:avLst/>
            <a:gdLst>
              <a:gd name="connsiteX0" fmla="*/ 32876 w 101488"/>
              <a:gd name="connsiteY0" fmla="*/ 0 h 117584"/>
              <a:gd name="connsiteX1" fmla="*/ 68613 w 101488"/>
              <a:gd name="connsiteY1" fmla="*/ 0 h 117584"/>
              <a:gd name="connsiteX2" fmla="*/ 101489 w 101488"/>
              <a:gd name="connsiteY2" fmla="*/ 32876 h 117584"/>
              <a:gd name="connsiteX3" fmla="*/ 101489 w 101488"/>
              <a:gd name="connsiteY3" fmla="*/ 84708 h 117584"/>
              <a:gd name="connsiteX4" fmla="*/ 68613 w 101488"/>
              <a:gd name="connsiteY4" fmla="*/ 117584 h 117584"/>
              <a:gd name="connsiteX5" fmla="*/ 32876 w 101488"/>
              <a:gd name="connsiteY5" fmla="*/ 117584 h 117584"/>
              <a:gd name="connsiteX6" fmla="*/ 0 w 101488"/>
              <a:gd name="connsiteY6" fmla="*/ 84708 h 117584"/>
              <a:gd name="connsiteX7" fmla="*/ 0 w 101488"/>
              <a:gd name="connsiteY7" fmla="*/ 32876 h 117584"/>
              <a:gd name="connsiteX8" fmla="*/ 32876 w 101488"/>
              <a:gd name="connsiteY8" fmla="*/ 0 h 117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488" h="117584">
                <a:moveTo>
                  <a:pt x="32876" y="0"/>
                </a:moveTo>
                <a:lnTo>
                  <a:pt x="68613" y="0"/>
                </a:lnTo>
                <a:cubicBezTo>
                  <a:pt x="86758" y="0"/>
                  <a:pt x="101489" y="14731"/>
                  <a:pt x="101489" y="32876"/>
                </a:cubicBezTo>
                <a:lnTo>
                  <a:pt x="101489" y="84708"/>
                </a:lnTo>
                <a:cubicBezTo>
                  <a:pt x="101489" y="102853"/>
                  <a:pt x="86758" y="117584"/>
                  <a:pt x="68613" y="117584"/>
                </a:cubicBezTo>
                <a:lnTo>
                  <a:pt x="32876" y="117584"/>
                </a:lnTo>
                <a:cubicBezTo>
                  <a:pt x="14731" y="117584"/>
                  <a:pt x="0" y="102853"/>
                  <a:pt x="0" y="84708"/>
                </a:cubicBezTo>
                <a:lnTo>
                  <a:pt x="0" y="32876"/>
                </a:lnTo>
                <a:cubicBezTo>
                  <a:pt x="0" y="14731"/>
                  <a:pt x="14731" y="0"/>
                  <a:pt x="32876" y="0"/>
                </a:cubicBezTo>
                <a:close/>
              </a:path>
            </a:pathLst>
          </a:custGeom>
          <a:solidFill>
            <a:srgbClr val="97BAD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00" name="Freeform: Shape 2599">
            <a:extLst>
              <a:ext uri="{FF2B5EF4-FFF2-40B4-BE49-F238E27FC236}">
                <a16:creationId xmlns:a16="http://schemas.microsoft.com/office/drawing/2014/main" id="{DC1FCB62-3A28-F396-AE78-8BDDABFEA4A1}"/>
              </a:ext>
            </a:extLst>
          </p:cNvPr>
          <p:cNvSpPr/>
          <p:nvPr/>
        </p:nvSpPr>
        <p:spPr>
          <a:xfrm>
            <a:off x="4059705" y="3986849"/>
            <a:ext cx="98312" cy="22793"/>
          </a:xfrm>
          <a:custGeom>
            <a:avLst/>
            <a:gdLst>
              <a:gd name="connsiteX0" fmla="*/ 98306 w 98312"/>
              <a:gd name="connsiteY0" fmla="*/ 22793 h 22793"/>
              <a:gd name="connsiteX1" fmla="*/ 67021 w 98312"/>
              <a:gd name="connsiteY1" fmla="*/ 0 h 22793"/>
              <a:gd name="connsiteX2" fmla="*/ 31285 w 98312"/>
              <a:gd name="connsiteY2" fmla="*/ 0 h 22793"/>
              <a:gd name="connsiteX3" fmla="*/ 0 w 98312"/>
              <a:gd name="connsiteY3" fmla="*/ 22793 h 22793"/>
              <a:gd name="connsiteX4" fmla="*/ 98312 w 98312"/>
              <a:gd name="connsiteY4" fmla="*/ 22793 h 2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312" h="22793">
                <a:moveTo>
                  <a:pt x="98306" y="22793"/>
                </a:moveTo>
                <a:cubicBezTo>
                  <a:pt x="94052" y="9570"/>
                  <a:pt x="81657" y="0"/>
                  <a:pt x="67021" y="0"/>
                </a:cubicBezTo>
                <a:lnTo>
                  <a:pt x="31285" y="0"/>
                </a:lnTo>
                <a:cubicBezTo>
                  <a:pt x="16644" y="0"/>
                  <a:pt x="4255" y="9570"/>
                  <a:pt x="0" y="22793"/>
                </a:cubicBezTo>
                <a:lnTo>
                  <a:pt x="98312" y="22793"/>
                </a:lnTo>
                <a:close/>
              </a:path>
            </a:pathLst>
          </a:custGeom>
          <a:solidFill>
            <a:srgbClr val="0E2E4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01" name="Freeform: Shape 2600">
            <a:extLst>
              <a:ext uri="{FF2B5EF4-FFF2-40B4-BE49-F238E27FC236}">
                <a16:creationId xmlns:a16="http://schemas.microsoft.com/office/drawing/2014/main" id="{5995188C-BE43-C21A-3630-2C864EB60B9E}"/>
              </a:ext>
            </a:extLst>
          </p:cNvPr>
          <p:cNvSpPr/>
          <p:nvPr/>
        </p:nvSpPr>
        <p:spPr>
          <a:xfrm>
            <a:off x="4058108" y="4049139"/>
            <a:ext cx="101494" cy="6680"/>
          </a:xfrm>
          <a:custGeom>
            <a:avLst/>
            <a:gdLst>
              <a:gd name="connsiteX0" fmla="*/ 0 w 101494"/>
              <a:gd name="connsiteY0" fmla="*/ 0 h 6680"/>
              <a:gd name="connsiteX1" fmla="*/ 101495 w 101494"/>
              <a:gd name="connsiteY1" fmla="*/ 0 h 6680"/>
              <a:gd name="connsiteX2" fmla="*/ 101495 w 101494"/>
              <a:gd name="connsiteY2" fmla="*/ 6680 h 6680"/>
              <a:gd name="connsiteX3" fmla="*/ 0 w 101494"/>
              <a:gd name="connsiteY3" fmla="*/ 6680 h 6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94" h="6680">
                <a:moveTo>
                  <a:pt x="0" y="0"/>
                </a:moveTo>
                <a:lnTo>
                  <a:pt x="101495" y="0"/>
                </a:lnTo>
                <a:lnTo>
                  <a:pt x="101495" y="6680"/>
                </a:lnTo>
                <a:lnTo>
                  <a:pt x="0" y="6680"/>
                </a:lnTo>
                <a:close/>
              </a:path>
            </a:pathLst>
          </a:custGeom>
          <a:solidFill>
            <a:srgbClr val="0E2E4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02" name="Freeform: Shape 2601">
            <a:extLst>
              <a:ext uri="{FF2B5EF4-FFF2-40B4-BE49-F238E27FC236}">
                <a16:creationId xmlns:a16="http://schemas.microsoft.com/office/drawing/2014/main" id="{D4D4405B-C8C9-00D5-72E5-91151063FB67}"/>
              </a:ext>
            </a:extLst>
          </p:cNvPr>
          <p:cNvSpPr/>
          <p:nvPr/>
        </p:nvSpPr>
        <p:spPr>
          <a:xfrm>
            <a:off x="4147043" y="4018646"/>
            <a:ext cx="48256" cy="80185"/>
          </a:xfrm>
          <a:custGeom>
            <a:avLst/>
            <a:gdLst>
              <a:gd name="connsiteX0" fmla="*/ 7578 w 48256"/>
              <a:gd name="connsiteY0" fmla="*/ 80180 h 80185"/>
              <a:gd name="connsiteX1" fmla="*/ 4295 w 48256"/>
              <a:gd name="connsiteY1" fmla="*/ 78821 h 80185"/>
              <a:gd name="connsiteX2" fmla="*/ 4295 w 48256"/>
              <a:gd name="connsiteY2" fmla="*/ 72248 h 80185"/>
              <a:gd name="connsiteX3" fmla="*/ 36849 w 48256"/>
              <a:gd name="connsiteY3" fmla="*/ 39694 h 80185"/>
              <a:gd name="connsiteX4" fmla="*/ 1548 w 48256"/>
              <a:gd name="connsiteY4" fmla="*/ 8111 h 80185"/>
              <a:gd name="connsiteX5" fmla="*/ 1184 w 48256"/>
              <a:gd name="connsiteY5" fmla="*/ 1550 h 80185"/>
              <a:gd name="connsiteX6" fmla="*/ 7745 w 48256"/>
              <a:gd name="connsiteY6" fmla="*/ 1186 h 80185"/>
              <a:gd name="connsiteX7" fmla="*/ 46705 w 48256"/>
              <a:gd name="connsiteY7" fmla="*/ 36047 h 80185"/>
              <a:gd name="connsiteX8" fmla="*/ 48255 w 48256"/>
              <a:gd name="connsiteY8" fmla="*/ 39384 h 80185"/>
              <a:gd name="connsiteX9" fmla="*/ 46896 w 48256"/>
              <a:gd name="connsiteY9" fmla="*/ 42798 h 80185"/>
              <a:gd name="connsiteX10" fmla="*/ 10867 w 48256"/>
              <a:gd name="connsiteY10" fmla="*/ 78827 h 80185"/>
              <a:gd name="connsiteX11" fmla="*/ 7584 w 48256"/>
              <a:gd name="connsiteY11" fmla="*/ 80186 h 80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8256" h="80185">
                <a:moveTo>
                  <a:pt x="7578" y="80180"/>
                </a:moveTo>
                <a:cubicBezTo>
                  <a:pt x="6386" y="80180"/>
                  <a:pt x="5200" y="79727"/>
                  <a:pt x="4295" y="78821"/>
                </a:cubicBezTo>
                <a:cubicBezTo>
                  <a:pt x="2477" y="77003"/>
                  <a:pt x="2477" y="74066"/>
                  <a:pt x="4295" y="72248"/>
                </a:cubicBezTo>
                <a:lnTo>
                  <a:pt x="36849" y="39694"/>
                </a:lnTo>
                <a:lnTo>
                  <a:pt x="1548" y="8111"/>
                </a:lnTo>
                <a:cubicBezTo>
                  <a:pt x="-365" y="6401"/>
                  <a:pt x="-526" y="3463"/>
                  <a:pt x="1184" y="1550"/>
                </a:cubicBezTo>
                <a:cubicBezTo>
                  <a:pt x="2894" y="-363"/>
                  <a:pt x="5832" y="-530"/>
                  <a:pt x="7745" y="1186"/>
                </a:cubicBezTo>
                <a:lnTo>
                  <a:pt x="46705" y="36047"/>
                </a:lnTo>
                <a:cubicBezTo>
                  <a:pt x="47659" y="36899"/>
                  <a:pt x="48219" y="38103"/>
                  <a:pt x="48255" y="39384"/>
                </a:cubicBezTo>
                <a:cubicBezTo>
                  <a:pt x="48290" y="40665"/>
                  <a:pt x="47796" y="41893"/>
                  <a:pt x="46896" y="42798"/>
                </a:cubicBezTo>
                <a:lnTo>
                  <a:pt x="10867" y="78827"/>
                </a:lnTo>
                <a:cubicBezTo>
                  <a:pt x="9962" y="79733"/>
                  <a:pt x="8770" y="80186"/>
                  <a:pt x="7584" y="80186"/>
                </a:cubicBezTo>
                <a:close/>
              </a:path>
            </a:pathLst>
          </a:custGeom>
          <a:solidFill>
            <a:srgbClr val="123D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03" name="Freeform: Shape 2602">
            <a:extLst>
              <a:ext uri="{FF2B5EF4-FFF2-40B4-BE49-F238E27FC236}">
                <a16:creationId xmlns:a16="http://schemas.microsoft.com/office/drawing/2014/main" id="{D9DFCFAD-C092-2667-A2E8-7AE27FF8B690}"/>
              </a:ext>
            </a:extLst>
          </p:cNvPr>
          <p:cNvSpPr/>
          <p:nvPr/>
        </p:nvSpPr>
        <p:spPr>
          <a:xfrm>
            <a:off x="4130670" y="4089437"/>
            <a:ext cx="29966" cy="29966"/>
          </a:xfrm>
          <a:custGeom>
            <a:avLst/>
            <a:gdLst>
              <a:gd name="connsiteX0" fmla="*/ 9316 w 29966"/>
              <a:gd name="connsiteY0" fmla="*/ 28863 h 29966"/>
              <a:gd name="connsiteX1" fmla="*/ 18064 w 29966"/>
              <a:gd name="connsiteY1" fmla="*/ 20115 h 29966"/>
              <a:gd name="connsiteX2" fmla="*/ 18064 w 29966"/>
              <a:gd name="connsiteY2" fmla="*/ 11909 h 29966"/>
              <a:gd name="connsiteX3" fmla="*/ 9858 w 29966"/>
              <a:gd name="connsiteY3" fmla="*/ 11909 h 29966"/>
              <a:gd name="connsiteX4" fmla="*/ 1110 w 29966"/>
              <a:gd name="connsiteY4" fmla="*/ 20657 h 29966"/>
              <a:gd name="connsiteX5" fmla="*/ 4388 w 29966"/>
              <a:gd name="connsiteY5" fmla="*/ 4389 h 29966"/>
              <a:gd name="connsiteX6" fmla="*/ 25578 w 29966"/>
              <a:gd name="connsiteY6" fmla="*/ 4389 h 29966"/>
              <a:gd name="connsiteX7" fmla="*/ 25578 w 29966"/>
              <a:gd name="connsiteY7" fmla="*/ 25579 h 29966"/>
              <a:gd name="connsiteX8" fmla="*/ 9310 w 29966"/>
              <a:gd name="connsiteY8" fmla="*/ 28857 h 29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966" h="29966">
                <a:moveTo>
                  <a:pt x="9316" y="28863"/>
                </a:moveTo>
                <a:lnTo>
                  <a:pt x="18064" y="20115"/>
                </a:lnTo>
                <a:cubicBezTo>
                  <a:pt x="20328" y="17850"/>
                  <a:pt x="20328" y="14180"/>
                  <a:pt x="18064" y="11909"/>
                </a:cubicBezTo>
                <a:cubicBezTo>
                  <a:pt x="15799" y="9639"/>
                  <a:pt x="12128" y="9645"/>
                  <a:pt x="9858" y="11909"/>
                </a:cubicBezTo>
                <a:lnTo>
                  <a:pt x="1110" y="20657"/>
                </a:lnTo>
                <a:cubicBezTo>
                  <a:pt x="-1101" y="15240"/>
                  <a:pt x="-10" y="8787"/>
                  <a:pt x="4388" y="4389"/>
                </a:cubicBezTo>
                <a:cubicBezTo>
                  <a:pt x="10239" y="-1463"/>
                  <a:pt x="19726" y="-1463"/>
                  <a:pt x="25578" y="4389"/>
                </a:cubicBezTo>
                <a:cubicBezTo>
                  <a:pt x="31430" y="10241"/>
                  <a:pt x="31430" y="19727"/>
                  <a:pt x="25578" y="25579"/>
                </a:cubicBezTo>
                <a:cubicBezTo>
                  <a:pt x="21180" y="29977"/>
                  <a:pt x="14733" y="31068"/>
                  <a:pt x="9310" y="28857"/>
                </a:cubicBezTo>
                <a:close/>
              </a:path>
            </a:pathLst>
          </a:custGeom>
          <a:solidFill>
            <a:srgbClr val="123D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04" name="Freeform: Shape 2603">
            <a:extLst>
              <a:ext uri="{FF2B5EF4-FFF2-40B4-BE49-F238E27FC236}">
                <a16:creationId xmlns:a16="http://schemas.microsoft.com/office/drawing/2014/main" id="{FA3FEFDA-52C7-C941-1E19-6AC31C5B8815}"/>
              </a:ext>
            </a:extLst>
          </p:cNvPr>
          <p:cNvSpPr/>
          <p:nvPr/>
        </p:nvSpPr>
        <p:spPr>
          <a:xfrm>
            <a:off x="4123807" y="4020387"/>
            <a:ext cx="7842" cy="7842"/>
          </a:xfrm>
          <a:custGeom>
            <a:avLst/>
            <a:gdLst>
              <a:gd name="connsiteX0" fmla="*/ 7842 w 7842"/>
              <a:gd name="connsiteY0" fmla="*/ 3921 h 7842"/>
              <a:gd name="connsiteX1" fmla="*/ 3921 w 7842"/>
              <a:gd name="connsiteY1" fmla="*/ 7842 h 7842"/>
              <a:gd name="connsiteX2" fmla="*/ 0 w 7842"/>
              <a:gd name="connsiteY2" fmla="*/ 3921 h 7842"/>
              <a:gd name="connsiteX3" fmla="*/ 3921 w 7842"/>
              <a:gd name="connsiteY3" fmla="*/ 0 h 7842"/>
              <a:gd name="connsiteX4" fmla="*/ 7842 w 7842"/>
              <a:gd name="connsiteY4" fmla="*/ 3921 h 7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2" h="7842">
                <a:moveTo>
                  <a:pt x="7842" y="3921"/>
                </a:moveTo>
                <a:cubicBezTo>
                  <a:pt x="7842" y="6084"/>
                  <a:pt x="6084" y="7842"/>
                  <a:pt x="3921" y="7842"/>
                </a:cubicBezTo>
                <a:cubicBezTo>
                  <a:pt x="1758" y="7842"/>
                  <a:pt x="0" y="6084"/>
                  <a:pt x="0" y="3921"/>
                </a:cubicBezTo>
                <a:cubicBezTo>
                  <a:pt x="0" y="1758"/>
                  <a:pt x="1758" y="0"/>
                  <a:pt x="3921" y="0"/>
                </a:cubicBezTo>
                <a:cubicBezTo>
                  <a:pt x="6084" y="0"/>
                  <a:pt x="7842" y="1758"/>
                  <a:pt x="7842" y="3921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05" name="Freeform: Shape 2604">
            <a:extLst>
              <a:ext uri="{FF2B5EF4-FFF2-40B4-BE49-F238E27FC236}">
                <a16:creationId xmlns:a16="http://schemas.microsoft.com/office/drawing/2014/main" id="{108AA08F-148C-57DF-7CE7-FE203244DE34}"/>
              </a:ext>
            </a:extLst>
          </p:cNvPr>
          <p:cNvSpPr/>
          <p:nvPr/>
        </p:nvSpPr>
        <p:spPr>
          <a:xfrm>
            <a:off x="4123807" y="4031977"/>
            <a:ext cx="7842" cy="7842"/>
          </a:xfrm>
          <a:custGeom>
            <a:avLst/>
            <a:gdLst>
              <a:gd name="connsiteX0" fmla="*/ 7842 w 7842"/>
              <a:gd name="connsiteY0" fmla="*/ 3921 h 7842"/>
              <a:gd name="connsiteX1" fmla="*/ 3921 w 7842"/>
              <a:gd name="connsiteY1" fmla="*/ 7842 h 7842"/>
              <a:gd name="connsiteX2" fmla="*/ 0 w 7842"/>
              <a:gd name="connsiteY2" fmla="*/ 3921 h 7842"/>
              <a:gd name="connsiteX3" fmla="*/ 3921 w 7842"/>
              <a:gd name="connsiteY3" fmla="*/ 0 h 7842"/>
              <a:gd name="connsiteX4" fmla="*/ 7842 w 7842"/>
              <a:gd name="connsiteY4" fmla="*/ 3921 h 7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2" h="7842">
                <a:moveTo>
                  <a:pt x="7842" y="3921"/>
                </a:moveTo>
                <a:cubicBezTo>
                  <a:pt x="7842" y="6084"/>
                  <a:pt x="6084" y="7842"/>
                  <a:pt x="3921" y="7842"/>
                </a:cubicBezTo>
                <a:cubicBezTo>
                  <a:pt x="1758" y="7842"/>
                  <a:pt x="0" y="6084"/>
                  <a:pt x="0" y="3921"/>
                </a:cubicBezTo>
                <a:cubicBezTo>
                  <a:pt x="0" y="1758"/>
                  <a:pt x="1758" y="0"/>
                  <a:pt x="3921" y="0"/>
                </a:cubicBezTo>
                <a:cubicBezTo>
                  <a:pt x="6084" y="0"/>
                  <a:pt x="7842" y="1758"/>
                  <a:pt x="7842" y="3921"/>
                </a:cubicBezTo>
                <a:close/>
              </a:path>
            </a:pathLst>
          </a:custGeom>
          <a:solidFill>
            <a:srgbClr val="0089C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06" name="Freeform: Shape 2605">
            <a:extLst>
              <a:ext uri="{FF2B5EF4-FFF2-40B4-BE49-F238E27FC236}">
                <a16:creationId xmlns:a16="http://schemas.microsoft.com/office/drawing/2014/main" id="{3E12E90F-9D11-FFF0-13C0-4CBD16C4928D}"/>
              </a:ext>
            </a:extLst>
          </p:cNvPr>
          <p:cNvSpPr/>
          <p:nvPr/>
        </p:nvSpPr>
        <p:spPr>
          <a:xfrm>
            <a:off x="4055200" y="4055796"/>
            <a:ext cx="51110" cy="138333"/>
          </a:xfrm>
          <a:custGeom>
            <a:avLst/>
            <a:gdLst>
              <a:gd name="connsiteX0" fmla="*/ 20386 w 51110"/>
              <a:gd name="connsiteY0" fmla="*/ 0 h 138333"/>
              <a:gd name="connsiteX1" fmla="*/ 4648 w 51110"/>
              <a:gd name="connsiteY1" fmla="*/ 37268 h 138333"/>
              <a:gd name="connsiteX2" fmla="*/ 0 w 51110"/>
              <a:gd name="connsiteY2" fmla="*/ 93027 h 138333"/>
              <a:gd name="connsiteX3" fmla="*/ 1162 w 51110"/>
              <a:gd name="connsiteY3" fmla="*/ 119747 h 138333"/>
              <a:gd name="connsiteX4" fmla="*/ 17424 w 51110"/>
              <a:gd name="connsiteY4" fmla="*/ 138334 h 138333"/>
              <a:gd name="connsiteX5" fmla="*/ 51111 w 51110"/>
              <a:gd name="connsiteY5" fmla="*/ 138334 h 138333"/>
              <a:gd name="connsiteX6" fmla="*/ 51111 w 51110"/>
              <a:gd name="connsiteY6" fmla="*/ 39592 h 138333"/>
              <a:gd name="connsiteX7" fmla="*/ 36708 w 51110"/>
              <a:gd name="connsiteY7" fmla="*/ 0 h 138333"/>
              <a:gd name="connsiteX8" fmla="*/ 20380 w 51110"/>
              <a:gd name="connsiteY8" fmla="*/ 0 h 138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110" h="138333">
                <a:moveTo>
                  <a:pt x="20386" y="0"/>
                </a:moveTo>
                <a:cubicBezTo>
                  <a:pt x="18068" y="4714"/>
                  <a:pt x="8706" y="24086"/>
                  <a:pt x="4648" y="37268"/>
                </a:cubicBezTo>
                <a:cubicBezTo>
                  <a:pt x="0" y="52368"/>
                  <a:pt x="0" y="75603"/>
                  <a:pt x="0" y="93027"/>
                </a:cubicBezTo>
                <a:cubicBezTo>
                  <a:pt x="0" y="110451"/>
                  <a:pt x="1162" y="119747"/>
                  <a:pt x="1162" y="119747"/>
                </a:cubicBezTo>
                <a:cubicBezTo>
                  <a:pt x="1162" y="119747"/>
                  <a:pt x="-1162" y="138334"/>
                  <a:pt x="17424" y="138334"/>
                </a:cubicBezTo>
                <a:lnTo>
                  <a:pt x="51111" y="138334"/>
                </a:lnTo>
                <a:lnTo>
                  <a:pt x="51111" y="39592"/>
                </a:lnTo>
                <a:cubicBezTo>
                  <a:pt x="51111" y="39592"/>
                  <a:pt x="41624" y="15351"/>
                  <a:pt x="36708" y="0"/>
                </a:cubicBezTo>
                <a:lnTo>
                  <a:pt x="20380" y="0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10" name="Freeform: Shape 2609">
            <a:extLst>
              <a:ext uri="{FF2B5EF4-FFF2-40B4-BE49-F238E27FC236}">
                <a16:creationId xmlns:a16="http://schemas.microsoft.com/office/drawing/2014/main" id="{16E93F96-8177-15B9-7F99-EE7909BF11CB}"/>
              </a:ext>
            </a:extLst>
          </p:cNvPr>
          <p:cNvSpPr/>
          <p:nvPr/>
        </p:nvSpPr>
        <p:spPr>
          <a:xfrm>
            <a:off x="5659316" y="3365961"/>
            <a:ext cx="409928" cy="569061"/>
          </a:xfrm>
          <a:custGeom>
            <a:avLst/>
            <a:gdLst>
              <a:gd name="connsiteX0" fmla="*/ 21594 w 409928"/>
              <a:gd name="connsiteY0" fmla="*/ 0 h 569061"/>
              <a:gd name="connsiteX1" fmla="*/ 388329 w 409928"/>
              <a:gd name="connsiteY1" fmla="*/ 0 h 569061"/>
              <a:gd name="connsiteX2" fmla="*/ 409928 w 409928"/>
              <a:gd name="connsiteY2" fmla="*/ 21599 h 569061"/>
              <a:gd name="connsiteX3" fmla="*/ 409928 w 409928"/>
              <a:gd name="connsiteY3" fmla="*/ 547463 h 569061"/>
              <a:gd name="connsiteX4" fmla="*/ 388329 w 409928"/>
              <a:gd name="connsiteY4" fmla="*/ 569062 h 569061"/>
              <a:gd name="connsiteX5" fmla="*/ 21594 w 409928"/>
              <a:gd name="connsiteY5" fmla="*/ 569062 h 569061"/>
              <a:gd name="connsiteX6" fmla="*/ 0 w 409928"/>
              <a:gd name="connsiteY6" fmla="*/ 547463 h 569061"/>
              <a:gd name="connsiteX7" fmla="*/ 0 w 409928"/>
              <a:gd name="connsiteY7" fmla="*/ 21599 h 569061"/>
              <a:gd name="connsiteX8" fmla="*/ 21594 w 409928"/>
              <a:gd name="connsiteY8" fmla="*/ 0 h 569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9928" h="569061">
                <a:moveTo>
                  <a:pt x="21594" y="0"/>
                </a:moveTo>
                <a:lnTo>
                  <a:pt x="388329" y="0"/>
                </a:lnTo>
                <a:cubicBezTo>
                  <a:pt x="400233" y="0"/>
                  <a:pt x="409928" y="9696"/>
                  <a:pt x="409928" y="21599"/>
                </a:cubicBezTo>
                <a:lnTo>
                  <a:pt x="409928" y="547463"/>
                </a:lnTo>
                <a:cubicBezTo>
                  <a:pt x="409928" y="559366"/>
                  <a:pt x="400233" y="569062"/>
                  <a:pt x="388329" y="569062"/>
                </a:cubicBezTo>
                <a:lnTo>
                  <a:pt x="21594" y="569062"/>
                </a:lnTo>
                <a:cubicBezTo>
                  <a:pt x="9696" y="569062"/>
                  <a:pt x="0" y="559366"/>
                  <a:pt x="0" y="547463"/>
                </a:cubicBezTo>
                <a:lnTo>
                  <a:pt x="0" y="21599"/>
                </a:lnTo>
                <a:cubicBezTo>
                  <a:pt x="0" y="9701"/>
                  <a:pt x="9696" y="0"/>
                  <a:pt x="21594" y="0"/>
                </a:cubicBezTo>
                <a:close/>
              </a:path>
            </a:pathLst>
          </a:custGeom>
          <a:solidFill>
            <a:srgbClr val="619FD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11" name="Freeform: Shape 2610">
            <a:extLst>
              <a:ext uri="{FF2B5EF4-FFF2-40B4-BE49-F238E27FC236}">
                <a16:creationId xmlns:a16="http://schemas.microsoft.com/office/drawing/2014/main" id="{EA1E8CF7-CDA9-104F-4BC4-259471471B3D}"/>
              </a:ext>
            </a:extLst>
          </p:cNvPr>
          <p:cNvSpPr/>
          <p:nvPr/>
        </p:nvSpPr>
        <p:spPr>
          <a:xfrm>
            <a:off x="5664647" y="3371292"/>
            <a:ext cx="399265" cy="558394"/>
          </a:xfrm>
          <a:custGeom>
            <a:avLst/>
            <a:gdLst>
              <a:gd name="connsiteX0" fmla="*/ 16263 w 399265"/>
              <a:gd name="connsiteY0" fmla="*/ 0 h 558394"/>
              <a:gd name="connsiteX1" fmla="*/ 383003 w 399265"/>
              <a:gd name="connsiteY1" fmla="*/ 0 h 558394"/>
              <a:gd name="connsiteX2" fmla="*/ 399266 w 399265"/>
              <a:gd name="connsiteY2" fmla="*/ 16263 h 558394"/>
              <a:gd name="connsiteX3" fmla="*/ 399266 w 399265"/>
              <a:gd name="connsiteY3" fmla="*/ 542126 h 558394"/>
              <a:gd name="connsiteX4" fmla="*/ 382997 w 399265"/>
              <a:gd name="connsiteY4" fmla="*/ 558394 h 558394"/>
              <a:gd name="connsiteX5" fmla="*/ 16263 w 399265"/>
              <a:gd name="connsiteY5" fmla="*/ 558394 h 558394"/>
              <a:gd name="connsiteX6" fmla="*/ 0 w 399265"/>
              <a:gd name="connsiteY6" fmla="*/ 542131 h 558394"/>
              <a:gd name="connsiteX7" fmla="*/ 0 w 399265"/>
              <a:gd name="connsiteY7" fmla="*/ 16263 h 558394"/>
              <a:gd name="connsiteX8" fmla="*/ 16263 w 399265"/>
              <a:gd name="connsiteY8" fmla="*/ 0 h 558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265" h="558394">
                <a:moveTo>
                  <a:pt x="16263" y="0"/>
                </a:moveTo>
                <a:lnTo>
                  <a:pt x="383003" y="0"/>
                </a:lnTo>
                <a:cubicBezTo>
                  <a:pt x="391980" y="0"/>
                  <a:pt x="399266" y="7286"/>
                  <a:pt x="399266" y="16263"/>
                </a:cubicBezTo>
                <a:lnTo>
                  <a:pt x="399266" y="542126"/>
                </a:lnTo>
                <a:cubicBezTo>
                  <a:pt x="399266" y="551103"/>
                  <a:pt x="391974" y="558394"/>
                  <a:pt x="382997" y="558394"/>
                </a:cubicBezTo>
                <a:lnTo>
                  <a:pt x="16263" y="558394"/>
                </a:lnTo>
                <a:cubicBezTo>
                  <a:pt x="7286" y="558394"/>
                  <a:pt x="0" y="551108"/>
                  <a:pt x="0" y="542131"/>
                </a:cubicBezTo>
                <a:lnTo>
                  <a:pt x="0" y="16263"/>
                </a:lnTo>
                <a:cubicBezTo>
                  <a:pt x="0" y="7286"/>
                  <a:pt x="7286" y="0"/>
                  <a:pt x="16263" y="0"/>
                </a:cubicBezTo>
                <a:close/>
              </a:path>
            </a:pathLst>
          </a:custGeom>
          <a:solidFill>
            <a:srgbClr val="A3CFF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12" name="Freeform: Shape 2611">
            <a:extLst>
              <a:ext uri="{FF2B5EF4-FFF2-40B4-BE49-F238E27FC236}">
                <a16:creationId xmlns:a16="http://schemas.microsoft.com/office/drawing/2014/main" id="{D3233C36-41E4-CC9E-AE58-E37D513FC98A}"/>
              </a:ext>
            </a:extLst>
          </p:cNvPr>
          <p:cNvSpPr/>
          <p:nvPr/>
        </p:nvSpPr>
        <p:spPr>
          <a:xfrm>
            <a:off x="5746851" y="3321258"/>
            <a:ext cx="234857" cy="90053"/>
          </a:xfrm>
          <a:custGeom>
            <a:avLst/>
            <a:gdLst>
              <a:gd name="connsiteX0" fmla="*/ 213982 w 234857"/>
              <a:gd name="connsiteY0" fmla="*/ 70047 h 90053"/>
              <a:gd name="connsiteX1" fmla="*/ 196230 w 234857"/>
              <a:gd name="connsiteY1" fmla="*/ 82059 h 90053"/>
              <a:gd name="connsiteX2" fmla="*/ 38612 w 234857"/>
              <a:gd name="connsiteY2" fmla="*/ 82059 h 90053"/>
              <a:gd name="connsiteX3" fmla="*/ 20870 w 234857"/>
              <a:gd name="connsiteY3" fmla="*/ 70047 h 90053"/>
              <a:gd name="connsiteX4" fmla="*/ 20870 w 234857"/>
              <a:gd name="connsiteY4" fmla="*/ 34025 h 90053"/>
              <a:gd name="connsiteX5" fmla="*/ 38612 w 234857"/>
              <a:gd name="connsiteY5" fmla="*/ 22018 h 90053"/>
              <a:gd name="connsiteX6" fmla="*/ 196230 w 234857"/>
              <a:gd name="connsiteY6" fmla="*/ 22018 h 90053"/>
              <a:gd name="connsiteX7" fmla="*/ 213982 w 234857"/>
              <a:gd name="connsiteY7" fmla="*/ 34025 h 90053"/>
              <a:gd name="connsiteX8" fmla="*/ 213982 w 234857"/>
              <a:gd name="connsiteY8" fmla="*/ 70047 h 90053"/>
              <a:gd name="connsiteX9" fmla="*/ 213982 w 234857"/>
              <a:gd name="connsiteY9" fmla="*/ 70047 h 90053"/>
              <a:gd name="connsiteX10" fmla="*/ 213274 w 234857"/>
              <a:gd name="connsiteY10" fmla="*/ 0 h 90053"/>
              <a:gd name="connsiteX11" fmla="*/ 21579 w 234857"/>
              <a:gd name="connsiteY11" fmla="*/ 0 h 90053"/>
              <a:gd name="connsiteX12" fmla="*/ 0 w 234857"/>
              <a:gd name="connsiteY12" fmla="*/ 18011 h 90053"/>
              <a:gd name="connsiteX13" fmla="*/ 0 w 234857"/>
              <a:gd name="connsiteY13" fmla="*/ 72048 h 90053"/>
              <a:gd name="connsiteX14" fmla="*/ 21579 w 234857"/>
              <a:gd name="connsiteY14" fmla="*/ 90054 h 90053"/>
              <a:gd name="connsiteX15" fmla="*/ 213274 w 234857"/>
              <a:gd name="connsiteY15" fmla="*/ 90054 h 90053"/>
              <a:gd name="connsiteX16" fmla="*/ 234858 w 234857"/>
              <a:gd name="connsiteY16" fmla="*/ 72048 h 90053"/>
              <a:gd name="connsiteX17" fmla="*/ 234858 w 234857"/>
              <a:gd name="connsiteY17" fmla="*/ 18011 h 90053"/>
              <a:gd name="connsiteX18" fmla="*/ 213274 w 234857"/>
              <a:gd name="connsiteY18" fmla="*/ 0 h 90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34857" h="90053">
                <a:moveTo>
                  <a:pt x="213982" y="70047"/>
                </a:moveTo>
                <a:cubicBezTo>
                  <a:pt x="213982" y="76686"/>
                  <a:pt x="206034" y="82059"/>
                  <a:pt x="196230" y="82059"/>
                </a:cubicBezTo>
                <a:lnTo>
                  <a:pt x="38612" y="82059"/>
                </a:lnTo>
                <a:cubicBezTo>
                  <a:pt x="28813" y="82059"/>
                  <a:pt x="20870" y="76686"/>
                  <a:pt x="20870" y="70047"/>
                </a:cubicBezTo>
                <a:lnTo>
                  <a:pt x="20870" y="34025"/>
                </a:lnTo>
                <a:cubicBezTo>
                  <a:pt x="20870" y="27391"/>
                  <a:pt x="28818" y="22018"/>
                  <a:pt x="38612" y="22018"/>
                </a:cubicBezTo>
                <a:lnTo>
                  <a:pt x="196230" y="22018"/>
                </a:lnTo>
                <a:cubicBezTo>
                  <a:pt x="206034" y="22018"/>
                  <a:pt x="213982" y="27391"/>
                  <a:pt x="213982" y="34025"/>
                </a:cubicBezTo>
                <a:lnTo>
                  <a:pt x="213982" y="70047"/>
                </a:lnTo>
                <a:lnTo>
                  <a:pt x="213982" y="70047"/>
                </a:lnTo>
                <a:close/>
                <a:moveTo>
                  <a:pt x="213274" y="0"/>
                </a:moveTo>
                <a:lnTo>
                  <a:pt x="21579" y="0"/>
                </a:lnTo>
                <a:cubicBezTo>
                  <a:pt x="9659" y="0"/>
                  <a:pt x="0" y="8067"/>
                  <a:pt x="0" y="18011"/>
                </a:cubicBezTo>
                <a:lnTo>
                  <a:pt x="0" y="72048"/>
                </a:lnTo>
                <a:cubicBezTo>
                  <a:pt x="0" y="81992"/>
                  <a:pt x="9665" y="90054"/>
                  <a:pt x="21579" y="90054"/>
                </a:cubicBezTo>
                <a:lnTo>
                  <a:pt x="213274" y="90054"/>
                </a:lnTo>
                <a:cubicBezTo>
                  <a:pt x="225193" y="90054"/>
                  <a:pt x="234858" y="81992"/>
                  <a:pt x="234858" y="72048"/>
                </a:cubicBezTo>
                <a:lnTo>
                  <a:pt x="234858" y="18011"/>
                </a:lnTo>
                <a:cubicBezTo>
                  <a:pt x="234858" y="8062"/>
                  <a:pt x="225193" y="0"/>
                  <a:pt x="213274" y="0"/>
                </a:cubicBezTo>
                <a:close/>
              </a:path>
            </a:pathLst>
          </a:custGeom>
          <a:solidFill>
            <a:srgbClr val="71AEEC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13" name="Freeform: Shape 2612">
            <a:extLst>
              <a:ext uri="{FF2B5EF4-FFF2-40B4-BE49-F238E27FC236}">
                <a16:creationId xmlns:a16="http://schemas.microsoft.com/office/drawing/2014/main" id="{E7316211-A92F-FBA4-7D84-E04CF1BA7A54}"/>
              </a:ext>
            </a:extLst>
          </p:cNvPr>
          <p:cNvSpPr/>
          <p:nvPr/>
        </p:nvSpPr>
        <p:spPr>
          <a:xfrm>
            <a:off x="5691650" y="3425330"/>
            <a:ext cx="345248" cy="480347"/>
          </a:xfrm>
          <a:custGeom>
            <a:avLst/>
            <a:gdLst>
              <a:gd name="connsiteX0" fmla="*/ 0 w 345248"/>
              <a:gd name="connsiteY0" fmla="*/ 0 h 480347"/>
              <a:gd name="connsiteX1" fmla="*/ 345249 w 345248"/>
              <a:gd name="connsiteY1" fmla="*/ 0 h 480347"/>
              <a:gd name="connsiteX2" fmla="*/ 345249 w 345248"/>
              <a:gd name="connsiteY2" fmla="*/ 480348 h 480347"/>
              <a:gd name="connsiteX3" fmla="*/ 0 w 345248"/>
              <a:gd name="connsiteY3" fmla="*/ 480348 h 480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5248" h="480347">
                <a:moveTo>
                  <a:pt x="0" y="0"/>
                </a:moveTo>
                <a:lnTo>
                  <a:pt x="345249" y="0"/>
                </a:lnTo>
                <a:lnTo>
                  <a:pt x="345249" y="480348"/>
                </a:lnTo>
                <a:lnTo>
                  <a:pt x="0" y="480348"/>
                </a:lnTo>
                <a:close/>
              </a:path>
            </a:pathLst>
          </a:custGeom>
          <a:solidFill>
            <a:srgbClr val="EEF8F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14" name="Freeform: Shape 2613">
            <a:extLst>
              <a:ext uri="{FF2B5EF4-FFF2-40B4-BE49-F238E27FC236}">
                <a16:creationId xmlns:a16="http://schemas.microsoft.com/office/drawing/2014/main" id="{C2DCC481-2FC0-8B7E-0D9A-C45A15D768C5}"/>
              </a:ext>
            </a:extLst>
          </p:cNvPr>
          <p:cNvSpPr/>
          <p:nvPr/>
        </p:nvSpPr>
        <p:spPr>
          <a:xfrm>
            <a:off x="5766274" y="3353277"/>
            <a:ext cx="195997" cy="90063"/>
          </a:xfrm>
          <a:custGeom>
            <a:avLst/>
            <a:gdLst>
              <a:gd name="connsiteX0" fmla="*/ 18011 w 195997"/>
              <a:gd name="connsiteY0" fmla="*/ 0 h 90063"/>
              <a:gd name="connsiteX1" fmla="*/ 177987 w 195997"/>
              <a:gd name="connsiteY1" fmla="*/ 0 h 90063"/>
              <a:gd name="connsiteX2" fmla="*/ 195998 w 195997"/>
              <a:gd name="connsiteY2" fmla="*/ 18011 h 90063"/>
              <a:gd name="connsiteX3" fmla="*/ 195998 w 195997"/>
              <a:gd name="connsiteY3" fmla="*/ 72048 h 90063"/>
              <a:gd name="connsiteX4" fmla="*/ 177982 w 195997"/>
              <a:gd name="connsiteY4" fmla="*/ 90064 h 90063"/>
              <a:gd name="connsiteX5" fmla="*/ 18016 w 195997"/>
              <a:gd name="connsiteY5" fmla="*/ 90064 h 90063"/>
              <a:gd name="connsiteX6" fmla="*/ 0 w 195997"/>
              <a:gd name="connsiteY6" fmla="*/ 72048 h 90063"/>
              <a:gd name="connsiteX7" fmla="*/ 0 w 195997"/>
              <a:gd name="connsiteY7" fmla="*/ 18011 h 90063"/>
              <a:gd name="connsiteX8" fmla="*/ 18011 w 195997"/>
              <a:gd name="connsiteY8" fmla="*/ 0 h 90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5997" h="90063">
                <a:moveTo>
                  <a:pt x="18011" y="0"/>
                </a:moveTo>
                <a:lnTo>
                  <a:pt x="177987" y="0"/>
                </a:lnTo>
                <a:cubicBezTo>
                  <a:pt x="187931" y="0"/>
                  <a:pt x="195998" y="8072"/>
                  <a:pt x="195998" y="18011"/>
                </a:cubicBezTo>
                <a:lnTo>
                  <a:pt x="195998" y="72048"/>
                </a:lnTo>
                <a:cubicBezTo>
                  <a:pt x="195998" y="81992"/>
                  <a:pt x="187926" y="90064"/>
                  <a:pt x="177982" y="90064"/>
                </a:cubicBezTo>
                <a:lnTo>
                  <a:pt x="18016" y="90064"/>
                </a:lnTo>
                <a:cubicBezTo>
                  <a:pt x="8072" y="90064"/>
                  <a:pt x="0" y="81992"/>
                  <a:pt x="0" y="72048"/>
                </a:cubicBezTo>
                <a:lnTo>
                  <a:pt x="0" y="18011"/>
                </a:lnTo>
                <a:cubicBezTo>
                  <a:pt x="0" y="8072"/>
                  <a:pt x="8072" y="0"/>
                  <a:pt x="18011" y="0"/>
                </a:cubicBezTo>
                <a:close/>
              </a:path>
            </a:pathLst>
          </a:custGeom>
          <a:solidFill>
            <a:srgbClr val="71AEEC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15" name="Freeform: Shape 2614">
            <a:extLst>
              <a:ext uri="{FF2B5EF4-FFF2-40B4-BE49-F238E27FC236}">
                <a16:creationId xmlns:a16="http://schemas.microsoft.com/office/drawing/2014/main" id="{3CF5DA81-D02B-0150-29E3-36EC52AA3C99}"/>
              </a:ext>
            </a:extLst>
          </p:cNvPr>
          <p:cNvSpPr/>
          <p:nvPr/>
        </p:nvSpPr>
        <p:spPr>
          <a:xfrm>
            <a:off x="5788886" y="3384303"/>
            <a:ext cx="30023" cy="30017"/>
          </a:xfrm>
          <a:custGeom>
            <a:avLst/>
            <a:gdLst>
              <a:gd name="connsiteX0" fmla="*/ 30023 w 30023"/>
              <a:gd name="connsiteY0" fmla="*/ 15012 h 30017"/>
              <a:gd name="connsiteX1" fmla="*/ 15006 w 30023"/>
              <a:gd name="connsiteY1" fmla="*/ 30018 h 30017"/>
              <a:gd name="connsiteX2" fmla="*/ 0 w 30023"/>
              <a:gd name="connsiteY2" fmla="*/ 15012 h 30017"/>
              <a:gd name="connsiteX3" fmla="*/ 15006 w 30023"/>
              <a:gd name="connsiteY3" fmla="*/ 0 h 30017"/>
              <a:gd name="connsiteX4" fmla="*/ 30023 w 30023"/>
              <a:gd name="connsiteY4" fmla="*/ 15012 h 30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23" h="30017">
                <a:moveTo>
                  <a:pt x="30023" y="15012"/>
                </a:moveTo>
                <a:cubicBezTo>
                  <a:pt x="30023" y="23301"/>
                  <a:pt x="23301" y="30018"/>
                  <a:pt x="15006" y="30018"/>
                </a:cubicBezTo>
                <a:cubicBezTo>
                  <a:pt x="6712" y="30018"/>
                  <a:pt x="0" y="23296"/>
                  <a:pt x="0" y="15012"/>
                </a:cubicBezTo>
                <a:cubicBezTo>
                  <a:pt x="0" y="6728"/>
                  <a:pt x="6722" y="0"/>
                  <a:pt x="15006" y="0"/>
                </a:cubicBezTo>
                <a:cubicBezTo>
                  <a:pt x="23290" y="0"/>
                  <a:pt x="30023" y="6717"/>
                  <a:pt x="30023" y="15012"/>
                </a:cubicBezTo>
                <a:close/>
              </a:path>
            </a:pathLst>
          </a:custGeom>
          <a:solidFill>
            <a:srgbClr val="A3CFF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16" name="Freeform: Shape 2615">
            <a:extLst>
              <a:ext uri="{FF2B5EF4-FFF2-40B4-BE49-F238E27FC236}">
                <a16:creationId xmlns:a16="http://schemas.microsoft.com/office/drawing/2014/main" id="{36821F2B-D33B-F56D-39E7-D52AA5AEE663}"/>
              </a:ext>
            </a:extLst>
          </p:cNvPr>
          <p:cNvSpPr/>
          <p:nvPr/>
        </p:nvSpPr>
        <p:spPr>
          <a:xfrm>
            <a:off x="5913689" y="3384303"/>
            <a:ext cx="30022" cy="30017"/>
          </a:xfrm>
          <a:custGeom>
            <a:avLst/>
            <a:gdLst>
              <a:gd name="connsiteX0" fmla="*/ 30023 w 30022"/>
              <a:gd name="connsiteY0" fmla="*/ 15012 h 30017"/>
              <a:gd name="connsiteX1" fmla="*/ 15011 w 30022"/>
              <a:gd name="connsiteY1" fmla="*/ 30018 h 30017"/>
              <a:gd name="connsiteX2" fmla="*/ 0 w 30022"/>
              <a:gd name="connsiteY2" fmla="*/ 15012 h 30017"/>
              <a:gd name="connsiteX3" fmla="*/ 15011 w 30022"/>
              <a:gd name="connsiteY3" fmla="*/ 0 h 30017"/>
              <a:gd name="connsiteX4" fmla="*/ 30023 w 30022"/>
              <a:gd name="connsiteY4" fmla="*/ 15012 h 30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22" h="30017">
                <a:moveTo>
                  <a:pt x="30023" y="15012"/>
                </a:moveTo>
                <a:cubicBezTo>
                  <a:pt x="30023" y="23301"/>
                  <a:pt x="23301" y="30018"/>
                  <a:pt x="15011" y="30018"/>
                </a:cubicBezTo>
                <a:cubicBezTo>
                  <a:pt x="6722" y="30018"/>
                  <a:pt x="0" y="23296"/>
                  <a:pt x="0" y="15012"/>
                </a:cubicBezTo>
                <a:cubicBezTo>
                  <a:pt x="0" y="6728"/>
                  <a:pt x="6722" y="0"/>
                  <a:pt x="15011" y="0"/>
                </a:cubicBezTo>
                <a:cubicBezTo>
                  <a:pt x="23301" y="0"/>
                  <a:pt x="30023" y="6717"/>
                  <a:pt x="30023" y="15012"/>
                </a:cubicBezTo>
                <a:close/>
              </a:path>
            </a:pathLst>
          </a:custGeom>
          <a:solidFill>
            <a:srgbClr val="A3CFF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17" name="Freeform: Shape 2616">
            <a:extLst>
              <a:ext uri="{FF2B5EF4-FFF2-40B4-BE49-F238E27FC236}">
                <a16:creationId xmlns:a16="http://schemas.microsoft.com/office/drawing/2014/main" id="{F4AA076E-8B1D-94A6-5816-8A303D050E25}"/>
              </a:ext>
            </a:extLst>
          </p:cNvPr>
          <p:cNvSpPr/>
          <p:nvPr/>
        </p:nvSpPr>
        <p:spPr>
          <a:xfrm>
            <a:off x="5708177" y="3587860"/>
            <a:ext cx="312200" cy="4938"/>
          </a:xfrm>
          <a:custGeom>
            <a:avLst/>
            <a:gdLst>
              <a:gd name="connsiteX0" fmla="*/ 3066 w 312200"/>
              <a:gd name="connsiteY0" fmla="*/ 0 h 4938"/>
              <a:gd name="connsiteX1" fmla="*/ 309134 w 312200"/>
              <a:gd name="connsiteY1" fmla="*/ 0 h 4938"/>
              <a:gd name="connsiteX2" fmla="*/ 312201 w 312200"/>
              <a:gd name="connsiteY2" fmla="*/ 2467 h 4938"/>
              <a:gd name="connsiteX3" fmla="*/ 312201 w 312200"/>
              <a:gd name="connsiteY3" fmla="*/ 2467 h 4938"/>
              <a:gd name="connsiteX4" fmla="*/ 309134 w 312200"/>
              <a:gd name="connsiteY4" fmla="*/ 4938 h 4938"/>
              <a:gd name="connsiteX5" fmla="*/ 3066 w 312200"/>
              <a:gd name="connsiteY5" fmla="*/ 4938 h 4938"/>
              <a:gd name="connsiteX6" fmla="*/ 0 w 312200"/>
              <a:gd name="connsiteY6" fmla="*/ 2467 h 4938"/>
              <a:gd name="connsiteX7" fmla="*/ 0 w 312200"/>
              <a:gd name="connsiteY7" fmla="*/ 2467 h 4938"/>
              <a:gd name="connsiteX8" fmla="*/ 3066 w 312200"/>
              <a:gd name="connsiteY8" fmla="*/ 0 h 4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200" h="4938">
                <a:moveTo>
                  <a:pt x="3066" y="0"/>
                </a:moveTo>
                <a:lnTo>
                  <a:pt x="309134" y="0"/>
                </a:lnTo>
                <a:cubicBezTo>
                  <a:pt x="310820" y="0"/>
                  <a:pt x="312201" y="1112"/>
                  <a:pt x="312201" y="2467"/>
                </a:cubicBezTo>
                <a:lnTo>
                  <a:pt x="312201" y="2467"/>
                </a:lnTo>
                <a:cubicBezTo>
                  <a:pt x="312201" y="3827"/>
                  <a:pt x="310815" y="4938"/>
                  <a:pt x="309134" y="4938"/>
                </a:cubicBezTo>
                <a:lnTo>
                  <a:pt x="3066" y="4938"/>
                </a:lnTo>
                <a:cubicBezTo>
                  <a:pt x="1391" y="4938"/>
                  <a:pt x="0" y="3827"/>
                  <a:pt x="0" y="2467"/>
                </a:cubicBezTo>
                <a:lnTo>
                  <a:pt x="0" y="2467"/>
                </a:lnTo>
                <a:cubicBezTo>
                  <a:pt x="0" y="1112"/>
                  <a:pt x="1381" y="0"/>
                  <a:pt x="3066" y="0"/>
                </a:cubicBezTo>
                <a:close/>
              </a:path>
            </a:pathLst>
          </a:custGeom>
          <a:solidFill>
            <a:srgbClr val="B3D5F6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18" name="Freeform: Shape 2617">
            <a:extLst>
              <a:ext uri="{FF2B5EF4-FFF2-40B4-BE49-F238E27FC236}">
                <a16:creationId xmlns:a16="http://schemas.microsoft.com/office/drawing/2014/main" id="{0AAB1B4D-0814-70F5-B6C1-0FA2A0AB73A6}"/>
              </a:ext>
            </a:extLst>
          </p:cNvPr>
          <p:cNvSpPr/>
          <p:nvPr/>
        </p:nvSpPr>
        <p:spPr>
          <a:xfrm>
            <a:off x="5828181" y="3388062"/>
            <a:ext cx="72197" cy="6587"/>
          </a:xfrm>
          <a:custGeom>
            <a:avLst/>
            <a:gdLst>
              <a:gd name="connsiteX0" fmla="*/ 2766 w 72197"/>
              <a:gd name="connsiteY0" fmla="*/ 0 h 6587"/>
              <a:gd name="connsiteX1" fmla="*/ 69426 w 72197"/>
              <a:gd name="connsiteY1" fmla="*/ 0 h 6587"/>
              <a:gd name="connsiteX2" fmla="*/ 72198 w 72197"/>
              <a:gd name="connsiteY2" fmla="*/ 2772 h 6587"/>
              <a:gd name="connsiteX3" fmla="*/ 72198 w 72197"/>
              <a:gd name="connsiteY3" fmla="*/ 3821 h 6587"/>
              <a:gd name="connsiteX4" fmla="*/ 69426 w 72197"/>
              <a:gd name="connsiteY4" fmla="*/ 6588 h 6587"/>
              <a:gd name="connsiteX5" fmla="*/ 2766 w 72197"/>
              <a:gd name="connsiteY5" fmla="*/ 6588 h 6587"/>
              <a:gd name="connsiteX6" fmla="*/ 0 w 72197"/>
              <a:gd name="connsiteY6" fmla="*/ 3821 h 6587"/>
              <a:gd name="connsiteX7" fmla="*/ 0 w 72197"/>
              <a:gd name="connsiteY7" fmla="*/ 2772 h 6587"/>
              <a:gd name="connsiteX8" fmla="*/ 2766 w 72197"/>
              <a:gd name="connsiteY8" fmla="*/ 0 h 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197" h="6587">
                <a:moveTo>
                  <a:pt x="2766" y="0"/>
                </a:moveTo>
                <a:lnTo>
                  <a:pt x="69426" y="0"/>
                </a:lnTo>
                <a:cubicBezTo>
                  <a:pt x="70957" y="0"/>
                  <a:pt x="72198" y="1236"/>
                  <a:pt x="72198" y="2772"/>
                </a:cubicBezTo>
                <a:lnTo>
                  <a:pt x="72198" y="3821"/>
                </a:lnTo>
                <a:cubicBezTo>
                  <a:pt x="72198" y="5352"/>
                  <a:pt x="70957" y="6588"/>
                  <a:pt x="69426" y="6588"/>
                </a:cubicBezTo>
                <a:lnTo>
                  <a:pt x="2766" y="6588"/>
                </a:lnTo>
                <a:cubicBezTo>
                  <a:pt x="1236" y="6588"/>
                  <a:pt x="0" y="5352"/>
                  <a:pt x="0" y="3821"/>
                </a:cubicBezTo>
                <a:lnTo>
                  <a:pt x="0" y="2772"/>
                </a:lnTo>
                <a:cubicBezTo>
                  <a:pt x="0" y="1241"/>
                  <a:pt x="1236" y="0"/>
                  <a:pt x="2766" y="0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19" name="Freeform: Shape 2618">
            <a:extLst>
              <a:ext uri="{FF2B5EF4-FFF2-40B4-BE49-F238E27FC236}">
                <a16:creationId xmlns:a16="http://schemas.microsoft.com/office/drawing/2014/main" id="{5C954291-CE33-CDB1-D2CA-80DA720159BA}"/>
              </a:ext>
            </a:extLst>
          </p:cNvPr>
          <p:cNvSpPr/>
          <p:nvPr/>
        </p:nvSpPr>
        <p:spPr>
          <a:xfrm>
            <a:off x="5828181" y="3402081"/>
            <a:ext cx="72197" cy="6587"/>
          </a:xfrm>
          <a:custGeom>
            <a:avLst/>
            <a:gdLst>
              <a:gd name="connsiteX0" fmla="*/ 2766 w 72197"/>
              <a:gd name="connsiteY0" fmla="*/ 0 h 6587"/>
              <a:gd name="connsiteX1" fmla="*/ 69426 w 72197"/>
              <a:gd name="connsiteY1" fmla="*/ 0 h 6587"/>
              <a:gd name="connsiteX2" fmla="*/ 72198 w 72197"/>
              <a:gd name="connsiteY2" fmla="*/ 2772 h 6587"/>
              <a:gd name="connsiteX3" fmla="*/ 72198 w 72197"/>
              <a:gd name="connsiteY3" fmla="*/ 3821 h 6587"/>
              <a:gd name="connsiteX4" fmla="*/ 69426 w 72197"/>
              <a:gd name="connsiteY4" fmla="*/ 6588 h 6587"/>
              <a:gd name="connsiteX5" fmla="*/ 2766 w 72197"/>
              <a:gd name="connsiteY5" fmla="*/ 6588 h 6587"/>
              <a:gd name="connsiteX6" fmla="*/ 0 w 72197"/>
              <a:gd name="connsiteY6" fmla="*/ 3821 h 6587"/>
              <a:gd name="connsiteX7" fmla="*/ 0 w 72197"/>
              <a:gd name="connsiteY7" fmla="*/ 2772 h 6587"/>
              <a:gd name="connsiteX8" fmla="*/ 2766 w 72197"/>
              <a:gd name="connsiteY8" fmla="*/ 0 h 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197" h="6587">
                <a:moveTo>
                  <a:pt x="2766" y="0"/>
                </a:moveTo>
                <a:lnTo>
                  <a:pt x="69426" y="0"/>
                </a:lnTo>
                <a:cubicBezTo>
                  <a:pt x="70957" y="0"/>
                  <a:pt x="72198" y="1236"/>
                  <a:pt x="72198" y="2772"/>
                </a:cubicBezTo>
                <a:lnTo>
                  <a:pt x="72198" y="3821"/>
                </a:lnTo>
                <a:cubicBezTo>
                  <a:pt x="72198" y="5352"/>
                  <a:pt x="70957" y="6588"/>
                  <a:pt x="69426" y="6588"/>
                </a:cubicBezTo>
                <a:lnTo>
                  <a:pt x="2766" y="6588"/>
                </a:lnTo>
                <a:cubicBezTo>
                  <a:pt x="1236" y="6588"/>
                  <a:pt x="0" y="5352"/>
                  <a:pt x="0" y="3821"/>
                </a:cubicBezTo>
                <a:lnTo>
                  <a:pt x="0" y="2772"/>
                </a:lnTo>
                <a:cubicBezTo>
                  <a:pt x="0" y="1241"/>
                  <a:pt x="1236" y="0"/>
                  <a:pt x="2766" y="0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20" name="Freeform: Shape 2619">
            <a:extLst>
              <a:ext uri="{FF2B5EF4-FFF2-40B4-BE49-F238E27FC236}">
                <a16:creationId xmlns:a16="http://schemas.microsoft.com/office/drawing/2014/main" id="{7E909F36-5A31-C1D6-5B3E-7DD06DE14A09}"/>
              </a:ext>
            </a:extLst>
          </p:cNvPr>
          <p:cNvSpPr/>
          <p:nvPr/>
        </p:nvSpPr>
        <p:spPr>
          <a:xfrm>
            <a:off x="5914997" y="3387390"/>
            <a:ext cx="25632" cy="25632"/>
          </a:xfrm>
          <a:custGeom>
            <a:avLst/>
            <a:gdLst>
              <a:gd name="connsiteX0" fmla="*/ 25633 w 25632"/>
              <a:gd name="connsiteY0" fmla="*/ 12814 h 25632"/>
              <a:gd name="connsiteX1" fmla="*/ 12814 w 25632"/>
              <a:gd name="connsiteY1" fmla="*/ 25633 h 25632"/>
              <a:gd name="connsiteX2" fmla="*/ 0 w 25632"/>
              <a:gd name="connsiteY2" fmla="*/ 12814 h 25632"/>
              <a:gd name="connsiteX3" fmla="*/ 12814 w 25632"/>
              <a:gd name="connsiteY3" fmla="*/ 0 h 25632"/>
              <a:gd name="connsiteX4" fmla="*/ 25633 w 25632"/>
              <a:gd name="connsiteY4" fmla="*/ 12814 h 25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" h="25632">
                <a:moveTo>
                  <a:pt x="25633" y="12814"/>
                </a:moveTo>
                <a:cubicBezTo>
                  <a:pt x="25633" y="19893"/>
                  <a:pt x="19893" y="25633"/>
                  <a:pt x="12814" y="25633"/>
                </a:cubicBezTo>
                <a:cubicBezTo>
                  <a:pt x="5740" y="25633"/>
                  <a:pt x="0" y="19893"/>
                  <a:pt x="0" y="12814"/>
                </a:cubicBezTo>
                <a:cubicBezTo>
                  <a:pt x="0" y="5735"/>
                  <a:pt x="5740" y="0"/>
                  <a:pt x="12814" y="0"/>
                </a:cubicBezTo>
                <a:cubicBezTo>
                  <a:pt x="19888" y="0"/>
                  <a:pt x="25633" y="5735"/>
                  <a:pt x="25633" y="12814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21" name="Freeform: Shape 2620">
            <a:extLst>
              <a:ext uri="{FF2B5EF4-FFF2-40B4-BE49-F238E27FC236}">
                <a16:creationId xmlns:a16="http://schemas.microsoft.com/office/drawing/2014/main" id="{E6DEAE82-35EE-E89C-215B-EC856389B7E2}"/>
              </a:ext>
            </a:extLst>
          </p:cNvPr>
          <p:cNvSpPr/>
          <p:nvPr/>
        </p:nvSpPr>
        <p:spPr>
          <a:xfrm>
            <a:off x="5789740" y="3388414"/>
            <a:ext cx="25632" cy="25632"/>
          </a:xfrm>
          <a:custGeom>
            <a:avLst/>
            <a:gdLst>
              <a:gd name="connsiteX0" fmla="*/ 25633 w 25632"/>
              <a:gd name="connsiteY0" fmla="*/ 12819 h 25632"/>
              <a:gd name="connsiteX1" fmla="*/ 12814 w 25632"/>
              <a:gd name="connsiteY1" fmla="*/ 25633 h 25632"/>
              <a:gd name="connsiteX2" fmla="*/ 0 w 25632"/>
              <a:gd name="connsiteY2" fmla="*/ 12819 h 25632"/>
              <a:gd name="connsiteX3" fmla="*/ 12814 w 25632"/>
              <a:gd name="connsiteY3" fmla="*/ 0 h 25632"/>
              <a:gd name="connsiteX4" fmla="*/ 25633 w 25632"/>
              <a:gd name="connsiteY4" fmla="*/ 12819 h 25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" h="25632">
                <a:moveTo>
                  <a:pt x="25633" y="12819"/>
                </a:moveTo>
                <a:cubicBezTo>
                  <a:pt x="25633" y="19898"/>
                  <a:pt x="19893" y="25633"/>
                  <a:pt x="12814" y="25633"/>
                </a:cubicBezTo>
                <a:cubicBezTo>
                  <a:pt x="5735" y="25633"/>
                  <a:pt x="0" y="19893"/>
                  <a:pt x="0" y="12819"/>
                </a:cubicBezTo>
                <a:cubicBezTo>
                  <a:pt x="0" y="5745"/>
                  <a:pt x="5740" y="0"/>
                  <a:pt x="12814" y="0"/>
                </a:cubicBezTo>
                <a:cubicBezTo>
                  <a:pt x="19888" y="0"/>
                  <a:pt x="25633" y="5735"/>
                  <a:pt x="25633" y="12819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22" name="Freeform: Shape 2621">
            <a:extLst>
              <a:ext uri="{FF2B5EF4-FFF2-40B4-BE49-F238E27FC236}">
                <a16:creationId xmlns:a16="http://schemas.microsoft.com/office/drawing/2014/main" id="{D2FBB66A-EBC2-99A4-6B4A-9ACA73CEAC7D}"/>
              </a:ext>
            </a:extLst>
          </p:cNvPr>
          <p:cNvSpPr/>
          <p:nvPr/>
        </p:nvSpPr>
        <p:spPr>
          <a:xfrm>
            <a:off x="5708249" y="3454107"/>
            <a:ext cx="121663" cy="119171"/>
          </a:xfrm>
          <a:custGeom>
            <a:avLst/>
            <a:gdLst>
              <a:gd name="connsiteX0" fmla="*/ 113313 w 121663"/>
              <a:gd name="connsiteY0" fmla="*/ 0 h 119171"/>
              <a:gd name="connsiteX1" fmla="*/ 121664 w 121663"/>
              <a:gd name="connsiteY1" fmla="*/ 8351 h 119171"/>
              <a:gd name="connsiteX2" fmla="*/ 121664 w 121663"/>
              <a:gd name="connsiteY2" fmla="*/ 110820 h 119171"/>
              <a:gd name="connsiteX3" fmla="*/ 113313 w 121663"/>
              <a:gd name="connsiteY3" fmla="*/ 119172 h 119171"/>
              <a:gd name="connsiteX4" fmla="*/ 8351 w 121663"/>
              <a:gd name="connsiteY4" fmla="*/ 119172 h 119171"/>
              <a:gd name="connsiteX5" fmla="*/ 0 w 121663"/>
              <a:gd name="connsiteY5" fmla="*/ 110820 h 119171"/>
              <a:gd name="connsiteX6" fmla="*/ 0 w 121663"/>
              <a:gd name="connsiteY6" fmla="*/ 8351 h 119171"/>
              <a:gd name="connsiteX7" fmla="*/ 8351 w 121663"/>
              <a:gd name="connsiteY7" fmla="*/ 0 h 119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663" h="119171">
                <a:moveTo>
                  <a:pt x="113313" y="0"/>
                </a:moveTo>
                <a:cubicBezTo>
                  <a:pt x="117925" y="0"/>
                  <a:pt x="121664" y="3739"/>
                  <a:pt x="121664" y="8351"/>
                </a:cubicBezTo>
                <a:lnTo>
                  <a:pt x="121664" y="110820"/>
                </a:lnTo>
                <a:cubicBezTo>
                  <a:pt x="121664" y="115433"/>
                  <a:pt x="117925" y="119172"/>
                  <a:pt x="113313" y="119172"/>
                </a:cubicBezTo>
                <a:lnTo>
                  <a:pt x="8351" y="119172"/>
                </a:lnTo>
                <a:cubicBezTo>
                  <a:pt x="3739" y="119172"/>
                  <a:pt x="0" y="115433"/>
                  <a:pt x="0" y="110820"/>
                </a:cubicBezTo>
                <a:lnTo>
                  <a:pt x="0" y="8351"/>
                </a:lnTo>
                <a:cubicBezTo>
                  <a:pt x="0" y="3739"/>
                  <a:pt x="3739" y="0"/>
                  <a:pt x="8351" y="0"/>
                </a:cubicBezTo>
                <a:close/>
              </a:path>
            </a:pathLst>
          </a:custGeom>
          <a:solidFill>
            <a:srgbClr val="FFFF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23" name="Freeform: Shape 2622">
            <a:extLst>
              <a:ext uri="{FF2B5EF4-FFF2-40B4-BE49-F238E27FC236}">
                <a16:creationId xmlns:a16="http://schemas.microsoft.com/office/drawing/2014/main" id="{141D9CAB-9AA1-7606-E5E2-7AF1C08BD5B0}"/>
              </a:ext>
            </a:extLst>
          </p:cNvPr>
          <p:cNvSpPr/>
          <p:nvPr/>
        </p:nvSpPr>
        <p:spPr>
          <a:xfrm>
            <a:off x="5842138" y="3479388"/>
            <a:ext cx="177335" cy="35933"/>
          </a:xfrm>
          <a:custGeom>
            <a:avLst/>
            <a:gdLst>
              <a:gd name="connsiteX0" fmla="*/ 174657 w 177335"/>
              <a:gd name="connsiteY0" fmla="*/ 5352 h 35933"/>
              <a:gd name="connsiteX1" fmla="*/ 150136 w 177335"/>
              <a:gd name="connsiteY1" fmla="*/ 5352 h 35933"/>
              <a:gd name="connsiteX2" fmla="*/ 147457 w 177335"/>
              <a:gd name="connsiteY2" fmla="*/ 2679 h 35933"/>
              <a:gd name="connsiteX3" fmla="*/ 150136 w 177335"/>
              <a:gd name="connsiteY3" fmla="*/ 0 h 35933"/>
              <a:gd name="connsiteX4" fmla="*/ 174657 w 177335"/>
              <a:gd name="connsiteY4" fmla="*/ 0 h 35933"/>
              <a:gd name="connsiteX5" fmla="*/ 177335 w 177335"/>
              <a:gd name="connsiteY5" fmla="*/ 2679 h 35933"/>
              <a:gd name="connsiteX6" fmla="*/ 174657 w 177335"/>
              <a:gd name="connsiteY6" fmla="*/ 5352 h 35933"/>
              <a:gd name="connsiteX7" fmla="*/ 174657 w 177335"/>
              <a:gd name="connsiteY7" fmla="*/ 5352 h 35933"/>
              <a:gd name="connsiteX8" fmla="*/ 70724 w 177335"/>
              <a:gd name="connsiteY8" fmla="*/ 35934 h 35933"/>
              <a:gd name="connsiteX9" fmla="*/ 2679 w 177335"/>
              <a:gd name="connsiteY9" fmla="*/ 35934 h 35933"/>
              <a:gd name="connsiteX10" fmla="*/ 0 w 177335"/>
              <a:gd name="connsiteY10" fmla="*/ 33255 h 35933"/>
              <a:gd name="connsiteX11" fmla="*/ 2679 w 177335"/>
              <a:gd name="connsiteY11" fmla="*/ 30582 h 35933"/>
              <a:gd name="connsiteX12" fmla="*/ 70724 w 177335"/>
              <a:gd name="connsiteY12" fmla="*/ 30582 h 35933"/>
              <a:gd name="connsiteX13" fmla="*/ 73403 w 177335"/>
              <a:gd name="connsiteY13" fmla="*/ 33255 h 35933"/>
              <a:gd name="connsiteX14" fmla="*/ 70724 w 177335"/>
              <a:gd name="connsiteY14" fmla="*/ 35934 h 35933"/>
              <a:gd name="connsiteX15" fmla="*/ 70724 w 177335"/>
              <a:gd name="connsiteY15" fmla="*/ 35934 h 35933"/>
              <a:gd name="connsiteX16" fmla="*/ 147985 w 177335"/>
              <a:gd name="connsiteY16" fmla="*/ 35934 h 35933"/>
              <a:gd name="connsiteX17" fmla="*/ 81697 w 177335"/>
              <a:gd name="connsiteY17" fmla="*/ 35934 h 35933"/>
              <a:gd name="connsiteX18" fmla="*/ 79024 w 177335"/>
              <a:gd name="connsiteY18" fmla="*/ 33255 h 35933"/>
              <a:gd name="connsiteX19" fmla="*/ 81697 w 177335"/>
              <a:gd name="connsiteY19" fmla="*/ 30582 h 35933"/>
              <a:gd name="connsiteX20" fmla="*/ 147985 w 177335"/>
              <a:gd name="connsiteY20" fmla="*/ 30582 h 35933"/>
              <a:gd name="connsiteX21" fmla="*/ 150663 w 177335"/>
              <a:gd name="connsiteY21" fmla="*/ 33255 h 35933"/>
              <a:gd name="connsiteX22" fmla="*/ 147985 w 177335"/>
              <a:gd name="connsiteY22" fmla="*/ 35934 h 35933"/>
              <a:gd name="connsiteX23" fmla="*/ 147985 w 177335"/>
              <a:gd name="connsiteY23" fmla="*/ 35934 h 35933"/>
              <a:gd name="connsiteX24" fmla="*/ 44812 w 177335"/>
              <a:gd name="connsiteY24" fmla="*/ 20643 h 35933"/>
              <a:gd name="connsiteX25" fmla="*/ 2679 w 177335"/>
              <a:gd name="connsiteY25" fmla="*/ 20643 h 35933"/>
              <a:gd name="connsiteX26" fmla="*/ 0 w 177335"/>
              <a:gd name="connsiteY26" fmla="*/ 17969 h 35933"/>
              <a:gd name="connsiteX27" fmla="*/ 2679 w 177335"/>
              <a:gd name="connsiteY27" fmla="*/ 15291 h 35933"/>
              <a:gd name="connsiteX28" fmla="*/ 44812 w 177335"/>
              <a:gd name="connsiteY28" fmla="*/ 15291 h 35933"/>
              <a:gd name="connsiteX29" fmla="*/ 47491 w 177335"/>
              <a:gd name="connsiteY29" fmla="*/ 17969 h 35933"/>
              <a:gd name="connsiteX30" fmla="*/ 44812 w 177335"/>
              <a:gd name="connsiteY30" fmla="*/ 20643 h 35933"/>
              <a:gd name="connsiteX31" fmla="*/ 44812 w 177335"/>
              <a:gd name="connsiteY31" fmla="*/ 20643 h 35933"/>
              <a:gd name="connsiteX32" fmla="*/ 174657 w 177335"/>
              <a:gd name="connsiteY32" fmla="*/ 20643 h 35933"/>
              <a:gd name="connsiteX33" fmla="*/ 56592 w 177335"/>
              <a:gd name="connsiteY33" fmla="*/ 20643 h 35933"/>
              <a:gd name="connsiteX34" fmla="*/ 53913 w 177335"/>
              <a:gd name="connsiteY34" fmla="*/ 17969 h 35933"/>
              <a:gd name="connsiteX35" fmla="*/ 56592 w 177335"/>
              <a:gd name="connsiteY35" fmla="*/ 15291 h 35933"/>
              <a:gd name="connsiteX36" fmla="*/ 174657 w 177335"/>
              <a:gd name="connsiteY36" fmla="*/ 15291 h 35933"/>
              <a:gd name="connsiteX37" fmla="*/ 177335 w 177335"/>
              <a:gd name="connsiteY37" fmla="*/ 17969 h 35933"/>
              <a:gd name="connsiteX38" fmla="*/ 174657 w 177335"/>
              <a:gd name="connsiteY38" fmla="*/ 20643 h 35933"/>
              <a:gd name="connsiteX39" fmla="*/ 174657 w 177335"/>
              <a:gd name="connsiteY39" fmla="*/ 20643 h 35933"/>
              <a:gd name="connsiteX40" fmla="*/ 138775 w 177335"/>
              <a:gd name="connsiteY40" fmla="*/ 5352 h 35933"/>
              <a:gd name="connsiteX41" fmla="*/ 2679 w 177335"/>
              <a:gd name="connsiteY41" fmla="*/ 5352 h 35933"/>
              <a:gd name="connsiteX42" fmla="*/ 0 w 177335"/>
              <a:gd name="connsiteY42" fmla="*/ 2679 h 35933"/>
              <a:gd name="connsiteX43" fmla="*/ 2679 w 177335"/>
              <a:gd name="connsiteY43" fmla="*/ 0 h 35933"/>
              <a:gd name="connsiteX44" fmla="*/ 138775 w 177335"/>
              <a:gd name="connsiteY44" fmla="*/ 0 h 35933"/>
              <a:gd name="connsiteX45" fmla="*/ 141454 w 177335"/>
              <a:gd name="connsiteY45" fmla="*/ 2679 h 35933"/>
              <a:gd name="connsiteX46" fmla="*/ 138775 w 177335"/>
              <a:gd name="connsiteY46" fmla="*/ 5352 h 3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77335" h="35933">
                <a:moveTo>
                  <a:pt x="174657" y="5352"/>
                </a:moveTo>
                <a:lnTo>
                  <a:pt x="150136" y="5352"/>
                </a:lnTo>
                <a:cubicBezTo>
                  <a:pt x="148657" y="5352"/>
                  <a:pt x="147457" y="4158"/>
                  <a:pt x="147457" y="2679"/>
                </a:cubicBezTo>
                <a:cubicBezTo>
                  <a:pt x="147457" y="1200"/>
                  <a:pt x="148657" y="0"/>
                  <a:pt x="150136" y="0"/>
                </a:cubicBezTo>
                <a:lnTo>
                  <a:pt x="174657" y="0"/>
                </a:lnTo>
                <a:cubicBezTo>
                  <a:pt x="176136" y="0"/>
                  <a:pt x="177335" y="1200"/>
                  <a:pt x="177335" y="2679"/>
                </a:cubicBezTo>
                <a:cubicBezTo>
                  <a:pt x="177335" y="4158"/>
                  <a:pt x="176136" y="5352"/>
                  <a:pt x="174657" y="5352"/>
                </a:cubicBezTo>
                <a:lnTo>
                  <a:pt x="174657" y="5352"/>
                </a:lnTo>
                <a:close/>
                <a:moveTo>
                  <a:pt x="70724" y="35934"/>
                </a:moveTo>
                <a:lnTo>
                  <a:pt x="2679" y="35934"/>
                </a:lnTo>
                <a:cubicBezTo>
                  <a:pt x="1195" y="35934"/>
                  <a:pt x="0" y="34734"/>
                  <a:pt x="0" y="33255"/>
                </a:cubicBezTo>
                <a:cubicBezTo>
                  <a:pt x="0" y="31776"/>
                  <a:pt x="1195" y="30582"/>
                  <a:pt x="2679" y="30582"/>
                </a:cubicBezTo>
                <a:lnTo>
                  <a:pt x="70724" y="30582"/>
                </a:lnTo>
                <a:cubicBezTo>
                  <a:pt x="72203" y="30582"/>
                  <a:pt x="73403" y="31781"/>
                  <a:pt x="73403" y="33255"/>
                </a:cubicBezTo>
                <a:cubicBezTo>
                  <a:pt x="73403" y="34729"/>
                  <a:pt x="72203" y="35934"/>
                  <a:pt x="70724" y="35934"/>
                </a:cubicBezTo>
                <a:lnTo>
                  <a:pt x="70724" y="35934"/>
                </a:lnTo>
                <a:close/>
                <a:moveTo>
                  <a:pt x="147985" y="35934"/>
                </a:moveTo>
                <a:lnTo>
                  <a:pt x="81697" y="35934"/>
                </a:lnTo>
                <a:cubicBezTo>
                  <a:pt x="80218" y="35934"/>
                  <a:pt x="79024" y="34734"/>
                  <a:pt x="79024" y="33255"/>
                </a:cubicBezTo>
                <a:cubicBezTo>
                  <a:pt x="79024" y="31776"/>
                  <a:pt x="80218" y="30582"/>
                  <a:pt x="81697" y="30582"/>
                </a:cubicBezTo>
                <a:lnTo>
                  <a:pt x="147985" y="30582"/>
                </a:lnTo>
                <a:cubicBezTo>
                  <a:pt x="149458" y="30582"/>
                  <a:pt x="150663" y="31781"/>
                  <a:pt x="150663" y="33255"/>
                </a:cubicBezTo>
                <a:cubicBezTo>
                  <a:pt x="150663" y="34729"/>
                  <a:pt x="149458" y="35934"/>
                  <a:pt x="147985" y="35934"/>
                </a:cubicBezTo>
                <a:lnTo>
                  <a:pt x="147985" y="35934"/>
                </a:lnTo>
                <a:close/>
                <a:moveTo>
                  <a:pt x="44812" y="20643"/>
                </a:moveTo>
                <a:lnTo>
                  <a:pt x="2679" y="20643"/>
                </a:lnTo>
                <a:cubicBezTo>
                  <a:pt x="1195" y="20643"/>
                  <a:pt x="0" y="19443"/>
                  <a:pt x="0" y="17969"/>
                </a:cubicBezTo>
                <a:cubicBezTo>
                  <a:pt x="0" y="16496"/>
                  <a:pt x="1195" y="15291"/>
                  <a:pt x="2679" y="15291"/>
                </a:cubicBezTo>
                <a:lnTo>
                  <a:pt x="44812" y="15291"/>
                </a:lnTo>
                <a:cubicBezTo>
                  <a:pt x="46291" y="15291"/>
                  <a:pt x="47491" y="16490"/>
                  <a:pt x="47491" y="17969"/>
                </a:cubicBezTo>
                <a:cubicBezTo>
                  <a:pt x="47491" y="19448"/>
                  <a:pt x="46291" y="20648"/>
                  <a:pt x="44812" y="20643"/>
                </a:cubicBezTo>
                <a:lnTo>
                  <a:pt x="44812" y="20643"/>
                </a:lnTo>
                <a:close/>
                <a:moveTo>
                  <a:pt x="174657" y="20643"/>
                </a:moveTo>
                <a:lnTo>
                  <a:pt x="56592" y="20643"/>
                </a:lnTo>
                <a:cubicBezTo>
                  <a:pt x="55113" y="20643"/>
                  <a:pt x="53913" y="19443"/>
                  <a:pt x="53913" y="17969"/>
                </a:cubicBezTo>
                <a:cubicBezTo>
                  <a:pt x="53913" y="16496"/>
                  <a:pt x="55113" y="15291"/>
                  <a:pt x="56592" y="15291"/>
                </a:cubicBezTo>
                <a:lnTo>
                  <a:pt x="174657" y="15291"/>
                </a:lnTo>
                <a:cubicBezTo>
                  <a:pt x="176136" y="15291"/>
                  <a:pt x="177335" y="16490"/>
                  <a:pt x="177335" y="17969"/>
                </a:cubicBezTo>
                <a:cubicBezTo>
                  <a:pt x="177335" y="19448"/>
                  <a:pt x="176136" y="20648"/>
                  <a:pt x="174657" y="20643"/>
                </a:cubicBezTo>
                <a:lnTo>
                  <a:pt x="174657" y="20643"/>
                </a:lnTo>
                <a:close/>
                <a:moveTo>
                  <a:pt x="138775" y="5352"/>
                </a:moveTo>
                <a:lnTo>
                  <a:pt x="2679" y="5352"/>
                </a:lnTo>
                <a:cubicBezTo>
                  <a:pt x="1195" y="5352"/>
                  <a:pt x="0" y="4158"/>
                  <a:pt x="0" y="2679"/>
                </a:cubicBezTo>
                <a:cubicBezTo>
                  <a:pt x="0" y="1200"/>
                  <a:pt x="1195" y="0"/>
                  <a:pt x="2679" y="0"/>
                </a:cubicBezTo>
                <a:lnTo>
                  <a:pt x="138775" y="0"/>
                </a:lnTo>
                <a:cubicBezTo>
                  <a:pt x="140254" y="0"/>
                  <a:pt x="141454" y="1200"/>
                  <a:pt x="141454" y="2679"/>
                </a:cubicBezTo>
                <a:cubicBezTo>
                  <a:pt x="141454" y="4158"/>
                  <a:pt x="140254" y="5352"/>
                  <a:pt x="138775" y="5352"/>
                </a:cubicBezTo>
                <a:close/>
              </a:path>
            </a:pathLst>
          </a:custGeom>
          <a:solidFill>
            <a:srgbClr val="B3D5F6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24" name="Freeform: Shape 2623">
            <a:extLst>
              <a:ext uri="{FF2B5EF4-FFF2-40B4-BE49-F238E27FC236}">
                <a16:creationId xmlns:a16="http://schemas.microsoft.com/office/drawing/2014/main" id="{A524F748-D01E-C6E0-886D-F313C3E33615}"/>
              </a:ext>
            </a:extLst>
          </p:cNvPr>
          <p:cNvSpPr/>
          <p:nvPr/>
        </p:nvSpPr>
        <p:spPr>
          <a:xfrm>
            <a:off x="5842138" y="3524924"/>
            <a:ext cx="177335" cy="35933"/>
          </a:xfrm>
          <a:custGeom>
            <a:avLst/>
            <a:gdLst>
              <a:gd name="connsiteX0" fmla="*/ 174657 w 177335"/>
              <a:gd name="connsiteY0" fmla="*/ 5352 h 35933"/>
              <a:gd name="connsiteX1" fmla="*/ 150136 w 177335"/>
              <a:gd name="connsiteY1" fmla="*/ 5352 h 35933"/>
              <a:gd name="connsiteX2" fmla="*/ 147457 w 177335"/>
              <a:gd name="connsiteY2" fmla="*/ 2679 h 35933"/>
              <a:gd name="connsiteX3" fmla="*/ 150136 w 177335"/>
              <a:gd name="connsiteY3" fmla="*/ 0 h 35933"/>
              <a:gd name="connsiteX4" fmla="*/ 174657 w 177335"/>
              <a:gd name="connsiteY4" fmla="*/ 0 h 35933"/>
              <a:gd name="connsiteX5" fmla="*/ 177335 w 177335"/>
              <a:gd name="connsiteY5" fmla="*/ 2679 h 35933"/>
              <a:gd name="connsiteX6" fmla="*/ 174657 w 177335"/>
              <a:gd name="connsiteY6" fmla="*/ 5352 h 35933"/>
              <a:gd name="connsiteX7" fmla="*/ 174657 w 177335"/>
              <a:gd name="connsiteY7" fmla="*/ 5352 h 35933"/>
              <a:gd name="connsiteX8" fmla="*/ 70724 w 177335"/>
              <a:gd name="connsiteY8" fmla="*/ 35934 h 35933"/>
              <a:gd name="connsiteX9" fmla="*/ 2679 w 177335"/>
              <a:gd name="connsiteY9" fmla="*/ 35934 h 35933"/>
              <a:gd name="connsiteX10" fmla="*/ 0 w 177335"/>
              <a:gd name="connsiteY10" fmla="*/ 33255 h 35933"/>
              <a:gd name="connsiteX11" fmla="*/ 2679 w 177335"/>
              <a:gd name="connsiteY11" fmla="*/ 30576 h 35933"/>
              <a:gd name="connsiteX12" fmla="*/ 70724 w 177335"/>
              <a:gd name="connsiteY12" fmla="*/ 30576 h 35933"/>
              <a:gd name="connsiteX13" fmla="*/ 73403 w 177335"/>
              <a:gd name="connsiteY13" fmla="*/ 33255 h 35933"/>
              <a:gd name="connsiteX14" fmla="*/ 70724 w 177335"/>
              <a:gd name="connsiteY14" fmla="*/ 35934 h 35933"/>
              <a:gd name="connsiteX15" fmla="*/ 70724 w 177335"/>
              <a:gd name="connsiteY15" fmla="*/ 35934 h 35933"/>
              <a:gd name="connsiteX16" fmla="*/ 147985 w 177335"/>
              <a:gd name="connsiteY16" fmla="*/ 35934 h 35933"/>
              <a:gd name="connsiteX17" fmla="*/ 81697 w 177335"/>
              <a:gd name="connsiteY17" fmla="*/ 35934 h 35933"/>
              <a:gd name="connsiteX18" fmla="*/ 79024 w 177335"/>
              <a:gd name="connsiteY18" fmla="*/ 33255 h 35933"/>
              <a:gd name="connsiteX19" fmla="*/ 81697 w 177335"/>
              <a:gd name="connsiteY19" fmla="*/ 30576 h 35933"/>
              <a:gd name="connsiteX20" fmla="*/ 147985 w 177335"/>
              <a:gd name="connsiteY20" fmla="*/ 30576 h 35933"/>
              <a:gd name="connsiteX21" fmla="*/ 150663 w 177335"/>
              <a:gd name="connsiteY21" fmla="*/ 33255 h 35933"/>
              <a:gd name="connsiteX22" fmla="*/ 147985 w 177335"/>
              <a:gd name="connsiteY22" fmla="*/ 35934 h 35933"/>
              <a:gd name="connsiteX23" fmla="*/ 147985 w 177335"/>
              <a:gd name="connsiteY23" fmla="*/ 35934 h 35933"/>
              <a:gd name="connsiteX24" fmla="*/ 44812 w 177335"/>
              <a:gd name="connsiteY24" fmla="*/ 20643 h 35933"/>
              <a:gd name="connsiteX25" fmla="*/ 2679 w 177335"/>
              <a:gd name="connsiteY25" fmla="*/ 20643 h 35933"/>
              <a:gd name="connsiteX26" fmla="*/ 0 w 177335"/>
              <a:gd name="connsiteY26" fmla="*/ 17969 h 35933"/>
              <a:gd name="connsiteX27" fmla="*/ 2679 w 177335"/>
              <a:gd name="connsiteY27" fmla="*/ 15291 h 35933"/>
              <a:gd name="connsiteX28" fmla="*/ 44812 w 177335"/>
              <a:gd name="connsiteY28" fmla="*/ 15291 h 35933"/>
              <a:gd name="connsiteX29" fmla="*/ 47491 w 177335"/>
              <a:gd name="connsiteY29" fmla="*/ 17969 h 35933"/>
              <a:gd name="connsiteX30" fmla="*/ 44812 w 177335"/>
              <a:gd name="connsiteY30" fmla="*/ 20643 h 35933"/>
              <a:gd name="connsiteX31" fmla="*/ 44812 w 177335"/>
              <a:gd name="connsiteY31" fmla="*/ 20643 h 35933"/>
              <a:gd name="connsiteX32" fmla="*/ 174657 w 177335"/>
              <a:gd name="connsiteY32" fmla="*/ 20643 h 35933"/>
              <a:gd name="connsiteX33" fmla="*/ 56592 w 177335"/>
              <a:gd name="connsiteY33" fmla="*/ 20643 h 35933"/>
              <a:gd name="connsiteX34" fmla="*/ 53913 w 177335"/>
              <a:gd name="connsiteY34" fmla="*/ 17969 h 35933"/>
              <a:gd name="connsiteX35" fmla="*/ 56592 w 177335"/>
              <a:gd name="connsiteY35" fmla="*/ 15291 h 35933"/>
              <a:gd name="connsiteX36" fmla="*/ 174657 w 177335"/>
              <a:gd name="connsiteY36" fmla="*/ 15291 h 35933"/>
              <a:gd name="connsiteX37" fmla="*/ 177335 w 177335"/>
              <a:gd name="connsiteY37" fmla="*/ 17969 h 35933"/>
              <a:gd name="connsiteX38" fmla="*/ 174657 w 177335"/>
              <a:gd name="connsiteY38" fmla="*/ 20643 h 35933"/>
              <a:gd name="connsiteX39" fmla="*/ 174657 w 177335"/>
              <a:gd name="connsiteY39" fmla="*/ 20643 h 35933"/>
              <a:gd name="connsiteX40" fmla="*/ 138775 w 177335"/>
              <a:gd name="connsiteY40" fmla="*/ 5352 h 35933"/>
              <a:gd name="connsiteX41" fmla="*/ 2679 w 177335"/>
              <a:gd name="connsiteY41" fmla="*/ 5352 h 35933"/>
              <a:gd name="connsiteX42" fmla="*/ 0 w 177335"/>
              <a:gd name="connsiteY42" fmla="*/ 2679 h 35933"/>
              <a:gd name="connsiteX43" fmla="*/ 2679 w 177335"/>
              <a:gd name="connsiteY43" fmla="*/ 0 h 35933"/>
              <a:gd name="connsiteX44" fmla="*/ 138775 w 177335"/>
              <a:gd name="connsiteY44" fmla="*/ 0 h 35933"/>
              <a:gd name="connsiteX45" fmla="*/ 141454 w 177335"/>
              <a:gd name="connsiteY45" fmla="*/ 2679 h 35933"/>
              <a:gd name="connsiteX46" fmla="*/ 138775 w 177335"/>
              <a:gd name="connsiteY46" fmla="*/ 5352 h 3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77335" h="35933">
                <a:moveTo>
                  <a:pt x="174657" y="5352"/>
                </a:moveTo>
                <a:lnTo>
                  <a:pt x="150136" y="5352"/>
                </a:lnTo>
                <a:cubicBezTo>
                  <a:pt x="148657" y="5352"/>
                  <a:pt x="147457" y="4158"/>
                  <a:pt x="147457" y="2679"/>
                </a:cubicBezTo>
                <a:cubicBezTo>
                  <a:pt x="147457" y="1200"/>
                  <a:pt x="148657" y="0"/>
                  <a:pt x="150136" y="0"/>
                </a:cubicBezTo>
                <a:lnTo>
                  <a:pt x="174657" y="0"/>
                </a:lnTo>
                <a:cubicBezTo>
                  <a:pt x="176136" y="0"/>
                  <a:pt x="177335" y="1200"/>
                  <a:pt x="177335" y="2679"/>
                </a:cubicBezTo>
                <a:cubicBezTo>
                  <a:pt x="177335" y="4158"/>
                  <a:pt x="176136" y="5357"/>
                  <a:pt x="174657" y="5352"/>
                </a:cubicBezTo>
                <a:lnTo>
                  <a:pt x="174657" y="5352"/>
                </a:lnTo>
                <a:close/>
                <a:moveTo>
                  <a:pt x="70724" y="35934"/>
                </a:moveTo>
                <a:lnTo>
                  <a:pt x="2679" y="35934"/>
                </a:lnTo>
                <a:cubicBezTo>
                  <a:pt x="1195" y="35934"/>
                  <a:pt x="0" y="34734"/>
                  <a:pt x="0" y="33255"/>
                </a:cubicBezTo>
                <a:cubicBezTo>
                  <a:pt x="0" y="31776"/>
                  <a:pt x="1195" y="30576"/>
                  <a:pt x="2679" y="30576"/>
                </a:cubicBezTo>
                <a:lnTo>
                  <a:pt x="70724" y="30576"/>
                </a:lnTo>
                <a:cubicBezTo>
                  <a:pt x="72203" y="30576"/>
                  <a:pt x="73403" y="31776"/>
                  <a:pt x="73403" y="33255"/>
                </a:cubicBezTo>
                <a:cubicBezTo>
                  <a:pt x="73403" y="34734"/>
                  <a:pt x="72203" y="35934"/>
                  <a:pt x="70724" y="35934"/>
                </a:cubicBezTo>
                <a:lnTo>
                  <a:pt x="70724" y="35934"/>
                </a:lnTo>
                <a:close/>
                <a:moveTo>
                  <a:pt x="147985" y="35934"/>
                </a:moveTo>
                <a:lnTo>
                  <a:pt x="81697" y="35934"/>
                </a:lnTo>
                <a:cubicBezTo>
                  <a:pt x="80218" y="35934"/>
                  <a:pt x="79024" y="34734"/>
                  <a:pt x="79024" y="33255"/>
                </a:cubicBezTo>
                <a:cubicBezTo>
                  <a:pt x="79024" y="31776"/>
                  <a:pt x="80218" y="30576"/>
                  <a:pt x="81697" y="30576"/>
                </a:cubicBezTo>
                <a:lnTo>
                  <a:pt x="147985" y="30576"/>
                </a:lnTo>
                <a:cubicBezTo>
                  <a:pt x="149458" y="30576"/>
                  <a:pt x="150663" y="31776"/>
                  <a:pt x="150663" y="33255"/>
                </a:cubicBezTo>
                <a:cubicBezTo>
                  <a:pt x="150663" y="34734"/>
                  <a:pt x="149458" y="35934"/>
                  <a:pt x="147985" y="35934"/>
                </a:cubicBezTo>
                <a:lnTo>
                  <a:pt x="147985" y="35934"/>
                </a:lnTo>
                <a:close/>
                <a:moveTo>
                  <a:pt x="44812" y="20643"/>
                </a:moveTo>
                <a:lnTo>
                  <a:pt x="2679" y="20643"/>
                </a:lnTo>
                <a:cubicBezTo>
                  <a:pt x="1195" y="20643"/>
                  <a:pt x="0" y="19443"/>
                  <a:pt x="0" y="17969"/>
                </a:cubicBezTo>
                <a:cubicBezTo>
                  <a:pt x="0" y="16496"/>
                  <a:pt x="1195" y="15291"/>
                  <a:pt x="2679" y="15291"/>
                </a:cubicBezTo>
                <a:lnTo>
                  <a:pt x="44812" y="15291"/>
                </a:lnTo>
                <a:cubicBezTo>
                  <a:pt x="46291" y="15291"/>
                  <a:pt x="47491" y="16490"/>
                  <a:pt x="47491" y="17969"/>
                </a:cubicBezTo>
                <a:cubicBezTo>
                  <a:pt x="47491" y="19448"/>
                  <a:pt x="46291" y="20648"/>
                  <a:pt x="44812" y="20643"/>
                </a:cubicBezTo>
                <a:lnTo>
                  <a:pt x="44812" y="20643"/>
                </a:lnTo>
                <a:close/>
                <a:moveTo>
                  <a:pt x="174657" y="20643"/>
                </a:moveTo>
                <a:lnTo>
                  <a:pt x="56592" y="20643"/>
                </a:lnTo>
                <a:cubicBezTo>
                  <a:pt x="55113" y="20643"/>
                  <a:pt x="53913" y="19443"/>
                  <a:pt x="53913" y="17969"/>
                </a:cubicBezTo>
                <a:cubicBezTo>
                  <a:pt x="53913" y="16496"/>
                  <a:pt x="55113" y="15291"/>
                  <a:pt x="56592" y="15291"/>
                </a:cubicBezTo>
                <a:lnTo>
                  <a:pt x="174657" y="15291"/>
                </a:lnTo>
                <a:cubicBezTo>
                  <a:pt x="176136" y="15291"/>
                  <a:pt x="177335" y="16490"/>
                  <a:pt x="177335" y="17969"/>
                </a:cubicBezTo>
                <a:cubicBezTo>
                  <a:pt x="177335" y="19448"/>
                  <a:pt x="176136" y="20648"/>
                  <a:pt x="174657" y="20643"/>
                </a:cubicBezTo>
                <a:lnTo>
                  <a:pt x="174657" y="20643"/>
                </a:lnTo>
                <a:close/>
                <a:moveTo>
                  <a:pt x="138775" y="5352"/>
                </a:moveTo>
                <a:lnTo>
                  <a:pt x="2679" y="5352"/>
                </a:lnTo>
                <a:cubicBezTo>
                  <a:pt x="1195" y="5352"/>
                  <a:pt x="0" y="4158"/>
                  <a:pt x="0" y="2679"/>
                </a:cubicBezTo>
                <a:cubicBezTo>
                  <a:pt x="0" y="1200"/>
                  <a:pt x="1195" y="0"/>
                  <a:pt x="2679" y="0"/>
                </a:cubicBezTo>
                <a:lnTo>
                  <a:pt x="138775" y="0"/>
                </a:lnTo>
                <a:cubicBezTo>
                  <a:pt x="140254" y="0"/>
                  <a:pt x="141454" y="1200"/>
                  <a:pt x="141454" y="2679"/>
                </a:cubicBezTo>
                <a:cubicBezTo>
                  <a:pt x="141454" y="4158"/>
                  <a:pt x="140254" y="5357"/>
                  <a:pt x="138775" y="5352"/>
                </a:cubicBezTo>
                <a:close/>
              </a:path>
            </a:pathLst>
          </a:custGeom>
          <a:solidFill>
            <a:srgbClr val="B3D5F6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25" name="Freeform: Shape 2624">
            <a:extLst>
              <a:ext uri="{FF2B5EF4-FFF2-40B4-BE49-F238E27FC236}">
                <a16:creationId xmlns:a16="http://schemas.microsoft.com/office/drawing/2014/main" id="{738849D8-D832-F237-9EA0-CB0B0EF5E361}"/>
              </a:ext>
            </a:extLst>
          </p:cNvPr>
          <p:cNvSpPr/>
          <p:nvPr/>
        </p:nvSpPr>
        <p:spPr>
          <a:xfrm>
            <a:off x="5873924" y="3706624"/>
            <a:ext cx="40540" cy="39708"/>
          </a:xfrm>
          <a:custGeom>
            <a:avLst/>
            <a:gdLst>
              <a:gd name="connsiteX0" fmla="*/ 2782 w 40540"/>
              <a:gd name="connsiteY0" fmla="*/ 0 h 39708"/>
              <a:gd name="connsiteX1" fmla="*/ 37759 w 40540"/>
              <a:gd name="connsiteY1" fmla="*/ 0 h 39708"/>
              <a:gd name="connsiteX2" fmla="*/ 40541 w 40540"/>
              <a:gd name="connsiteY2" fmla="*/ 2782 h 39708"/>
              <a:gd name="connsiteX3" fmla="*/ 40541 w 40540"/>
              <a:gd name="connsiteY3" fmla="*/ 36926 h 39708"/>
              <a:gd name="connsiteX4" fmla="*/ 37759 w 40540"/>
              <a:gd name="connsiteY4" fmla="*/ 39708 h 39708"/>
              <a:gd name="connsiteX5" fmla="*/ 2782 w 40540"/>
              <a:gd name="connsiteY5" fmla="*/ 39708 h 39708"/>
              <a:gd name="connsiteX6" fmla="*/ 0 w 40540"/>
              <a:gd name="connsiteY6" fmla="*/ 36926 h 39708"/>
              <a:gd name="connsiteX7" fmla="*/ 0 w 40540"/>
              <a:gd name="connsiteY7" fmla="*/ 2782 h 39708"/>
              <a:gd name="connsiteX8" fmla="*/ 2782 w 40540"/>
              <a:gd name="connsiteY8" fmla="*/ 0 h 39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540" h="39708">
                <a:moveTo>
                  <a:pt x="2782" y="0"/>
                </a:moveTo>
                <a:lnTo>
                  <a:pt x="37759" y="0"/>
                </a:lnTo>
                <a:cubicBezTo>
                  <a:pt x="39295" y="0"/>
                  <a:pt x="40541" y="1246"/>
                  <a:pt x="40541" y="2782"/>
                </a:cubicBezTo>
                <a:lnTo>
                  <a:pt x="40541" y="36926"/>
                </a:lnTo>
                <a:cubicBezTo>
                  <a:pt x="40541" y="38462"/>
                  <a:pt x="39295" y="39708"/>
                  <a:pt x="37759" y="39708"/>
                </a:cubicBezTo>
                <a:lnTo>
                  <a:pt x="2782" y="39708"/>
                </a:lnTo>
                <a:cubicBezTo>
                  <a:pt x="1246" y="39708"/>
                  <a:pt x="0" y="38462"/>
                  <a:pt x="0" y="36926"/>
                </a:cubicBezTo>
                <a:lnTo>
                  <a:pt x="0" y="2782"/>
                </a:lnTo>
                <a:cubicBezTo>
                  <a:pt x="0" y="1246"/>
                  <a:pt x="1246" y="0"/>
                  <a:pt x="2782" y="0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26" name="Freeform: Shape 2625">
            <a:extLst>
              <a:ext uri="{FF2B5EF4-FFF2-40B4-BE49-F238E27FC236}">
                <a16:creationId xmlns:a16="http://schemas.microsoft.com/office/drawing/2014/main" id="{8BE68E73-6D9E-99DB-7156-1E1F73D90E7D}"/>
              </a:ext>
            </a:extLst>
          </p:cNvPr>
          <p:cNvSpPr/>
          <p:nvPr/>
        </p:nvSpPr>
        <p:spPr>
          <a:xfrm>
            <a:off x="5928696" y="3716159"/>
            <a:ext cx="94166" cy="20642"/>
          </a:xfrm>
          <a:custGeom>
            <a:avLst/>
            <a:gdLst>
              <a:gd name="connsiteX0" fmla="*/ 44817 w 94166"/>
              <a:gd name="connsiteY0" fmla="*/ 20643 h 20642"/>
              <a:gd name="connsiteX1" fmla="*/ 2679 w 94166"/>
              <a:gd name="connsiteY1" fmla="*/ 20643 h 20642"/>
              <a:gd name="connsiteX2" fmla="*/ 0 w 94166"/>
              <a:gd name="connsiteY2" fmla="*/ 17964 h 20642"/>
              <a:gd name="connsiteX3" fmla="*/ 2679 w 94166"/>
              <a:gd name="connsiteY3" fmla="*/ 15286 h 20642"/>
              <a:gd name="connsiteX4" fmla="*/ 44817 w 94166"/>
              <a:gd name="connsiteY4" fmla="*/ 15286 h 20642"/>
              <a:gd name="connsiteX5" fmla="*/ 44817 w 94166"/>
              <a:gd name="connsiteY5" fmla="*/ 20643 h 20642"/>
              <a:gd name="connsiteX6" fmla="*/ 44817 w 94166"/>
              <a:gd name="connsiteY6" fmla="*/ 20643 h 20642"/>
              <a:gd name="connsiteX7" fmla="*/ 91527 w 94166"/>
              <a:gd name="connsiteY7" fmla="*/ 5352 h 20642"/>
              <a:gd name="connsiteX8" fmla="*/ 2684 w 94166"/>
              <a:gd name="connsiteY8" fmla="*/ 5352 h 20642"/>
              <a:gd name="connsiteX9" fmla="*/ 5 w 94166"/>
              <a:gd name="connsiteY9" fmla="*/ 2679 h 20642"/>
              <a:gd name="connsiteX10" fmla="*/ 2684 w 94166"/>
              <a:gd name="connsiteY10" fmla="*/ 0 h 20642"/>
              <a:gd name="connsiteX11" fmla="*/ 91527 w 94166"/>
              <a:gd name="connsiteY11" fmla="*/ 0 h 20642"/>
              <a:gd name="connsiteX12" fmla="*/ 91527 w 94166"/>
              <a:gd name="connsiteY12" fmla="*/ 5352 h 20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4166" h="20642">
                <a:moveTo>
                  <a:pt x="44817" y="20643"/>
                </a:moveTo>
                <a:lnTo>
                  <a:pt x="2679" y="20643"/>
                </a:lnTo>
                <a:cubicBezTo>
                  <a:pt x="1200" y="20643"/>
                  <a:pt x="0" y="19443"/>
                  <a:pt x="0" y="17964"/>
                </a:cubicBezTo>
                <a:cubicBezTo>
                  <a:pt x="0" y="16485"/>
                  <a:pt x="1200" y="15286"/>
                  <a:pt x="2679" y="15286"/>
                </a:cubicBezTo>
                <a:lnTo>
                  <a:pt x="44817" y="15286"/>
                </a:lnTo>
                <a:cubicBezTo>
                  <a:pt x="48328" y="15286"/>
                  <a:pt x="48328" y="20648"/>
                  <a:pt x="44817" y="20643"/>
                </a:cubicBezTo>
                <a:lnTo>
                  <a:pt x="44817" y="20643"/>
                </a:lnTo>
                <a:close/>
                <a:moveTo>
                  <a:pt x="91527" y="5352"/>
                </a:moveTo>
                <a:lnTo>
                  <a:pt x="2684" y="5352"/>
                </a:lnTo>
                <a:cubicBezTo>
                  <a:pt x="1205" y="5352"/>
                  <a:pt x="5" y="4152"/>
                  <a:pt x="5" y="2679"/>
                </a:cubicBezTo>
                <a:cubicBezTo>
                  <a:pt x="5" y="1205"/>
                  <a:pt x="1205" y="0"/>
                  <a:pt x="2684" y="0"/>
                </a:cubicBezTo>
                <a:lnTo>
                  <a:pt x="91527" y="0"/>
                </a:lnTo>
                <a:cubicBezTo>
                  <a:pt x="95049" y="0"/>
                  <a:pt x="95044" y="5357"/>
                  <a:pt x="91527" y="5352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27" name="Freeform: Shape 2626">
            <a:extLst>
              <a:ext uri="{FF2B5EF4-FFF2-40B4-BE49-F238E27FC236}">
                <a16:creationId xmlns:a16="http://schemas.microsoft.com/office/drawing/2014/main" id="{0D0B91DE-4A46-255C-804E-A0545CE7C502}"/>
              </a:ext>
            </a:extLst>
          </p:cNvPr>
          <p:cNvSpPr/>
          <p:nvPr/>
        </p:nvSpPr>
        <p:spPr>
          <a:xfrm>
            <a:off x="5873924" y="3768981"/>
            <a:ext cx="40540" cy="39708"/>
          </a:xfrm>
          <a:custGeom>
            <a:avLst/>
            <a:gdLst>
              <a:gd name="connsiteX0" fmla="*/ 2782 w 40540"/>
              <a:gd name="connsiteY0" fmla="*/ 0 h 39708"/>
              <a:gd name="connsiteX1" fmla="*/ 37754 w 40540"/>
              <a:gd name="connsiteY1" fmla="*/ 0 h 39708"/>
              <a:gd name="connsiteX2" fmla="*/ 40541 w 40540"/>
              <a:gd name="connsiteY2" fmla="*/ 2782 h 39708"/>
              <a:gd name="connsiteX3" fmla="*/ 40541 w 40540"/>
              <a:gd name="connsiteY3" fmla="*/ 36921 h 39708"/>
              <a:gd name="connsiteX4" fmla="*/ 37754 w 40540"/>
              <a:gd name="connsiteY4" fmla="*/ 39708 h 39708"/>
              <a:gd name="connsiteX5" fmla="*/ 2782 w 40540"/>
              <a:gd name="connsiteY5" fmla="*/ 39708 h 39708"/>
              <a:gd name="connsiteX6" fmla="*/ 0 w 40540"/>
              <a:gd name="connsiteY6" fmla="*/ 36921 h 39708"/>
              <a:gd name="connsiteX7" fmla="*/ 0 w 40540"/>
              <a:gd name="connsiteY7" fmla="*/ 2782 h 39708"/>
              <a:gd name="connsiteX8" fmla="*/ 2782 w 40540"/>
              <a:gd name="connsiteY8" fmla="*/ 0 h 39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540" h="39708">
                <a:moveTo>
                  <a:pt x="2782" y="0"/>
                </a:moveTo>
                <a:lnTo>
                  <a:pt x="37754" y="0"/>
                </a:lnTo>
                <a:cubicBezTo>
                  <a:pt x="39284" y="0"/>
                  <a:pt x="40541" y="1246"/>
                  <a:pt x="40541" y="2782"/>
                </a:cubicBezTo>
                <a:lnTo>
                  <a:pt x="40541" y="36921"/>
                </a:lnTo>
                <a:cubicBezTo>
                  <a:pt x="40541" y="38452"/>
                  <a:pt x="39290" y="39708"/>
                  <a:pt x="37754" y="39708"/>
                </a:cubicBezTo>
                <a:lnTo>
                  <a:pt x="2782" y="39708"/>
                </a:lnTo>
                <a:cubicBezTo>
                  <a:pt x="1251" y="39708"/>
                  <a:pt x="0" y="38452"/>
                  <a:pt x="0" y="36921"/>
                </a:cubicBezTo>
                <a:lnTo>
                  <a:pt x="0" y="2782"/>
                </a:lnTo>
                <a:cubicBezTo>
                  <a:pt x="0" y="1251"/>
                  <a:pt x="1251" y="0"/>
                  <a:pt x="2782" y="0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28" name="Freeform: Shape 2627">
            <a:extLst>
              <a:ext uri="{FF2B5EF4-FFF2-40B4-BE49-F238E27FC236}">
                <a16:creationId xmlns:a16="http://schemas.microsoft.com/office/drawing/2014/main" id="{D0DAB256-B6C9-C7F5-CC57-171FC7012339}"/>
              </a:ext>
            </a:extLst>
          </p:cNvPr>
          <p:cNvSpPr/>
          <p:nvPr/>
        </p:nvSpPr>
        <p:spPr>
          <a:xfrm>
            <a:off x="5928696" y="3778511"/>
            <a:ext cx="94166" cy="20647"/>
          </a:xfrm>
          <a:custGeom>
            <a:avLst/>
            <a:gdLst>
              <a:gd name="connsiteX0" fmla="*/ 44817 w 94166"/>
              <a:gd name="connsiteY0" fmla="*/ 20648 h 20647"/>
              <a:gd name="connsiteX1" fmla="*/ 2679 w 94166"/>
              <a:gd name="connsiteY1" fmla="*/ 20648 h 20647"/>
              <a:gd name="connsiteX2" fmla="*/ 0 w 94166"/>
              <a:gd name="connsiteY2" fmla="*/ 17969 h 20647"/>
              <a:gd name="connsiteX3" fmla="*/ 2679 w 94166"/>
              <a:gd name="connsiteY3" fmla="*/ 15291 h 20647"/>
              <a:gd name="connsiteX4" fmla="*/ 44817 w 94166"/>
              <a:gd name="connsiteY4" fmla="*/ 15291 h 20647"/>
              <a:gd name="connsiteX5" fmla="*/ 44817 w 94166"/>
              <a:gd name="connsiteY5" fmla="*/ 20648 h 20647"/>
              <a:gd name="connsiteX6" fmla="*/ 44817 w 94166"/>
              <a:gd name="connsiteY6" fmla="*/ 20648 h 20647"/>
              <a:gd name="connsiteX7" fmla="*/ 91527 w 94166"/>
              <a:gd name="connsiteY7" fmla="*/ 5357 h 20647"/>
              <a:gd name="connsiteX8" fmla="*/ 2684 w 94166"/>
              <a:gd name="connsiteY8" fmla="*/ 5357 h 20647"/>
              <a:gd name="connsiteX9" fmla="*/ 5 w 94166"/>
              <a:gd name="connsiteY9" fmla="*/ 2679 h 20647"/>
              <a:gd name="connsiteX10" fmla="*/ 2684 w 94166"/>
              <a:gd name="connsiteY10" fmla="*/ 0 h 20647"/>
              <a:gd name="connsiteX11" fmla="*/ 91527 w 94166"/>
              <a:gd name="connsiteY11" fmla="*/ 0 h 20647"/>
              <a:gd name="connsiteX12" fmla="*/ 91527 w 94166"/>
              <a:gd name="connsiteY12" fmla="*/ 5357 h 20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4166" h="20647">
                <a:moveTo>
                  <a:pt x="44817" y="20648"/>
                </a:moveTo>
                <a:lnTo>
                  <a:pt x="2679" y="20648"/>
                </a:lnTo>
                <a:cubicBezTo>
                  <a:pt x="1200" y="20648"/>
                  <a:pt x="0" y="19448"/>
                  <a:pt x="0" y="17969"/>
                </a:cubicBezTo>
                <a:cubicBezTo>
                  <a:pt x="0" y="16490"/>
                  <a:pt x="1200" y="15291"/>
                  <a:pt x="2679" y="15291"/>
                </a:cubicBezTo>
                <a:lnTo>
                  <a:pt x="44817" y="15291"/>
                </a:lnTo>
                <a:cubicBezTo>
                  <a:pt x="48328" y="15291"/>
                  <a:pt x="48328" y="20648"/>
                  <a:pt x="44817" y="20648"/>
                </a:cubicBezTo>
                <a:lnTo>
                  <a:pt x="44817" y="20648"/>
                </a:lnTo>
                <a:close/>
                <a:moveTo>
                  <a:pt x="91527" y="5357"/>
                </a:moveTo>
                <a:lnTo>
                  <a:pt x="2684" y="5357"/>
                </a:lnTo>
                <a:cubicBezTo>
                  <a:pt x="1205" y="5357"/>
                  <a:pt x="5" y="4157"/>
                  <a:pt x="5" y="2679"/>
                </a:cubicBezTo>
                <a:cubicBezTo>
                  <a:pt x="5" y="1200"/>
                  <a:pt x="1205" y="0"/>
                  <a:pt x="2684" y="0"/>
                </a:cubicBezTo>
                <a:lnTo>
                  <a:pt x="91527" y="0"/>
                </a:lnTo>
                <a:cubicBezTo>
                  <a:pt x="95049" y="0"/>
                  <a:pt x="95044" y="5357"/>
                  <a:pt x="91527" y="5357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29" name="Freeform: Shape 2628">
            <a:extLst>
              <a:ext uri="{FF2B5EF4-FFF2-40B4-BE49-F238E27FC236}">
                <a16:creationId xmlns:a16="http://schemas.microsoft.com/office/drawing/2014/main" id="{F6B1E692-F232-DFD7-4404-AD0CFB7B301B}"/>
              </a:ext>
            </a:extLst>
          </p:cNvPr>
          <p:cNvSpPr/>
          <p:nvPr/>
        </p:nvSpPr>
        <p:spPr>
          <a:xfrm>
            <a:off x="5873924" y="3831333"/>
            <a:ext cx="40540" cy="39708"/>
          </a:xfrm>
          <a:custGeom>
            <a:avLst/>
            <a:gdLst>
              <a:gd name="connsiteX0" fmla="*/ 2782 w 40540"/>
              <a:gd name="connsiteY0" fmla="*/ 0 h 39708"/>
              <a:gd name="connsiteX1" fmla="*/ 37754 w 40540"/>
              <a:gd name="connsiteY1" fmla="*/ 0 h 39708"/>
              <a:gd name="connsiteX2" fmla="*/ 40541 w 40540"/>
              <a:gd name="connsiteY2" fmla="*/ 2787 h 39708"/>
              <a:gd name="connsiteX3" fmla="*/ 40541 w 40540"/>
              <a:gd name="connsiteY3" fmla="*/ 36926 h 39708"/>
              <a:gd name="connsiteX4" fmla="*/ 37754 w 40540"/>
              <a:gd name="connsiteY4" fmla="*/ 39708 h 39708"/>
              <a:gd name="connsiteX5" fmla="*/ 2782 w 40540"/>
              <a:gd name="connsiteY5" fmla="*/ 39708 h 39708"/>
              <a:gd name="connsiteX6" fmla="*/ 0 w 40540"/>
              <a:gd name="connsiteY6" fmla="*/ 36926 h 39708"/>
              <a:gd name="connsiteX7" fmla="*/ 0 w 40540"/>
              <a:gd name="connsiteY7" fmla="*/ 2787 h 39708"/>
              <a:gd name="connsiteX8" fmla="*/ 2782 w 40540"/>
              <a:gd name="connsiteY8" fmla="*/ 0 h 39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540" h="39708">
                <a:moveTo>
                  <a:pt x="2782" y="0"/>
                </a:moveTo>
                <a:lnTo>
                  <a:pt x="37754" y="0"/>
                </a:lnTo>
                <a:cubicBezTo>
                  <a:pt x="39284" y="0"/>
                  <a:pt x="40541" y="1251"/>
                  <a:pt x="40541" y="2787"/>
                </a:cubicBezTo>
                <a:lnTo>
                  <a:pt x="40541" y="36926"/>
                </a:lnTo>
                <a:cubicBezTo>
                  <a:pt x="40541" y="38457"/>
                  <a:pt x="39290" y="39708"/>
                  <a:pt x="37754" y="39708"/>
                </a:cubicBezTo>
                <a:lnTo>
                  <a:pt x="2782" y="39708"/>
                </a:lnTo>
                <a:cubicBezTo>
                  <a:pt x="1251" y="39708"/>
                  <a:pt x="0" y="38462"/>
                  <a:pt x="0" y="36926"/>
                </a:cubicBezTo>
                <a:lnTo>
                  <a:pt x="0" y="2787"/>
                </a:lnTo>
                <a:cubicBezTo>
                  <a:pt x="0" y="1257"/>
                  <a:pt x="1251" y="0"/>
                  <a:pt x="2782" y="0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30" name="Freeform: Shape 2629">
            <a:extLst>
              <a:ext uri="{FF2B5EF4-FFF2-40B4-BE49-F238E27FC236}">
                <a16:creationId xmlns:a16="http://schemas.microsoft.com/office/drawing/2014/main" id="{249739DF-0AC2-01C2-A339-179C0EE4FFC1}"/>
              </a:ext>
            </a:extLst>
          </p:cNvPr>
          <p:cNvSpPr/>
          <p:nvPr/>
        </p:nvSpPr>
        <p:spPr>
          <a:xfrm>
            <a:off x="5928696" y="3840864"/>
            <a:ext cx="94166" cy="20647"/>
          </a:xfrm>
          <a:custGeom>
            <a:avLst/>
            <a:gdLst>
              <a:gd name="connsiteX0" fmla="*/ 44817 w 94166"/>
              <a:gd name="connsiteY0" fmla="*/ 20648 h 20647"/>
              <a:gd name="connsiteX1" fmla="*/ 2679 w 94166"/>
              <a:gd name="connsiteY1" fmla="*/ 20648 h 20647"/>
              <a:gd name="connsiteX2" fmla="*/ 0 w 94166"/>
              <a:gd name="connsiteY2" fmla="*/ 17969 h 20647"/>
              <a:gd name="connsiteX3" fmla="*/ 2679 w 94166"/>
              <a:gd name="connsiteY3" fmla="*/ 15291 h 20647"/>
              <a:gd name="connsiteX4" fmla="*/ 44817 w 94166"/>
              <a:gd name="connsiteY4" fmla="*/ 15291 h 20647"/>
              <a:gd name="connsiteX5" fmla="*/ 44817 w 94166"/>
              <a:gd name="connsiteY5" fmla="*/ 20648 h 20647"/>
              <a:gd name="connsiteX6" fmla="*/ 44817 w 94166"/>
              <a:gd name="connsiteY6" fmla="*/ 20648 h 20647"/>
              <a:gd name="connsiteX7" fmla="*/ 91527 w 94166"/>
              <a:gd name="connsiteY7" fmla="*/ 5357 h 20647"/>
              <a:gd name="connsiteX8" fmla="*/ 2684 w 94166"/>
              <a:gd name="connsiteY8" fmla="*/ 5357 h 20647"/>
              <a:gd name="connsiteX9" fmla="*/ 5 w 94166"/>
              <a:gd name="connsiteY9" fmla="*/ 2679 h 20647"/>
              <a:gd name="connsiteX10" fmla="*/ 2684 w 94166"/>
              <a:gd name="connsiteY10" fmla="*/ 0 h 20647"/>
              <a:gd name="connsiteX11" fmla="*/ 91527 w 94166"/>
              <a:gd name="connsiteY11" fmla="*/ 0 h 20647"/>
              <a:gd name="connsiteX12" fmla="*/ 91527 w 94166"/>
              <a:gd name="connsiteY12" fmla="*/ 5357 h 20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4166" h="20647">
                <a:moveTo>
                  <a:pt x="44817" y="20648"/>
                </a:moveTo>
                <a:lnTo>
                  <a:pt x="2679" y="20648"/>
                </a:lnTo>
                <a:cubicBezTo>
                  <a:pt x="1200" y="20648"/>
                  <a:pt x="0" y="19448"/>
                  <a:pt x="0" y="17969"/>
                </a:cubicBezTo>
                <a:cubicBezTo>
                  <a:pt x="0" y="16490"/>
                  <a:pt x="1200" y="15291"/>
                  <a:pt x="2679" y="15291"/>
                </a:cubicBezTo>
                <a:lnTo>
                  <a:pt x="44817" y="15291"/>
                </a:lnTo>
                <a:cubicBezTo>
                  <a:pt x="48328" y="15291"/>
                  <a:pt x="48328" y="20653"/>
                  <a:pt x="44817" y="20648"/>
                </a:cubicBezTo>
                <a:lnTo>
                  <a:pt x="44817" y="20648"/>
                </a:lnTo>
                <a:close/>
                <a:moveTo>
                  <a:pt x="91527" y="5357"/>
                </a:moveTo>
                <a:lnTo>
                  <a:pt x="2684" y="5357"/>
                </a:lnTo>
                <a:cubicBezTo>
                  <a:pt x="1205" y="5357"/>
                  <a:pt x="5" y="4157"/>
                  <a:pt x="5" y="2679"/>
                </a:cubicBezTo>
                <a:cubicBezTo>
                  <a:pt x="5" y="1200"/>
                  <a:pt x="1205" y="0"/>
                  <a:pt x="2684" y="0"/>
                </a:cubicBezTo>
                <a:lnTo>
                  <a:pt x="91527" y="0"/>
                </a:lnTo>
                <a:cubicBezTo>
                  <a:pt x="95049" y="0"/>
                  <a:pt x="95044" y="5357"/>
                  <a:pt x="91527" y="5357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31" name="Freeform: Shape 2630">
            <a:extLst>
              <a:ext uri="{FF2B5EF4-FFF2-40B4-BE49-F238E27FC236}">
                <a16:creationId xmlns:a16="http://schemas.microsoft.com/office/drawing/2014/main" id="{9C949F5E-C28A-F680-A855-CF449665DCD7}"/>
              </a:ext>
            </a:extLst>
          </p:cNvPr>
          <p:cNvSpPr/>
          <p:nvPr/>
        </p:nvSpPr>
        <p:spPr>
          <a:xfrm>
            <a:off x="5712397" y="3706624"/>
            <a:ext cx="147586" cy="64312"/>
          </a:xfrm>
          <a:custGeom>
            <a:avLst/>
            <a:gdLst>
              <a:gd name="connsiteX0" fmla="*/ 143082 w 147586"/>
              <a:gd name="connsiteY0" fmla="*/ 0 h 64312"/>
              <a:gd name="connsiteX1" fmla="*/ 147586 w 147586"/>
              <a:gd name="connsiteY1" fmla="*/ 4504 h 64312"/>
              <a:gd name="connsiteX2" fmla="*/ 147586 w 147586"/>
              <a:gd name="connsiteY2" fmla="*/ 59808 h 64312"/>
              <a:gd name="connsiteX3" fmla="*/ 143082 w 147586"/>
              <a:gd name="connsiteY3" fmla="*/ 64312 h 64312"/>
              <a:gd name="connsiteX4" fmla="*/ 4504 w 147586"/>
              <a:gd name="connsiteY4" fmla="*/ 64312 h 64312"/>
              <a:gd name="connsiteX5" fmla="*/ 0 w 147586"/>
              <a:gd name="connsiteY5" fmla="*/ 59808 h 64312"/>
              <a:gd name="connsiteX6" fmla="*/ 0 w 147586"/>
              <a:gd name="connsiteY6" fmla="*/ 4504 h 64312"/>
              <a:gd name="connsiteX7" fmla="*/ 4504 w 147586"/>
              <a:gd name="connsiteY7" fmla="*/ 0 h 64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7586" h="64312">
                <a:moveTo>
                  <a:pt x="143082" y="0"/>
                </a:moveTo>
                <a:cubicBezTo>
                  <a:pt x="145570" y="0"/>
                  <a:pt x="147586" y="2016"/>
                  <a:pt x="147586" y="4504"/>
                </a:cubicBezTo>
                <a:lnTo>
                  <a:pt x="147586" y="59808"/>
                </a:lnTo>
                <a:cubicBezTo>
                  <a:pt x="147586" y="62296"/>
                  <a:pt x="145570" y="64312"/>
                  <a:pt x="143082" y="64312"/>
                </a:cubicBezTo>
                <a:lnTo>
                  <a:pt x="4504" y="64312"/>
                </a:lnTo>
                <a:cubicBezTo>
                  <a:pt x="2017" y="64312"/>
                  <a:pt x="0" y="62296"/>
                  <a:pt x="0" y="59808"/>
                </a:cubicBezTo>
                <a:lnTo>
                  <a:pt x="0" y="4504"/>
                </a:lnTo>
                <a:cubicBezTo>
                  <a:pt x="0" y="2016"/>
                  <a:pt x="2017" y="0"/>
                  <a:pt x="4504" y="0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32" name="Freeform: Shape 2631">
            <a:extLst>
              <a:ext uri="{FF2B5EF4-FFF2-40B4-BE49-F238E27FC236}">
                <a16:creationId xmlns:a16="http://schemas.microsoft.com/office/drawing/2014/main" id="{79387A9D-374B-6FF3-ED25-F01387E485CC}"/>
              </a:ext>
            </a:extLst>
          </p:cNvPr>
          <p:cNvSpPr/>
          <p:nvPr/>
        </p:nvSpPr>
        <p:spPr>
          <a:xfrm>
            <a:off x="5712397" y="3784572"/>
            <a:ext cx="40535" cy="39708"/>
          </a:xfrm>
          <a:custGeom>
            <a:avLst/>
            <a:gdLst>
              <a:gd name="connsiteX0" fmla="*/ 2782 w 40535"/>
              <a:gd name="connsiteY0" fmla="*/ 0 h 39708"/>
              <a:gd name="connsiteX1" fmla="*/ 37754 w 40535"/>
              <a:gd name="connsiteY1" fmla="*/ 0 h 39708"/>
              <a:gd name="connsiteX2" fmla="*/ 40536 w 40535"/>
              <a:gd name="connsiteY2" fmla="*/ 2782 h 39708"/>
              <a:gd name="connsiteX3" fmla="*/ 40536 w 40535"/>
              <a:gd name="connsiteY3" fmla="*/ 36921 h 39708"/>
              <a:gd name="connsiteX4" fmla="*/ 37754 w 40535"/>
              <a:gd name="connsiteY4" fmla="*/ 39708 h 39708"/>
              <a:gd name="connsiteX5" fmla="*/ 2782 w 40535"/>
              <a:gd name="connsiteY5" fmla="*/ 39708 h 39708"/>
              <a:gd name="connsiteX6" fmla="*/ 0 w 40535"/>
              <a:gd name="connsiteY6" fmla="*/ 36921 h 39708"/>
              <a:gd name="connsiteX7" fmla="*/ 0 w 40535"/>
              <a:gd name="connsiteY7" fmla="*/ 2782 h 39708"/>
              <a:gd name="connsiteX8" fmla="*/ 2782 w 40535"/>
              <a:gd name="connsiteY8" fmla="*/ 0 h 39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535" h="39708">
                <a:moveTo>
                  <a:pt x="2782" y="0"/>
                </a:moveTo>
                <a:lnTo>
                  <a:pt x="37754" y="0"/>
                </a:lnTo>
                <a:cubicBezTo>
                  <a:pt x="39289" y="0"/>
                  <a:pt x="40536" y="1251"/>
                  <a:pt x="40536" y="2782"/>
                </a:cubicBezTo>
                <a:lnTo>
                  <a:pt x="40536" y="36921"/>
                </a:lnTo>
                <a:cubicBezTo>
                  <a:pt x="40536" y="38452"/>
                  <a:pt x="39284" y="39708"/>
                  <a:pt x="37754" y="39708"/>
                </a:cubicBezTo>
                <a:lnTo>
                  <a:pt x="2782" y="39708"/>
                </a:lnTo>
                <a:cubicBezTo>
                  <a:pt x="1251" y="39708"/>
                  <a:pt x="0" y="38457"/>
                  <a:pt x="0" y="36921"/>
                </a:cubicBezTo>
                <a:lnTo>
                  <a:pt x="0" y="2782"/>
                </a:lnTo>
                <a:cubicBezTo>
                  <a:pt x="0" y="1251"/>
                  <a:pt x="1251" y="0"/>
                  <a:pt x="2782" y="0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33" name="Freeform: Shape 2632">
            <a:extLst>
              <a:ext uri="{FF2B5EF4-FFF2-40B4-BE49-F238E27FC236}">
                <a16:creationId xmlns:a16="http://schemas.microsoft.com/office/drawing/2014/main" id="{0095598B-1C02-8577-7FC2-1CA27AA66589}"/>
              </a:ext>
            </a:extLst>
          </p:cNvPr>
          <p:cNvSpPr/>
          <p:nvPr/>
        </p:nvSpPr>
        <p:spPr>
          <a:xfrm>
            <a:off x="5765363" y="3784572"/>
            <a:ext cx="94262" cy="39708"/>
          </a:xfrm>
          <a:custGeom>
            <a:avLst/>
            <a:gdLst>
              <a:gd name="connsiteX0" fmla="*/ 91481 w 94262"/>
              <a:gd name="connsiteY0" fmla="*/ 0 h 39708"/>
              <a:gd name="connsiteX1" fmla="*/ 94263 w 94262"/>
              <a:gd name="connsiteY1" fmla="*/ 2782 h 39708"/>
              <a:gd name="connsiteX2" fmla="*/ 94263 w 94262"/>
              <a:gd name="connsiteY2" fmla="*/ 36926 h 39708"/>
              <a:gd name="connsiteX3" fmla="*/ 91481 w 94262"/>
              <a:gd name="connsiteY3" fmla="*/ 39708 h 39708"/>
              <a:gd name="connsiteX4" fmla="*/ 2782 w 94262"/>
              <a:gd name="connsiteY4" fmla="*/ 39708 h 39708"/>
              <a:gd name="connsiteX5" fmla="*/ 0 w 94262"/>
              <a:gd name="connsiteY5" fmla="*/ 36926 h 39708"/>
              <a:gd name="connsiteX6" fmla="*/ 0 w 94262"/>
              <a:gd name="connsiteY6" fmla="*/ 2782 h 39708"/>
              <a:gd name="connsiteX7" fmla="*/ 2782 w 94262"/>
              <a:gd name="connsiteY7" fmla="*/ 0 h 39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262" h="39708">
                <a:moveTo>
                  <a:pt x="91481" y="0"/>
                </a:moveTo>
                <a:cubicBezTo>
                  <a:pt x="93017" y="0"/>
                  <a:pt x="94263" y="1246"/>
                  <a:pt x="94263" y="2782"/>
                </a:cubicBezTo>
                <a:lnTo>
                  <a:pt x="94263" y="36926"/>
                </a:lnTo>
                <a:cubicBezTo>
                  <a:pt x="94263" y="38463"/>
                  <a:pt x="93017" y="39708"/>
                  <a:pt x="91481" y="39708"/>
                </a:cubicBezTo>
                <a:lnTo>
                  <a:pt x="2782" y="39708"/>
                </a:lnTo>
                <a:cubicBezTo>
                  <a:pt x="1246" y="39708"/>
                  <a:pt x="0" y="38463"/>
                  <a:pt x="0" y="36926"/>
                </a:cubicBezTo>
                <a:lnTo>
                  <a:pt x="0" y="2782"/>
                </a:lnTo>
                <a:cubicBezTo>
                  <a:pt x="0" y="1246"/>
                  <a:pt x="1246" y="0"/>
                  <a:pt x="2782" y="0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34" name="Freeform: Shape 2633">
            <a:extLst>
              <a:ext uri="{FF2B5EF4-FFF2-40B4-BE49-F238E27FC236}">
                <a16:creationId xmlns:a16="http://schemas.microsoft.com/office/drawing/2014/main" id="{8DF9B466-FCD0-9BC7-9F97-15CC3E625A93}"/>
              </a:ext>
            </a:extLst>
          </p:cNvPr>
          <p:cNvSpPr/>
          <p:nvPr/>
        </p:nvSpPr>
        <p:spPr>
          <a:xfrm>
            <a:off x="5712397" y="3830475"/>
            <a:ext cx="40535" cy="39708"/>
          </a:xfrm>
          <a:custGeom>
            <a:avLst/>
            <a:gdLst>
              <a:gd name="connsiteX0" fmla="*/ 2782 w 40535"/>
              <a:gd name="connsiteY0" fmla="*/ 0 h 39708"/>
              <a:gd name="connsiteX1" fmla="*/ 37754 w 40535"/>
              <a:gd name="connsiteY1" fmla="*/ 0 h 39708"/>
              <a:gd name="connsiteX2" fmla="*/ 40536 w 40535"/>
              <a:gd name="connsiteY2" fmla="*/ 2782 h 39708"/>
              <a:gd name="connsiteX3" fmla="*/ 40536 w 40535"/>
              <a:gd name="connsiteY3" fmla="*/ 36921 h 39708"/>
              <a:gd name="connsiteX4" fmla="*/ 37754 w 40535"/>
              <a:gd name="connsiteY4" fmla="*/ 39708 h 39708"/>
              <a:gd name="connsiteX5" fmla="*/ 2782 w 40535"/>
              <a:gd name="connsiteY5" fmla="*/ 39708 h 39708"/>
              <a:gd name="connsiteX6" fmla="*/ 0 w 40535"/>
              <a:gd name="connsiteY6" fmla="*/ 36921 h 39708"/>
              <a:gd name="connsiteX7" fmla="*/ 0 w 40535"/>
              <a:gd name="connsiteY7" fmla="*/ 2782 h 39708"/>
              <a:gd name="connsiteX8" fmla="*/ 2782 w 40535"/>
              <a:gd name="connsiteY8" fmla="*/ 0 h 39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535" h="39708">
                <a:moveTo>
                  <a:pt x="2782" y="0"/>
                </a:moveTo>
                <a:lnTo>
                  <a:pt x="37754" y="0"/>
                </a:lnTo>
                <a:cubicBezTo>
                  <a:pt x="39289" y="0"/>
                  <a:pt x="40536" y="1246"/>
                  <a:pt x="40536" y="2782"/>
                </a:cubicBezTo>
                <a:lnTo>
                  <a:pt x="40536" y="36921"/>
                </a:lnTo>
                <a:cubicBezTo>
                  <a:pt x="40536" y="38452"/>
                  <a:pt x="39284" y="39708"/>
                  <a:pt x="37754" y="39708"/>
                </a:cubicBezTo>
                <a:lnTo>
                  <a:pt x="2782" y="39708"/>
                </a:lnTo>
                <a:cubicBezTo>
                  <a:pt x="1251" y="39708"/>
                  <a:pt x="0" y="38457"/>
                  <a:pt x="0" y="36921"/>
                </a:cubicBezTo>
                <a:lnTo>
                  <a:pt x="0" y="2782"/>
                </a:lnTo>
                <a:cubicBezTo>
                  <a:pt x="0" y="1251"/>
                  <a:pt x="1251" y="0"/>
                  <a:pt x="2782" y="0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35" name="Freeform: Shape 2634">
            <a:extLst>
              <a:ext uri="{FF2B5EF4-FFF2-40B4-BE49-F238E27FC236}">
                <a16:creationId xmlns:a16="http://schemas.microsoft.com/office/drawing/2014/main" id="{FB03EF8E-7F9E-2911-0DD2-53A426B15D2D}"/>
              </a:ext>
            </a:extLst>
          </p:cNvPr>
          <p:cNvSpPr/>
          <p:nvPr/>
        </p:nvSpPr>
        <p:spPr>
          <a:xfrm>
            <a:off x="5765363" y="3830475"/>
            <a:ext cx="94262" cy="39708"/>
          </a:xfrm>
          <a:custGeom>
            <a:avLst/>
            <a:gdLst>
              <a:gd name="connsiteX0" fmla="*/ 2782 w 94262"/>
              <a:gd name="connsiteY0" fmla="*/ 0 h 39708"/>
              <a:gd name="connsiteX1" fmla="*/ 91481 w 94262"/>
              <a:gd name="connsiteY1" fmla="*/ 0 h 39708"/>
              <a:gd name="connsiteX2" fmla="*/ 94263 w 94262"/>
              <a:gd name="connsiteY2" fmla="*/ 2782 h 39708"/>
              <a:gd name="connsiteX3" fmla="*/ 94263 w 94262"/>
              <a:gd name="connsiteY3" fmla="*/ 36921 h 39708"/>
              <a:gd name="connsiteX4" fmla="*/ 91481 w 94262"/>
              <a:gd name="connsiteY4" fmla="*/ 39708 h 39708"/>
              <a:gd name="connsiteX5" fmla="*/ 2782 w 94262"/>
              <a:gd name="connsiteY5" fmla="*/ 39708 h 39708"/>
              <a:gd name="connsiteX6" fmla="*/ 0 w 94262"/>
              <a:gd name="connsiteY6" fmla="*/ 36921 h 39708"/>
              <a:gd name="connsiteX7" fmla="*/ 0 w 94262"/>
              <a:gd name="connsiteY7" fmla="*/ 2782 h 39708"/>
              <a:gd name="connsiteX8" fmla="*/ 2782 w 94262"/>
              <a:gd name="connsiteY8" fmla="*/ 0 h 39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262" h="39708">
                <a:moveTo>
                  <a:pt x="2782" y="0"/>
                </a:moveTo>
                <a:lnTo>
                  <a:pt x="91481" y="0"/>
                </a:lnTo>
                <a:cubicBezTo>
                  <a:pt x="93011" y="0"/>
                  <a:pt x="94263" y="1246"/>
                  <a:pt x="94263" y="2782"/>
                </a:cubicBezTo>
                <a:lnTo>
                  <a:pt x="94263" y="36921"/>
                </a:lnTo>
                <a:cubicBezTo>
                  <a:pt x="94263" y="38452"/>
                  <a:pt x="93011" y="39708"/>
                  <a:pt x="91481" y="39708"/>
                </a:cubicBezTo>
                <a:lnTo>
                  <a:pt x="2782" y="39708"/>
                </a:lnTo>
                <a:cubicBezTo>
                  <a:pt x="1251" y="39708"/>
                  <a:pt x="0" y="38457"/>
                  <a:pt x="0" y="36921"/>
                </a:cubicBezTo>
                <a:lnTo>
                  <a:pt x="0" y="2782"/>
                </a:lnTo>
                <a:cubicBezTo>
                  <a:pt x="0" y="1251"/>
                  <a:pt x="1251" y="0"/>
                  <a:pt x="2782" y="0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36" name="Freeform: Shape 2635">
            <a:extLst>
              <a:ext uri="{FF2B5EF4-FFF2-40B4-BE49-F238E27FC236}">
                <a16:creationId xmlns:a16="http://schemas.microsoft.com/office/drawing/2014/main" id="{3B69CCF6-488B-DA69-D193-C44A3EBC0D84}"/>
              </a:ext>
            </a:extLst>
          </p:cNvPr>
          <p:cNvSpPr/>
          <p:nvPr/>
        </p:nvSpPr>
        <p:spPr>
          <a:xfrm>
            <a:off x="5717666" y="3511003"/>
            <a:ext cx="102831" cy="57258"/>
          </a:xfrm>
          <a:custGeom>
            <a:avLst/>
            <a:gdLst>
              <a:gd name="connsiteX0" fmla="*/ 31161 w 102831"/>
              <a:gd name="connsiteY0" fmla="*/ 0 h 57258"/>
              <a:gd name="connsiteX1" fmla="*/ 102831 w 102831"/>
              <a:gd name="connsiteY1" fmla="*/ 0 h 57258"/>
              <a:gd name="connsiteX2" fmla="*/ 83445 w 102831"/>
              <a:gd name="connsiteY2" fmla="*/ 57259 h 57258"/>
              <a:gd name="connsiteX3" fmla="*/ 19391 w 102831"/>
              <a:gd name="connsiteY3" fmla="*/ 57259 h 57258"/>
              <a:gd name="connsiteX4" fmla="*/ 0 w 102831"/>
              <a:gd name="connsiteY4" fmla="*/ 0 h 57258"/>
              <a:gd name="connsiteX5" fmla="*/ 31161 w 102831"/>
              <a:gd name="connsiteY5" fmla="*/ 0 h 57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2831" h="57258">
                <a:moveTo>
                  <a:pt x="31161" y="0"/>
                </a:moveTo>
                <a:lnTo>
                  <a:pt x="102831" y="0"/>
                </a:lnTo>
                <a:cubicBezTo>
                  <a:pt x="100163" y="12292"/>
                  <a:pt x="94738" y="57259"/>
                  <a:pt x="83445" y="57259"/>
                </a:cubicBezTo>
                <a:lnTo>
                  <a:pt x="19391" y="57259"/>
                </a:lnTo>
                <a:cubicBezTo>
                  <a:pt x="8098" y="57259"/>
                  <a:pt x="2668" y="12292"/>
                  <a:pt x="0" y="0"/>
                </a:cubicBezTo>
                <a:lnTo>
                  <a:pt x="31161" y="0"/>
                </a:lnTo>
                <a:close/>
              </a:path>
            </a:pathLst>
          </a:custGeom>
          <a:solidFill>
            <a:srgbClr val="D1E4F6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37" name="Freeform: Shape 2636">
            <a:extLst>
              <a:ext uri="{FF2B5EF4-FFF2-40B4-BE49-F238E27FC236}">
                <a16:creationId xmlns:a16="http://schemas.microsoft.com/office/drawing/2014/main" id="{6B74C7A6-D560-30B3-F408-A8B4DE22E8F3}"/>
              </a:ext>
            </a:extLst>
          </p:cNvPr>
          <p:cNvSpPr/>
          <p:nvPr/>
        </p:nvSpPr>
        <p:spPr>
          <a:xfrm>
            <a:off x="5712645" y="3503386"/>
            <a:ext cx="112873" cy="7622"/>
          </a:xfrm>
          <a:custGeom>
            <a:avLst/>
            <a:gdLst>
              <a:gd name="connsiteX0" fmla="*/ 2772 w 112873"/>
              <a:gd name="connsiteY0" fmla="*/ 0 h 7622"/>
              <a:gd name="connsiteX1" fmla="*/ 110102 w 112873"/>
              <a:gd name="connsiteY1" fmla="*/ 0 h 7622"/>
              <a:gd name="connsiteX2" fmla="*/ 112873 w 112873"/>
              <a:gd name="connsiteY2" fmla="*/ 2772 h 7622"/>
              <a:gd name="connsiteX3" fmla="*/ 112873 w 112873"/>
              <a:gd name="connsiteY3" fmla="*/ 4850 h 7622"/>
              <a:gd name="connsiteX4" fmla="*/ 110102 w 112873"/>
              <a:gd name="connsiteY4" fmla="*/ 7622 h 7622"/>
              <a:gd name="connsiteX5" fmla="*/ 2772 w 112873"/>
              <a:gd name="connsiteY5" fmla="*/ 7622 h 7622"/>
              <a:gd name="connsiteX6" fmla="*/ 0 w 112873"/>
              <a:gd name="connsiteY6" fmla="*/ 4850 h 7622"/>
              <a:gd name="connsiteX7" fmla="*/ 0 w 112873"/>
              <a:gd name="connsiteY7" fmla="*/ 2772 h 7622"/>
              <a:gd name="connsiteX8" fmla="*/ 2767 w 112873"/>
              <a:gd name="connsiteY8" fmla="*/ 5 h 7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2873" h="7622">
                <a:moveTo>
                  <a:pt x="2772" y="0"/>
                </a:moveTo>
                <a:lnTo>
                  <a:pt x="110102" y="0"/>
                </a:lnTo>
                <a:cubicBezTo>
                  <a:pt x="111632" y="0"/>
                  <a:pt x="112873" y="1241"/>
                  <a:pt x="112873" y="2772"/>
                </a:cubicBezTo>
                <a:lnTo>
                  <a:pt x="112873" y="4850"/>
                </a:lnTo>
                <a:cubicBezTo>
                  <a:pt x="112873" y="6381"/>
                  <a:pt x="111632" y="7622"/>
                  <a:pt x="110102" y="7622"/>
                </a:cubicBezTo>
                <a:lnTo>
                  <a:pt x="2772" y="7622"/>
                </a:lnTo>
                <a:cubicBezTo>
                  <a:pt x="1241" y="7622"/>
                  <a:pt x="0" y="6381"/>
                  <a:pt x="0" y="4850"/>
                </a:cubicBezTo>
                <a:lnTo>
                  <a:pt x="0" y="2772"/>
                </a:lnTo>
                <a:cubicBezTo>
                  <a:pt x="0" y="1241"/>
                  <a:pt x="1241" y="5"/>
                  <a:pt x="2767" y="5"/>
                </a:cubicBezTo>
                <a:close/>
              </a:path>
            </a:pathLst>
          </a:custGeom>
          <a:solidFill>
            <a:srgbClr val="A3CFF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38" name="Freeform: Shape 2637">
            <a:extLst>
              <a:ext uri="{FF2B5EF4-FFF2-40B4-BE49-F238E27FC236}">
                <a16:creationId xmlns:a16="http://schemas.microsoft.com/office/drawing/2014/main" id="{F8BC5EAF-95E2-4275-B1D4-A3A0D0ECA4D8}"/>
              </a:ext>
            </a:extLst>
          </p:cNvPr>
          <p:cNvSpPr/>
          <p:nvPr/>
        </p:nvSpPr>
        <p:spPr>
          <a:xfrm>
            <a:off x="5712402" y="3503143"/>
            <a:ext cx="113359" cy="65367"/>
          </a:xfrm>
          <a:custGeom>
            <a:avLst/>
            <a:gdLst>
              <a:gd name="connsiteX0" fmla="*/ 3015 w 113359"/>
              <a:gd name="connsiteY0" fmla="*/ 0 h 65367"/>
              <a:gd name="connsiteX1" fmla="*/ 64534 w 113359"/>
              <a:gd name="connsiteY1" fmla="*/ 0 h 65367"/>
              <a:gd name="connsiteX2" fmla="*/ 64483 w 113359"/>
              <a:gd name="connsiteY2" fmla="*/ 491 h 65367"/>
              <a:gd name="connsiteX3" fmla="*/ 3015 w 113359"/>
              <a:gd name="connsiteY3" fmla="*/ 491 h 65367"/>
              <a:gd name="connsiteX4" fmla="*/ 491 w 113359"/>
              <a:gd name="connsiteY4" fmla="*/ 3015 h 65367"/>
              <a:gd name="connsiteX5" fmla="*/ 491 w 113359"/>
              <a:gd name="connsiteY5" fmla="*/ 5093 h 65367"/>
              <a:gd name="connsiteX6" fmla="*/ 1231 w 113359"/>
              <a:gd name="connsiteY6" fmla="*/ 6872 h 65367"/>
              <a:gd name="connsiteX7" fmla="*/ 1231 w 113359"/>
              <a:gd name="connsiteY7" fmla="*/ 6872 h 65367"/>
              <a:gd name="connsiteX8" fmla="*/ 3015 w 113359"/>
              <a:gd name="connsiteY8" fmla="*/ 7612 h 65367"/>
              <a:gd name="connsiteX9" fmla="*/ 36492 w 113359"/>
              <a:gd name="connsiteY9" fmla="*/ 7612 h 65367"/>
              <a:gd name="connsiteX10" fmla="*/ 36280 w 113359"/>
              <a:gd name="connsiteY10" fmla="*/ 8103 h 65367"/>
              <a:gd name="connsiteX11" fmla="*/ 5564 w 113359"/>
              <a:gd name="connsiteY11" fmla="*/ 8103 h 65367"/>
              <a:gd name="connsiteX12" fmla="*/ 7198 w 113359"/>
              <a:gd name="connsiteY12" fmla="*/ 16982 h 65367"/>
              <a:gd name="connsiteX13" fmla="*/ 24650 w 113359"/>
              <a:gd name="connsiteY13" fmla="*/ 64871 h 65367"/>
              <a:gd name="connsiteX14" fmla="*/ 88704 w 113359"/>
              <a:gd name="connsiteY14" fmla="*/ 64871 h 65367"/>
              <a:gd name="connsiteX15" fmla="*/ 106156 w 113359"/>
              <a:gd name="connsiteY15" fmla="*/ 16982 h 65367"/>
              <a:gd name="connsiteX16" fmla="*/ 107785 w 113359"/>
              <a:gd name="connsiteY16" fmla="*/ 8103 h 65367"/>
              <a:gd name="connsiteX17" fmla="*/ 54156 w 113359"/>
              <a:gd name="connsiteY17" fmla="*/ 8103 h 65367"/>
              <a:gd name="connsiteX18" fmla="*/ 54322 w 113359"/>
              <a:gd name="connsiteY18" fmla="*/ 7612 h 65367"/>
              <a:gd name="connsiteX19" fmla="*/ 110339 w 113359"/>
              <a:gd name="connsiteY19" fmla="*/ 7612 h 65367"/>
              <a:gd name="connsiteX20" fmla="*/ 112123 w 113359"/>
              <a:gd name="connsiteY20" fmla="*/ 6872 h 65367"/>
              <a:gd name="connsiteX21" fmla="*/ 112123 w 113359"/>
              <a:gd name="connsiteY21" fmla="*/ 6872 h 65367"/>
              <a:gd name="connsiteX22" fmla="*/ 112863 w 113359"/>
              <a:gd name="connsiteY22" fmla="*/ 5093 h 65367"/>
              <a:gd name="connsiteX23" fmla="*/ 112863 w 113359"/>
              <a:gd name="connsiteY23" fmla="*/ 3015 h 65367"/>
              <a:gd name="connsiteX24" fmla="*/ 110339 w 113359"/>
              <a:gd name="connsiteY24" fmla="*/ 491 h 65367"/>
              <a:gd name="connsiteX25" fmla="*/ 76485 w 113359"/>
              <a:gd name="connsiteY25" fmla="*/ 491 h 65367"/>
              <a:gd name="connsiteX26" fmla="*/ 76433 w 113359"/>
              <a:gd name="connsiteY26" fmla="*/ 0 h 65367"/>
              <a:gd name="connsiteX27" fmla="*/ 110345 w 113359"/>
              <a:gd name="connsiteY27" fmla="*/ 0 h 65367"/>
              <a:gd name="connsiteX28" fmla="*/ 113359 w 113359"/>
              <a:gd name="connsiteY28" fmla="*/ 3015 h 65367"/>
              <a:gd name="connsiteX29" fmla="*/ 113359 w 113359"/>
              <a:gd name="connsiteY29" fmla="*/ 5093 h 65367"/>
              <a:gd name="connsiteX30" fmla="*/ 110345 w 113359"/>
              <a:gd name="connsiteY30" fmla="*/ 8108 h 65367"/>
              <a:gd name="connsiteX31" fmla="*/ 108292 w 113359"/>
              <a:gd name="connsiteY31" fmla="*/ 8108 h 65367"/>
              <a:gd name="connsiteX32" fmla="*/ 106642 w 113359"/>
              <a:gd name="connsiteY32" fmla="*/ 17075 h 65367"/>
              <a:gd name="connsiteX33" fmla="*/ 88709 w 113359"/>
              <a:gd name="connsiteY33" fmla="*/ 65367 h 65367"/>
              <a:gd name="connsiteX34" fmla="*/ 24655 w 113359"/>
              <a:gd name="connsiteY34" fmla="*/ 65367 h 65367"/>
              <a:gd name="connsiteX35" fmla="*/ 6717 w 113359"/>
              <a:gd name="connsiteY35" fmla="*/ 17075 h 65367"/>
              <a:gd name="connsiteX36" fmla="*/ 5068 w 113359"/>
              <a:gd name="connsiteY36" fmla="*/ 8108 h 65367"/>
              <a:gd name="connsiteX37" fmla="*/ 3015 w 113359"/>
              <a:gd name="connsiteY37" fmla="*/ 8108 h 65367"/>
              <a:gd name="connsiteX38" fmla="*/ 0 w 113359"/>
              <a:gd name="connsiteY38" fmla="*/ 5093 h 65367"/>
              <a:gd name="connsiteX39" fmla="*/ 0 w 113359"/>
              <a:gd name="connsiteY39" fmla="*/ 3015 h 65367"/>
              <a:gd name="connsiteX40" fmla="*/ 3015 w 113359"/>
              <a:gd name="connsiteY40" fmla="*/ 0 h 65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13359" h="65367">
                <a:moveTo>
                  <a:pt x="3015" y="0"/>
                </a:moveTo>
                <a:lnTo>
                  <a:pt x="64534" y="0"/>
                </a:lnTo>
                <a:cubicBezTo>
                  <a:pt x="64483" y="155"/>
                  <a:pt x="64467" y="326"/>
                  <a:pt x="64483" y="491"/>
                </a:cubicBezTo>
                <a:lnTo>
                  <a:pt x="3015" y="491"/>
                </a:lnTo>
                <a:cubicBezTo>
                  <a:pt x="1624" y="491"/>
                  <a:pt x="491" y="1624"/>
                  <a:pt x="491" y="3015"/>
                </a:cubicBezTo>
                <a:lnTo>
                  <a:pt x="491" y="5093"/>
                </a:lnTo>
                <a:cubicBezTo>
                  <a:pt x="491" y="5786"/>
                  <a:pt x="776" y="6417"/>
                  <a:pt x="1231" y="6872"/>
                </a:cubicBezTo>
                <a:lnTo>
                  <a:pt x="1231" y="6872"/>
                </a:lnTo>
                <a:cubicBezTo>
                  <a:pt x="1691" y="7333"/>
                  <a:pt x="2322" y="7612"/>
                  <a:pt x="3015" y="7612"/>
                </a:cubicBezTo>
                <a:lnTo>
                  <a:pt x="36492" y="7612"/>
                </a:lnTo>
                <a:cubicBezTo>
                  <a:pt x="36383" y="7762"/>
                  <a:pt x="36316" y="7927"/>
                  <a:pt x="36280" y="8103"/>
                </a:cubicBezTo>
                <a:lnTo>
                  <a:pt x="5564" y="8103"/>
                </a:lnTo>
                <a:cubicBezTo>
                  <a:pt x="6024" y="10275"/>
                  <a:pt x="6562" y="13357"/>
                  <a:pt x="7198" y="16982"/>
                </a:cubicBezTo>
                <a:cubicBezTo>
                  <a:pt x="10264" y="34543"/>
                  <a:pt x="15565" y="64871"/>
                  <a:pt x="24650" y="64871"/>
                </a:cubicBezTo>
                <a:lnTo>
                  <a:pt x="88704" y="64871"/>
                </a:lnTo>
                <a:cubicBezTo>
                  <a:pt x="97789" y="64871"/>
                  <a:pt x="103090" y="34543"/>
                  <a:pt x="106156" y="16982"/>
                </a:cubicBezTo>
                <a:cubicBezTo>
                  <a:pt x="106787" y="13357"/>
                  <a:pt x="107330" y="10270"/>
                  <a:pt x="107785" y="8103"/>
                </a:cubicBezTo>
                <a:lnTo>
                  <a:pt x="54156" y="8103"/>
                </a:lnTo>
                <a:cubicBezTo>
                  <a:pt x="54244" y="7958"/>
                  <a:pt x="54301" y="7788"/>
                  <a:pt x="54322" y="7612"/>
                </a:cubicBezTo>
                <a:lnTo>
                  <a:pt x="110339" y="7612"/>
                </a:lnTo>
                <a:cubicBezTo>
                  <a:pt x="111032" y="7612"/>
                  <a:pt x="111668" y="7327"/>
                  <a:pt x="112123" y="6872"/>
                </a:cubicBezTo>
                <a:lnTo>
                  <a:pt x="112123" y="6872"/>
                </a:lnTo>
                <a:cubicBezTo>
                  <a:pt x="112578" y="6417"/>
                  <a:pt x="112863" y="5781"/>
                  <a:pt x="112863" y="5093"/>
                </a:cubicBezTo>
                <a:lnTo>
                  <a:pt x="112863" y="3015"/>
                </a:lnTo>
                <a:cubicBezTo>
                  <a:pt x="112863" y="1624"/>
                  <a:pt x="111725" y="491"/>
                  <a:pt x="110339" y="491"/>
                </a:cubicBezTo>
                <a:lnTo>
                  <a:pt x="76485" y="491"/>
                </a:lnTo>
                <a:cubicBezTo>
                  <a:pt x="76500" y="326"/>
                  <a:pt x="76485" y="155"/>
                  <a:pt x="76433" y="0"/>
                </a:cubicBezTo>
                <a:lnTo>
                  <a:pt x="110345" y="0"/>
                </a:lnTo>
                <a:cubicBezTo>
                  <a:pt x="112005" y="0"/>
                  <a:pt x="113359" y="1355"/>
                  <a:pt x="113359" y="3015"/>
                </a:cubicBezTo>
                <a:lnTo>
                  <a:pt x="113359" y="5093"/>
                </a:lnTo>
                <a:cubicBezTo>
                  <a:pt x="113359" y="6753"/>
                  <a:pt x="112005" y="8108"/>
                  <a:pt x="110345" y="8108"/>
                </a:cubicBezTo>
                <a:lnTo>
                  <a:pt x="108292" y="8108"/>
                </a:lnTo>
                <a:cubicBezTo>
                  <a:pt x="107831" y="10270"/>
                  <a:pt x="107283" y="13393"/>
                  <a:pt x="106642" y="17075"/>
                </a:cubicBezTo>
                <a:cubicBezTo>
                  <a:pt x="103550" y="34786"/>
                  <a:pt x="98208" y="65367"/>
                  <a:pt x="88709" y="65367"/>
                </a:cubicBezTo>
                <a:lnTo>
                  <a:pt x="24655" y="65367"/>
                </a:lnTo>
                <a:cubicBezTo>
                  <a:pt x="15156" y="65367"/>
                  <a:pt x="9815" y="34786"/>
                  <a:pt x="6717" y="17075"/>
                </a:cubicBezTo>
                <a:cubicBezTo>
                  <a:pt x="6076" y="13393"/>
                  <a:pt x="5533" y="10270"/>
                  <a:pt x="5068" y="8108"/>
                </a:cubicBezTo>
                <a:lnTo>
                  <a:pt x="3015" y="8108"/>
                </a:lnTo>
                <a:cubicBezTo>
                  <a:pt x="1355" y="8108"/>
                  <a:pt x="0" y="6748"/>
                  <a:pt x="0" y="5093"/>
                </a:cubicBezTo>
                <a:lnTo>
                  <a:pt x="0" y="3015"/>
                </a:lnTo>
                <a:cubicBezTo>
                  <a:pt x="0" y="1355"/>
                  <a:pt x="1360" y="0"/>
                  <a:pt x="3015" y="0"/>
                </a:cubicBezTo>
                <a:close/>
              </a:path>
            </a:pathLst>
          </a:custGeom>
          <a:solidFill>
            <a:srgbClr val="1E77D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39" name="Freeform: Shape 2638">
            <a:extLst>
              <a:ext uri="{FF2B5EF4-FFF2-40B4-BE49-F238E27FC236}">
                <a16:creationId xmlns:a16="http://schemas.microsoft.com/office/drawing/2014/main" id="{13948D84-6E94-6833-0CF4-8115A57E644C}"/>
              </a:ext>
            </a:extLst>
          </p:cNvPr>
          <p:cNvSpPr/>
          <p:nvPr/>
        </p:nvSpPr>
        <p:spPr>
          <a:xfrm>
            <a:off x="5806339" y="3500056"/>
            <a:ext cx="11598" cy="11598"/>
          </a:xfrm>
          <a:custGeom>
            <a:avLst/>
            <a:gdLst>
              <a:gd name="connsiteX0" fmla="*/ 5802 w 11598"/>
              <a:gd name="connsiteY0" fmla="*/ 0 h 11598"/>
              <a:gd name="connsiteX1" fmla="*/ 11599 w 11598"/>
              <a:gd name="connsiteY1" fmla="*/ 5802 h 11598"/>
              <a:gd name="connsiteX2" fmla="*/ 5802 w 11598"/>
              <a:gd name="connsiteY2" fmla="*/ 11599 h 11598"/>
              <a:gd name="connsiteX3" fmla="*/ 0 w 11598"/>
              <a:gd name="connsiteY3" fmla="*/ 5802 h 11598"/>
              <a:gd name="connsiteX4" fmla="*/ 5802 w 11598"/>
              <a:gd name="connsiteY4" fmla="*/ 0 h 11598"/>
              <a:gd name="connsiteX5" fmla="*/ 5802 w 11598"/>
              <a:gd name="connsiteY5" fmla="*/ 0 h 11598"/>
              <a:gd name="connsiteX6" fmla="*/ 5802 w 11598"/>
              <a:gd name="connsiteY6" fmla="*/ 3335 h 11598"/>
              <a:gd name="connsiteX7" fmla="*/ 3330 w 11598"/>
              <a:gd name="connsiteY7" fmla="*/ 5802 h 11598"/>
              <a:gd name="connsiteX8" fmla="*/ 5802 w 11598"/>
              <a:gd name="connsiteY8" fmla="*/ 8268 h 11598"/>
              <a:gd name="connsiteX9" fmla="*/ 8268 w 11598"/>
              <a:gd name="connsiteY9" fmla="*/ 5802 h 11598"/>
              <a:gd name="connsiteX10" fmla="*/ 5802 w 11598"/>
              <a:gd name="connsiteY10" fmla="*/ 3335 h 1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598" h="11598">
                <a:moveTo>
                  <a:pt x="5802" y="0"/>
                </a:moveTo>
                <a:cubicBezTo>
                  <a:pt x="9003" y="0"/>
                  <a:pt x="11599" y="2596"/>
                  <a:pt x="11599" y="5802"/>
                </a:cubicBezTo>
                <a:cubicBezTo>
                  <a:pt x="11599" y="9008"/>
                  <a:pt x="9003" y="11599"/>
                  <a:pt x="5802" y="11599"/>
                </a:cubicBezTo>
                <a:cubicBezTo>
                  <a:pt x="2601" y="11599"/>
                  <a:pt x="0" y="9003"/>
                  <a:pt x="0" y="5802"/>
                </a:cubicBezTo>
                <a:cubicBezTo>
                  <a:pt x="0" y="2601"/>
                  <a:pt x="2596" y="0"/>
                  <a:pt x="5802" y="0"/>
                </a:cubicBezTo>
                <a:lnTo>
                  <a:pt x="5802" y="0"/>
                </a:lnTo>
                <a:close/>
                <a:moveTo>
                  <a:pt x="5802" y="3335"/>
                </a:moveTo>
                <a:cubicBezTo>
                  <a:pt x="4437" y="3335"/>
                  <a:pt x="3330" y="4437"/>
                  <a:pt x="3330" y="5802"/>
                </a:cubicBezTo>
                <a:cubicBezTo>
                  <a:pt x="3330" y="7167"/>
                  <a:pt x="4437" y="8268"/>
                  <a:pt x="5802" y="8268"/>
                </a:cubicBezTo>
                <a:cubicBezTo>
                  <a:pt x="7167" y="8268"/>
                  <a:pt x="8268" y="7167"/>
                  <a:pt x="8268" y="5802"/>
                </a:cubicBezTo>
                <a:cubicBezTo>
                  <a:pt x="8268" y="4437"/>
                  <a:pt x="7162" y="3335"/>
                  <a:pt x="5802" y="3335"/>
                </a:cubicBezTo>
                <a:close/>
              </a:path>
            </a:pathLst>
          </a:custGeom>
          <a:solidFill>
            <a:srgbClr val="1E77D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40" name="Freeform: Shape 2639">
            <a:extLst>
              <a:ext uri="{FF2B5EF4-FFF2-40B4-BE49-F238E27FC236}">
                <a16:creationId xmlns:a16="http://schemas.microsoft.com/office/drawing/2014/main" id="{4CBFAE15-BD67-A70E-2B54-30647688CC97}"/>
              </a:ext>
            </a:extLst>
          </p:cNvPr>
          <p:cNvSpPr/>
          <p:nvPr/>
        </p:nvSpPr>
        <p:spPr>
          <a:xfrm>
            <a:off x="5806096" y="3499813"/>
            <a:ext cx="12084" cy="12084"/>
          </a:xfrm>
          <a:custGeom>
            <a:avLst/>
            <a:gdLst>
              <a:gd name="connsiteX0" fmla="*/ 6045 w 12084"/>
              <a:gd name="connsiteY0" fmla="*/ 0 h 12084"/>
              <a:gd name="connsiteX1" fmla="*/ 10316 w 12084"/>
              <a:gd name="connsiteY1" fmla="*/ 1769 h 12084"/>
              <a:gd name="connsiteX2" fmla="*/ 12085 w 12084"/>
              <a:gd name="connsiteY2" fmla="*/ 6045 h 12084"/>
              <a:gd name="connsiteX3" fmla="*/ 10316 w 12084"/>
              <a:gd name="connsiteY3" fmla="*/ 10316 h 12084"/>
              <a:gd name="connsiteX4" fmla="*/ 6045 w 12084"/>
              <a:gd name="connsiteY4" fmla="*/ 12085 h 12084"/>
              <a:gd name="connsiteX5" fmla="*/ 1768 w 12084"/>
              <a:gd name="connsiteY5" fmla="*/ 10316 h 12084"/>
              <a:gd name="connsiteX6" fmla="*/ 0 w 12084"/>
              <a:gd name="connsiteY6" fmla="*/ 6045 h 12084"/>
              <a:gd name="connsiteX7" fmla="*/ 1768 w 12084"/>
              <a:gd name="connsiteY7" fmla="*/ 1769 h 12084"/>
              <a:gd name="connsiteX8" fmla="*/ 6045 w 12084"/>
              <a:gd name="connsiteY8" fmla="*/ 0 h 12084"/>
              <a:gd name="connsiteX9" fmla="*/ 6045 w 12084"/>
              <a:gd name="connsiteY9" fmla="*/ 0 h 12084"/>
              <a:gd name="connsiteX10" fmla="*/ 9970 w 12084"/>
              <a:gd name="connsiteY10" fmla="*/ 2115 h 12084"/>
              <a:gd name="connsiteX11" fmla="*/ 6045 w 12084"/>
              <a:gd name="connsiteY11" fmla="*/ 491 h 12084"/>
              <a:gd name="connsiteX12" fmla="*/ 2115 w 12084"/>
              <a:gd name="connsiteY12" fmla="*/ 2115 h 12084"/>
              <a:gd name="connsiteX13" fmla="*/ 491 w 12084"/>
              <a:gd name="connsiteY13" fmla="*/ 6045 h 12084"/>
              <a:gd name="connsiteX14" fmla="*/ 2115 w 12084"/>
              <a:gd name="connsiteY14" fmla="*/ 9970 h 12084"/>
              <a:gd name="connsiteX15" fmla="*/ 6045 w 12084"/>
              <a:gd name="connsiteY15" fmla="*/ 11599 h 12084"/>
              <a:gd name="connsiteX16" fmla="*/ 9970 w 12084"/>
              <a:gd name="connsiteY16" fmla="*/ 9970 h 12084"/>
              <a:gd name="connsiteX17" fmla="*/ 11593 w 12084"/>
              <a:gd name="connsiteY17" fmla="*/ 6045 h 12084"/>
              <a:gd name="connsiteX18" fmla="*/ 9970 w 12084"/>
              <a:gd name="connsiteY18" fmla="*/ 2115 h 12084"/>
              <a:gd name="connsiteX19" fmla="*/ 9970 w 12084"/>
              <a:gd name="connsiteY19" fmla="*/ 2115 h 12084"/>
              <a:gd name="connsiteX20" fmla="*/ 6045 w 12084"/>
              <a:gd name="connsiteY20" fmla="*/ 3330 h 12084"/>
              <a:gd name="connsiteX21" fmla="*/ 4126 w 12084"/>
              <a:gd name="connsiteY21" fmla="*/ 4126 h 12084"/>
              <a:gd name="connsiteX22" fmla="*/ 4126 w 12084"/>
              <a:gd name="connsiteY22" fmla="*/ 4126 h 12084"/>
              <a:gd name="connsiteX23" fmla="*/ 3335 w 12084"/>
              <a:gd name="connsiteY23" fmla="*/ 6045 h 12084"/>
              <a:gd name="connsiteX24" fmla="*/ 4126 w 12084"/>
              <a:gd name="connsiteY24" fmla="*/ 7958 h 12084"/>
              <a:gd name="connsiteX25" fmla="*/ 4126 w 12084"/>
              <a:gd name="connsiteY25" fmla="*/ 7958 h 12084"/>
              <a:gd name="connsiteX26" fmla="*/ 6045 w 12084"/>
              <a:gd name="connsiteY26" fmla="*/ 8755 h 12084"/>
              <a:gd name="connsiteX27" fmla="*/ 7963 w 12084"/>
              <a:gd name="connsiteY27" fmla="*/ 7958 h 12084"/>
              <a:gd name="connsiteX28" fmla="*/ 7963 w 12084"/>
              <a:gd name="connsiteY28" fmla="*/ 7958 h 12084"/>
              <a:gd name="connsiteX29" fmla="*/ 8755 w 12084"/>
              <a:gd name="connsiteY29" fmla="*/ 6040 h 12084"/>
              <a:gd name="connsiteX30" fmla="*/ 7963 w 12084"/>
              <a:gd name="connsiteY30" fmla="*/ 4121 h 12084"/>
              <a:gd name="connsiteX31" fmla="*/ 6045 w 12084"/>
              <a:gd name="connsiteY31" fmla="*/ 3325 h 12084"/>
              <a:gd name="connsiteX32" fmla="*/ 6045 w 12084"/>
              <a:gd name="connsiteY32" fmla="*/ 3325 h 12084"/>
              <a:gd name="connsiteX33" fmla="*/ 7612 w 12084"/>
              <a:gd name="connsiteY33" fmla="*/ 4473 h 12084"/>
              <a:gd name="connsiteX34" fmla="*/ 6045 w 12084"/>
              <a:gd name="connsiteY34" fmla="*/ 3827 h 12084"/>
              <a:gd name="connsiteX35" fmla="*/ 4473 w 12084"/>
              <a:gd name="connsiteY35" fmla="*/ 4473 h 12084"/>
              <a:gd name="connsiteX36" fmla="*/ 4473 w 12084"/>
              <a:gd name="connsiteY36" fmla="*/ 4473 h 12084"/>
              <a:gd name="connsiteX37" fmla="*/ 3821 w 12084"/>
              <a:gd name="connsiteY37" fmla="*/ 6045 h 12084"/>
              <a:gd name="connsiteX38" fmla="*/ 4473 w 12084"/>
              <a:gd name="connsiteY38" fmla="*/ 7617 h 12084"/>
              <a:gd name="connsiteX39" fmla="*/ 6045 w 12084"/>
              <a:gd name="connsiteY39" fmla="*/ 8268 h 12084"/>
              <a:gd name="connsiteX40" fmla="*/ 7612 w 12084"/>
              <a:gd name="connsiteY40" fmla="*/ 7617 h 12084"/>
              <a:gd name="connsiteX41" fmla="*/ 7612 w 12084"/>
              <a:gd name="connsiteY41" fmla="*/ 7617 h 12084"/>
              <a:gd name="connsiteX42" fmla="*/ 8263 w 12084"/>
              <a:gd name="connsiteY42" fmla="*/ 6045 h 12084"/>
              <a:gd name="connsiteX43" fmla="*/ 7612 w 12084"/>
              <a:gd name="connsiteY43" fmla="*/ 4473 h 12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2084" h="12084">
                <a:moveTo>
                  <a:pt x="6045" y="0"/>
                </a:moveTo>
                <a:cubicBezTo>
                  <a:pt x="7715" y="0"/>
                  <a:pt x="9225" y="677"/>
                  <a:pt x="10316" y="1769"/>
                </a:cubicBezTo>
                <a:cubicBezTo>
                  <a:pt x="11407" y="2860"/>
                  <a:pt x="12085" y="4375"/>
                  <a:pt x="12085" y="6045"/>
                </a:cubicBezTo>
                <a:cubicBezTo>
                  <a:pt x="12085" y="7715"/>
                  <a:pt x="11407" y="9225"/>
                  <a:pt x="10316" y="10316"/>
                </a:cubicBezTo>
                <a:cubicBezTo>
                  <a:pt x="9220" y="11407"/>
                  <a:pt x="7710" y="12085"/>
                  <a:pt x="6045" y="12085"/>
                </a:cubicBezTo>
                <a:cubicBezTo>
                  <a:pt x="4380" y="12085"/>
                  <a:pt x="2865" y="11407"/>
                  <a:pt x="1768" y="10316"/>
                </a:cubicBezTo>
                <a:cubicBezTo>
                  <a:pt x="677" y="9225"/>
                  <a:pt x="0" y="7710"/>
                  <a:pt x="0" y="6045"/>
                </a:cubicBezTo>
                <a:cubicBezTo>
                  <a:pt x="0" y="4380"/>
                  <a:pt x="677" y="2865"/>
                  <a:pt x="1768" y="1769"/>
                </a:cubicBezTo>
                <a:cubicBezTo>
                  <a:pt x="2860" y="677"/>
                  <a:pt x="4375" y="0"/>
                  <a:pt x="6045" y="0"/>
                </a:cubicBezTo>
                <a:lnTo>
                  <a:pt x="6045" y="0"/>
                </a:lnTo>
                <a:close/>
                <a:moveTo>
                  <a:pt x="9970" y="2115"/>
                </a:moveTo>
                <a:cubicBezTo>
                  <a:pt x="8967" y="1112"/>
                  <a:pt x="7576" y="491"/>
                  <a:pt x="6045" y="491"/>
                </a:cubicBezTo>
                <a:cubicBezTo>
                  <a:pt x="4514" y="491"/>
                  <a:pt x="3123" y="1112"/>
                  <a:pt x="2115" y="2115"/>
                </a:cubicBezTo>
                <a:cubicBezTo>
                  <a:pt x="1107" y="3123"/>
                  <a:pt x="491" y="4509"/>
                  <a:pt x="491" y="6045"/>
                </a:cubicBezTo>
                <a:cubicBezTo>
                  <a:pt x="491" y="7581"/>
                  <a:pt x="1112" y="8967"/>
                  <a:pt x="2115" y="9970"/>
                </a:cubicBezTo>
                <a:cubicBezTo>
                  <a:pt x="3123" y="10978"/>
                  <a:pt x="4509" y="11599"/>
                  <a:pt x="6045" y="11599"/>
                </a:cubicBezTo>
                <a:cubicBezTo>
                  <a:pt x="7581" y="11599"/>
                  <a:pt x="8967" y="10978"/>
                  <a:pt x="9970" y="9970"/>
                </a:cubicBezTo>
                <a:cubicBezTo>
                  <a:pt x="10973" y="8967"/>
                  <a:pt x="11593" y="7576"/>
                  <a:pt x="11593" y="6045"/>
                </a:cubicBezTo>
                <a:cubicBezTo>
                  <a:pt x="11593" y="4514"/>
                  <a:pt x="10973" y="3123"/>
                  <a:pt x="9970" y="2115"/>
                </a:cubicBezTo>
                <a:lnTo>
                  <a:pt x="9970" y="2115"/>
                </a:lnTo>
                <a:close/>
                <a:moveTo>
                  <a:pt x="6045" y="3330"/>
                </a:moveTo>
                <a:cubicBezTo>
                  <a:pt x="5295" y="3330"/>
                  <a:pt x="4618" y="3635"/>
                  <a:pt x="4126" y="4126"/>
                </a:cubicBezTo>
                <a:lnTo>
                  <a:pt x="4126" y="4126"/>
                </a:lnTo>
                <a:cubicBezTo>
                  <a:pt x="3635" y="4618"/>
                  <a:pt x="3335" y="5295"/>
                  <a:pt x="3335" y="6045"/>
                </a:cubicBezTo>
                <a:cubicBezTo>
                  <a:pt x="3335" y="6795"/>
                  <a:pt x="3640" y="7472"/>
                  <a:pt x="4126" y="7958"/>
                </a:cubicBezTo>
                <a:lnTo>
                  <a:pt x="4126" y="7958"/>
                </a:lnTo>
                <a:cubicBezTo>
                  <a:pt x="4618" y="8449"/>
                  <a:pt x="5295" y="8755"/>
                  <a:pt x="6045" y="8755"/>
                </a:cubicBezTo>
                <a:cubicBezTo>
                  <a:pt x="6795" y="8755"/>
                  <a:pt x="7472" y="8449"/>
                  <a:pt x="7963" y="7958"/>
                </a:cubicBezTo>
                <a:lnTo>
                  <a:pt x="7963" y="7958"/>
                </a:lnTo>
                <a:cubicBezTo>
                  <a:pt x="8455" y="7467"/>
                  <a:pt x="8755" y="6790"/>
                  <a:pt x="8755" y="6040"/>
                </a:cubicBezTo>
                <a:cubicBezTo>
                  <a:pt x="8755" y="5290"/>
                  <a:pt x="8449" y="4613"/>
                  <a:pt x="7963" y="4121"/>
                </a:cubicBezTo>
                <a:cubicBezTo>
                  <a:pt x="7477" y="3630"/>
                  <a:pt x="6795" y="3325"/>
                  <a:pt x="6045" y="3325"/>
                </a:cubicBezTo>
                <a:lnTo>
                  <a:pt x="6045" y="3325"/>
                </a:lnTo>
                <a:close/>
                <a:moveTo>
                  <a:pt x="7612" y="4473"/>
                </a:moveTo>
                <a:cubicBezTo>
                  <a:pt x="7208" y="4070"/>
                  <a:pt x="6655" y="3827"/>
                  <a:pt x="6045" y="3827"/>
                </a:cubicBezTo>
                <a:cubicBezTo>
                  <a:pt x="5435" y="3827"/>
                  <a:pt x="4876" y="4075"/>
                  <a:pt x="4473" y="4473"/>
                </a:cubicBezTo>
                <a:lnTo>
                  <a:pt x="4473" y="4473"/>
                </a:lnTo>
                <a:cubicBezTo>
                  <a:pt x="4070" y="4876"/>
                  <a:pt x="3821" y="5430"/>
                  <a:pt x="3821" y="6045"/>
                </a:cubicBezTo>
                <a:cubicBezTo>
                  <a:pt x="3821" y="6660"/>
                  <a:pt x="4070" y="7214"/>
                  <a:pt x="4473" y="7617"/>
                </a:cubicBezTo>
                <a:cubicBezTo>
                  <a:pt x="4876" y="8020"/>
                  <a:pt x="5430" y="8268"/>
                  <a:pt x="6045" y="8268"/>
                </a:cubicBezTo>
                <a:cubicBezTo>
                  <a:pt x="6660" y="8268"/>
                  <a:pt x="7214" y="8020"/>
                  <a:pt x="7612" y="7617"/>
                </a:cubicBezTo>
                <a:lnTo>
                  <a:pt x="7612" y="7617"/>
                </a:lnTo>
                <a:cubicBezTo>
                  <a:pt x="8015" y="7219"/>
                  <a:pt x="8263" y="6660"/>
                  <a:pt x="8263" y="6045"/>
                </a:cubicBezTo>
                <a:cubicBezTo>
                  <a:pt x="8263" y="5430"/>
                  <a:pt x="8015" y="4876"/>
                  <a:pt x="7612" y="4473"/>
                </a:cubicBezTo>
                <a:close/>
              </a:path>
            </a:pathLst>
          </a:custGeom>
          <a:solidFill>
            <a:srgbClr val="1E77D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41" name="Freeform: Shape 2640">
            <a:extLst>
              <a:ext uri="{FF2B5EF4-FFF2-40B4-BE49-F238E27FC236}">
                <a16:creationId xmlns:a16="http://schemas.microsoft.com/office/drawing/2014/main" id="{A0F36277-68EE-96FD-8186-A302AB0F114D}"/>
              </a:ext>
            </a:extLst>
          </p:cNvPr>
          <p:cNvSpPr/>
          <p:nvPr/>
        </p:nvSpPr>
        <p:spPr>
          <a:xfrm>
            <a:off x="5768996" y="3459116"/>
            <a:ext cx="45525" cy="49071"/>
          </a:xfrm>
          <a:custGeom>
            <a:avLst/>
            <a:gdLst>
              <a:gd name="connsiteX0" fmla="*/ 3617 w 45525"/>
              <a:gd name="connsiteY0" fmla="*/ 508 h 49071"/>
              <a:gd name="connsiteX1" fmla="*/ 45110 w 45525"/>
              <a:gd name="connsiteY1" fmla="*/ 45620 h 49071"/>
              <a:gd name="connsiteX2" fmla="*/ 45016 w 45525"/>
              <a:gd name="connsiteY2" fmla="*/ 47854 h 49071"/>
              <a:gd name="connsiteX3" fmla="*/ 44143 w 45525"/>
              <a:gd name="connsiteY3" fmla="*/ 48655 h 49071"/>
              <a:gd name="connsiteX4" fmla="*/ 41909 w 45525"/>
              <a:gd name="connsiteY4" fmla="*/ 48562 h 49071"/>
              <a:gd name="connsiteX5" fmla="*/ 416 w 45525"/>
              <a:gd name="connsiteY5" fmla="*/ 3450 h 49071"/>
              <a:gd name="connsiteX6" fmla="*/ 509 w 45525"/>
              <a:gd name="connsiteY6" fmla="*/ 1216 h 49071"/>
              <a:gd name="connsiteX7" fmla="*/ 1383 w 45525"/>
              <a:gd name="connsiteY7" fmla="*/ 415 h 49071"/>
              <a:gd name="connsiteX8" fmla="*/ 3617 w 45525"/>
              <a:gd name="connsiteY8" fmla="*/ 508 h 49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525" h="49071">
                <a:moveTo>
                  <a:pt x="3617" y="508"/>
                </a:moveTo>
                <a:lnTo>
                  <a:pt x="45110" y="45620"/>
                </a:lnTo>
                <a:cubicBezTo>
                  <a:pt x="45699" y="46261"/>
                  <a:pt x="45658" y="47264"/>
                  <a:pt x="45016" y="47854"/>
                </a:cubicBezTo>
                <a:lnTo>
                  <a:pt x="44143" y="48655"/>
                </a:lnTo>
                <a:cubicBezTo>
                  <a:pt x="43501" y="49245"/>
                  <a:pt x="42498" y="49203"/>
                  <a:pt x="41909" y="48562"/>
                </a:cubicBezTo>
                <a:lnTo>
                  <a:pt x="416" y="3450"/>
                </a:lnTo>
                <a:cubicBezTo>
                  <a:pt x="-173" y="2809"/>
                  <a:pt x="-132" y="1806"/>
                  <a:pt x="509" y="1216"/>
                </a:cubicBezTo>
                <a:lnTo>
                  <a:pt x="1383" y="415"/>
                </a:lnTo>
                <a:cubicBezTo>
                  <a:pt x="2025" y="-175"/>
                  <a:pt x="3028" y="-128"/>
                  <a:pt x="3617" y="508"/>
                </a:cubicBezTo>
                <a:close/>
              </a:path>
            </a:pathLst>
          </a:custGeom>
          <a:solidFill>
            <a:srgbClr val="A3CFF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42" name="Freeform: Shape 2641">
            <a:extLst>
              <a:ext uri="{FF2B5EF4-FFF2-40B4-BE49-F238E27FC236}">
                <a16:creationId xmlns:a16="http://schemas.microsoft.com/office/drawing/2014/main" id="{DDDB4879-E297-4F46-4DA7-86F2B68CCAD3}"/>
              </a:ext>
            </a:extLst>
          </p:cNvPr>
          <p:cNvSpPr/>
          <p:nvPr/>
        </p:nvSpPr>
        <p:spPr>
          <a:xfrm>
            <a:off x="5716963" y="3500056"/>
            <a:ext cx="11598" cy="11598"/>
          </a:xfrm>
          <a:custGeom>
            <a:avLst/>
            <a:gdLst>
              <a:gd name="connsiteX0" fmla="*/ 5802 w 11598"/>
              <a:gd name="connsiteY0" fmla="*/ 0 h 11598"/>
              <a:gd name="connsiteX1" fmla="*/ 0 w 11598"/>
              <a:gd name="connsiteY1" fmla="*/ 5802 h 11598"/>
              <a:gd name="connsiteX2" fmla="*/ 5802 w 11598"/>
              <a:gd name="connsiteY2" fmla="*/ 11599 h 11598"/>
              <a:gd name="connsiteX3" fmla="*/ 11599 w 11598"/>
              <a:gd name="connsiteY3" fmla="*/ 5802 h 11598"/>
              <a:gd name="connsiteX4" fmla="*/ 5802 w 11598"/>
              <a:gd name="connsiteY4" fmla="*/ 0 h 11598"/>
              <a:gd name="connsiteX5" fmla="*/ 5802 w 11598"/>
              <a:gd name="connsiteY5" fmla="*/ 0 h 11598"/>
              <a:gd name="connsiteX6" fmla="*/ 5802 w 11598"/>
              <a:gd name="connsiteY6" fmla="*/ 3335 h 11598"/>
              <a:gd name="connsiteX7" fmla="*/ 8268 w 11598"/>
              <a:gd name="connsiteY7" fmla="*/ 5802 h 11598"/>
              <a:gd name="connsiteX8" fmla="*/ 5802 w 11598"/>
              <a:gd name="connsiteY8" fmla="*/ 8268 h 11598"/>
              <a:gd name="connsiteX9" fmla="*/ 3335 w 11598"/>
              <a:gd name="connsiteY9" fmla="*/ 5802 h 11598"/>
              <a:gd name="connsiteX10" fmla="*/ 5802 w 11598"/>
              <a:gd name="connsiteY10" fmla="*/ 3335 h 1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598" h="11598">
                <a:moveTo>
                  <a:pt x="5802" y="0"/>
                </a:moveTo>
                <a:cubicBezTo>
                  <a:pt x="2601" y="0"/>
                  <a:pt x="0" y="2596"/>
                  <a:pt x="0" y="5802"/>
                </a:cubicBezTo>
                <a:cubicBezTo>
                  <a:pt x="0" y="9008"/>
                  <a:pt x="2596" y="11599"/>
                  <a:pt x="5802" y="11599"/>
                </a:cubicBezTo>
                <a:cubicBezTo>
                  <a:pt x="9008" y="11599"/>
                  <a:pt x="11599" y="9003"/>
                  <a:pt x="11599" y="5802"/>
                </a:cubicBezTo>
                <a:cubicBezTo>
                  <a:pt x="11599" y="2601"/>
                  <a:pt x="9003" y="0"/>
                  <a:pt x="5802" y="0"/>
                </a:cubicBezTo>
                <a:lnTo>
                  <a:pt x="5802" y="0"/>
                </a:lnTo>
                <a:close/>
                <a:moveTo>
                  <a:pt x="5802" y="3335"/>
                </a:moveTo>
                <a:cubicBezTo>
                  <a:pt x="7162" y="3335"/>
                  <a:pt x="8268" y="4437"/>
                  <a:pt x="8268" y="5802"/>
                </a:cubicBezTo>
                <a:cubicBezTo>
                  <a:pt x="8268" y="7167"/>
                  <a:pt x="7162" y="8268"/>
                  <a:pt x="5802" y="8268"/>
                </a:cubicBezTo>
                <a:cubicBezTo>
                  <a:pt x="4442" y="8268"/>
                  <a:pt x="3335" y="7167"/>
                  <a:pt x="3335" y="5802"/>
                </a:cubicBezTo>
                <a:cubicBezTo>
                  <a:pt x="3335" y="4437"/>
                  <a:pt x="4437" y="3335"/>
                  <a:pt x="5802" y="3335"/>
                </a:cubicBezTo>
                <a:close/>
              </a:path>
            </a:pathLst>
          </a:custGeom>
          <a:solidFill>
            <a:srgbClr val="1E77D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43" name="Freeform: Shape 2642">
            <a:extLst>
              <a:ext uri="{FF2B5EF4-FFF2-40B4-BE49-F238E27FC236}">
                <a16:creationId xmlns:a16="http://schemas.microsoft.com/office/drawing/2014/main" id="{AC0CEA94-CF16-6C9A-E10A-E214D6B23B65}"/>
              </a:ext>
            </a:extLst>
          </p:cNvPr>
          <p:cNvSpPr/>
          <p:nvPr/>
        </p:nvSpPr>
        <p:spPr>
          <a:xfrm>
            <a:off x="5716720" y="3499808"/>
            <a:ext cx="12084" cy="12084"/>
          </a:xfrm>
          <a:custGeom>
            <a:avLst/>
            <a:gdLst>
              <a:gd name="connsiteX0" fmla="*/ 6045 w 12084"/>
              <a:gd name="connsiteY0" fmla="*/ 491 h 12084"/>
              <a:gd name="connsiteX1" fmla="*/ 2115 w 12084"/>
              <a:gd name="connsiteY1" fmla="*/ 2115 h 12084"/>
              <a:gd name="connsiteX2" fmla="*/ 491 w 12084"/>
              <a:gd name="connsiteY2" fmla="*/ 6045 h 12084"/>
              <a:gd name="connsiteX3" fmla="*/ 2115 w 12084"/>
              <a:gd name="connsiteY3" fmla="*/ 9970 h 12084"/>
              <a:gd name="connsiteX4" fmla="*/ 6045 w 12084"/>
              <a:gd name="connsiteY4" fmla="*/ 11599 h 12084"/>
              <a:gd name="connsiteX5" fmla="*/ 9970 w 12084"/>
              <a:gd name="connsiteY5" fmla="*/ 9970 h 12084"/>
              <a:gd name="connsiteX6" fmla="*/ 11599 w 12084"/>
              <a:gd name="connsiteY6" fmla="*/ 6045 h 12084"/>
              <a:gd name="connsiteX7" fmla="*/ 9970 w 12084"/>
              <a:gd name="connsiteY7" fmla="*/ 2115 h 12084"/>
              <a:gd name="connsiteX8" fmla="*/ 6045 w 12084"/>
              <a:gd name="connsiteY8" fmla="*/ 491 h 12084"/>
              <a:gd name="connsiteX9" fmla="*/ 6045 w 12084"/>
              <a:gd name="connsiteY9" fmla="*/ 491 h 12084"/>
              <a:gd name="connsiteX10" fmla="*/ 1768 w 12084"/>
              <a:gd name="connsiteY10" fmla="*/ 1768 h 12084"/>
              <a:gd name="connsiteX11" fmla="*/ 6045 w 12084"/>
              <a:gd name="connsiteY11" fmla="*/ 0 h 12084"/>
              <a:gd name="connsiteX12" fmla="*/ 10316 w 12084"/>
              <a:gd name="connsiteY12" fmla="*/ 1768 h 12084"/>
              <a:gd name="connsiteX13" fmla="*/ 12085 w 12084"/>
              <a:gd name="connsiteY13" fmla="*/ 6045 h 12084"/>
              <a:gd name="connsiteX14" fmla="*/ 10316 w 12084"/>
              <a:gd name="connsiteY14" fmla="*/ 10316 h 12084"/>
              <a:gd name="connsiteX15" fmla="*/ 6045 w 12084"/>
              <a:gd name="connsiteY15" fmla="*/ 12085 h 12084"/>
              <a:gd name="connsiteX16" fmla="*/ 1768 w 12084"/>
              <a:gd name="connsiteY16" fmla="*/ 10316 h 12084"/>
              <a:gd name="connsiteX17" fmla="*/ 0 w 12084"/>
              <a:gd name="connsiteY17" fmla="*/ 6045 h 12084"/>
              <a:gd name="connsiteX18" fmla="*/ 1768 w 12084"/>
              <a:gd name="connsiteY18" fmla="*/ 1768 h 12084"/>
              <a:gd name="connsiteX19" fmla="*/ 1768 w 12084"/>
              <a:gd name="connsiteY19" fmla="*/ 1768 h 12084"/>
              <a:gd name="connsiteX20" fmla="*/ 6045 w 12084"/>
              <a:gd name="connsiteY20" fmla="*/ 3821 h 12084"/>
              <a:gd name="connsiteX21" fmla="*/ 7617 w 12084"/>
              <a:gd name="connsiteY21" fmla="*/ 4468 h 12084"/>
              <a:gd name="connsiteX22" fmla="*/ 7617 w 12084"/>
              <a:gd name="connsiteY22" fmla="*/ 4468 h 12084"/>
              <a:gd name="connsiteX23" fmla="*/ 8268 w 12084"/>
              <a:gd name="connsiteY23" fmla="*/ 6040 h 12084"/>
              <a:gd name="connsiteX24" fmla="*/ 7617 w 12084"/>
              <a:gd name="connsiteY24" fmla="*/ 7612 h 12084"/>
              <a:gd name="connsiteX25" fmla="*/ 6045 w 12084"/>
              <a:gd name="connsiteY25" fmla="*/ 8263 h 12084"/>
              <a:gd name="connsiteX26" fmla="*/ 4473 w 12084"/>
              <a:gd name="connsiteY26" fmla="*/ 7612 h 12084"/>
              <a:gd name="connsiteX27" fmla="*/ 4473 w 12084"/>
              <a:gd name="connsiteY27" fmla="*/ 7612 h 12084"/>
              <a:gd name="connsiteX28" fmla="*/ 3827 w 12084"/>
              <a:gd name="connsiteY28" fmla="*/ 6040 h 12084"/>
              <a:gd name="connsiteX29" fmla="*/ 4473 w 12084"/>
              <a:gd name="connsiteY29" fmla="*/ 4468 h 12084"/>
              <a:gd name="connsiteX30" fmla="*/ 6045 w 12084"/>
              <a:gd name="connsiteY30" fmla="*/ 3821 h 12084"/>
              <a:gd name="connsiteX31" fmla="*/ 6045 w 12084"/>
              <a:gd name="connsiteY31" fmla="*/ 3821 h 12084"/>
              <a:gd name="connsiteX32" fmla="*/ 4126 w 12084"/>
              <a:gd name="connsiteY32" fmla="*/ 4126 h 12084"/>
              <a:gd name="connsiteX33" fmla="*/ 6045 w 12084"/>
              <a:gd name="connsiteY33" fmla="*/ 3330 h 12084"/>
              <a:gd name="connsiteX34" fmla="*/ 7958 w 12084"/>
              <a:gd name="connsiteY34" fmla="*/ 4126 h 12084"/>
              <a:gd name="connsiteX35" fmla="*/ 7958 w 12084"/>
              <a:gd name="connsiteY35" fmla="*/ 4126 h 12084"/>
              <a:gd name="connsiteX36" fmla="*/ 8749 w 12084"/>
              <a:gd name="connsiteY36" fmla="*/ 6045 h 12084"/>
              <a:gd name="connsiteX37" fmla="*/ 7958 w 12084"/>
              <a:gd name="connsiteY37" fmla="*/ 7958 h 12084"/>
              <a:gd name="connsiteX38" fmla="*/ 7958 w 12084"/>
              <a:gd name="connsiteY38" fmla="*/ 7958 h 12084"/>
              <a:gd name="connsiteX39" fmla="*/ 6045 w 12084"/>
              <a:gd name="connsiteY39" fmla="*/ 8755 h 12084"/>
              <a:gd name="connsiteX40" fmla="*/ 4126 w 12084"/>
              <a:gd name="connsiteY40" fmla="*/ 7958 h 12084"/>
              <a:gd name="connsiteX41" fmla="*/ 4126 w 12084"/>
              <a:gd name="connsiteY41" fmla="*/ 7958 h 12084"/>
              <a:gd name="connsiteX42" fmla="*/ 3335 w 12084"/>
              <a:gd name="connsiteY42" fmla="*/ 6040 h 12084"/>
              <a:gd name="connsiteX43" fmla="*/ 4126 w 12084"/>
              <a:gd name="connsiteY43" fmla="*/ 4121 h 12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2084" h="12084">
                <a:moveTo>
                  <a:pt x="6045" y="491"/>
                </a:moveTo>
                <a:cubicBezTo>
                  <a:pt x="4509" y="491"/>
                  <a:pt x="3123" y="1112"/>
                  <a:pt x="2115" y="2115"/>
                </a:cubicBezTo>
                <a:cubicBezTo>
                  <a:pt x="1112" y="3123"/>
                  <a:pt x="491" y="4509"/>
                  <a:pt x="491" y="6045"/>
                </a:cubicBezTo>
                <a:cubicBezTo>
                  <a:pt x="491" y="7581"/>
                  <a:pt x="1112" y="8967"/>
                  <a:pt x="2115" y="9970"/>
                </a:cubicBezTo>
                <a:cubicBezTo>
                  <a:pt x="3118" y="10978"/>
                  <a:pt x="4509" y="11599"/>
                  <a:pt x="6045" y="11599"/>
                </a:cubicBezTo>
                <a:cubicBezTo>
                  <a:pt x="7581" y="11599"/>
                  <a:pt x="8967" y="10978"/>
                  <a:pt x="9970" y="9970"/>
                </a:cubicBezTo>
                <a:cubicBezTo>
                  <a:pt x="10973" y="8967"/>
                  <a:pt x="11599" y="7576"/>
                  <a:pt x="11599" y="6045"/>
                </a:cubicBezTo>
                <a:cubicBezTo>
                  <a:pt x="11599" y="4514"/>
                  <a:pt x="10973" y="3123"/>
                  <a:pt x="9970" y="2115"/>
                </a:cubicBezTo>
                <a:cubicBezTo>
                  <a:pt x="8967" y="1112"/>
                  <a:pt x="7576" y="491"/>
                  <a:pt x="6045" y="491"/>
                </a:cubicBezTo>
                <a:lnTo>
                  <a:pt x="6045" y="491"/>
                </a:lnTo>
                <a:close/>
                <a:moveTo>
                  <a:pt x="1768" y="1768"/>
                </a:moveTo>
                <a:cubicBezTo>
                  <a:pt x="2860" y="677"/>
                  <a:pt x="4375" y="0"/>
                  <a:pt x="6045" y="0"/>
                </a:cubicBezTo>
                <a:cubicBezTo>
                  <a:pt x="7715" y="0"/>
                  <a:pt x="9225" y="677"/>
                  <a:pt x="10316" y="1768"/>
                </a:cubicBezTo>
                <a:cubicBezTo>
                  <a:pt x="11407" y="2860"/>
                  <a:pt x="12085" y="4375"/>
                  <a:pt x="12085" y="6045"/>
                </a:cubicBezTo>
                <a:cubicBezTo>
                  <a:pt x="12085" y="7715"/>
                  <a:pt x="11407" y="9225"/>
                  <a:pt x="10316" y="10316"/>
                </a:cubicBezTo>
                <a:cubicBezTo>
                  <a:pt x="9225" y="11412"/>
                  <a:pt x="7715" y="12085"/>
                  <a:pt x="6045" y="12085"/>
                </a:cubicBezTo>
                <a:cubicBezTo>
                  <a:pt x="4375" y="12085"/>
                  <a:pt x="2865" y="11407"/>
                  <a:pt x="1768" y="10316"/>
                </a:cubicBezTo>
                <a:cubicBezTo>
                  <a:pt x="677" y="9225"/>
                  <a:pt x="0" y="7710"/>
                  <a:pt x="0" y="6045"/>
                </a:cubicBezTo>
                <a:cubicBezTo>
                  <a:pt x="0" y="4380"/>
                  <a:pt x="677" y="2865"/>
                  <a:pt x="1768" y="1768"/>
                </a:cubicBezTo>
                <a:lnTo>
                  <a:pt x="1768" y="1768"/>
                </a:lnTo>
                <a:close/>
                <a:moveTo>
                  <a:pt x="6045" y="3821"/>
                </a:moveTo>
                <a:cubicBezTo>
                  <a:pt x="6660" y="3821"/>
                  <a:pt x="7214" y="4070"/>
                  <a:pt x="7617" y="4468"/>
                </a:cubicBezTo>
                <a:lnTo>
                  <a:pt x="7617" y="4468"/>
                </a:lnTo>
                <a:cubicBezTo>
                  <a:pt x="8020" y="4871"/>
                  <a:pt x="8268" y="5424"/>
                  <a:pt x="8268" y="6040"/>
                </a:cubicBezTo>
                <a:cubicBezTo>
                  <a:pt x="8268" y="6655"/>
                  <a:pt x="8020" y="7208"/>
                  <a:pt x="7617" y="7612"/>
                </a:cubicBezTo>
                <a:cubicBezTo>
                  <a:pt x="7214" y="8015"/>
                  <a:pt x="6660" y="8263"/>
                  <a:pt x="6045" y="8263"/>
                </a:cubicBezTo>
                <a:cubicBezTo>
                  <a:pt x="5430" y="8263"/>
                  <a:pt x="4876" y="8015"/>
                  <a:pt x="4473" y="7612"/>
                </a:cubicBezTo>
                <a:lnTo>
                  <a:pt x="4473" y="7612"/>
                </a:lnTo>
                <a:cubicBezTo>
                  <a:pt x="4070" y="7214"/>
                  <a:pt x="3827" y="6655"/>
                  <a:pt x="3827" y="6040"/>
                </a:cubicBezTo>
                <a:cubicBezTo>
                  <a:pt x="3827" y="5424"/>
                  <a:pt x="4075" y="4871"/>
                  <a:pt x="4473" y="4468"/>
                </a:cubicBezTo>
                <a:cubicBezTo>
                  <a:pt x="4876" y="4064"/>
                  <a:pt x="5430" y="3821"/>
                  <a:pt x="6045" y="3821"/>
                </a:cubicBezTo>
                <a:lnTo>
                  <a:pt x="6045" y="3821"/>
                </a:lnTo>
                <a:close/>
                <a:moveTo>
                  <a:pt x="4126" y="4126"/>
                </a:moveTo>
                <a:cubicBezTo>
                  <a:pt x="4618" y="3635"/>
                  <a:pt x="5300" y="3330"/>
                  <a:pt x="6045" y="3330"/>
                </a:cubicBezTo>
                <a:cubicBezTo>
                  <a:pt x="6790" y="3330"/>
                  <a:pt x="7472" y="3635"/>
                  <a:pt x="7958" y="4126"/>
                </a:cubicBezTo>
                <a:lnTo>
                  <a:pt x="7958" y="4126"/>
                </a:lnTo>
                <a:cubicBezTo>
                  <a:pt x="8449" y="4618"/>
                  <a:pt x="8749" y="5295"/>
                  <a:pt x="8749" y="6045"/>
                </a:cubicBezTo>
                <a:cubicBezTo>
                  <a:pt x="8749" y="6795"/>
                  <a:pt x="8444" y="7472"/>
                  <a:pt x="7958" y="7958"/>
                </a:cubicBezTo>
                <a:lnTo>
                  <a:pt x="7958" y="7958"/>
                </a:lnTo>
                <a:cubicBezTo>
                  <a:pt x="7467" y="8449"/>
                  <a:pt x="6790" y="8755"/>
                  <a:pt x="6045" y="8755"/>
                </a:cubicBezTo>
                <a:cubicBezTo>
                  <a:pt x="5300" y="8755"/>
                  <a:pt x="4618" y="8449"/>
                  <a:pt x="4126" y="7958"/>
                </a:cubicBezTo>
                <a:lnTo>
                  <a:pt x="4126" y="7958"/>
                </a:lnTo>
                <a:cubicBezTo>
                  <a:pt x="3635" y="7467"/>
                  <a:pt x="3335" y="6790"/>
                  <a:pt x="3335" y="6040"/>
                </a:cubicBezTo>
                <a:cubicBezTo>
                  <a:pt x="3335" y="5290"/>
                  <a:pt x="3640" y="4613"/>
                  <a:pt x="4126" y="4121"/>
                </a:cubicBezTo>
                <a:close/>
              </a:path>
            </a:pathLst>
          </a:custGeom>
          <a:solidFill>
            <a:srgbClr val="1E77D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44" name="Freeform: Shape 2643">
            <a:extLst>
              <a:ext uri="{FF2B5EF4-FFF2-40B4-BE49-F238E27FC236}">
                <a16:creationId xmlns:a16="http://schemas.microsoft.com/office/drawing/2014/main" id="{02772B00-A685-CEEC-8BE5-0421134D1A07}"/>
              </a:ext>
            </a:extLst>
          </p:cNvPr>
          <p:cNvSpPr/>
          <p:nvPr/>
        </p:nvSpPr>
        <p:spPr>
          <a:xfrm>
            <a:off x="5720388" y="3459116"/>
            <a:ext cx="45525" cy="49071"/>
          </a:xfrm>
          <a:custGeom>
            <a:avLst/>
            <a:gdLst>
              <a:gd name="connsiteX0" fmla="*/ 41909 w 45525"/>
              <a:gd name="connsiteY0" fmla="*/ 508 h 49071"/>
              <a:gd name="connsiteX1" fmla="*/ 416 w 45525"/>
              <a:gd name="connsiteY1" fmla="*/ 45620 h 49071"/>
              <a:gd name="connsiteX2" fmla="*/ 509 w 45525"/>
              <a:gd name="connsiteY2" fmla="*/ 47854 h 49071"/>
              <a:gd name="connsiteX3" fmla="*/ 1383 w 45525"/>
              <a:gd name="connsiteY3" fmla="*/ 48655 h 49071"/>
              <a:gd name="connsiteX4" fmla="*/ 3617 w 45525"/>
              <a:gd name="connsiteY4" fmla="*/ 48562 h 49071"/>
              <a:gd name="connsiteX5" fmla="*/ 45110 w 45525"/>
              <a:gd name="connsiteY5" fmla="*/ 3450 h 49071"/>
              <a:gd name="connsiteX6" fmla="*/ 45016 w 45525"/>
              <a:gd name="connsiteY6" fmla="*/ 1216 h 49071"/>
              <a:gd name="connsiteX7" fmla="*/ 44143 w 45525"/>
              <a:gd name="connsiteY7" fmla="*/ 415 h 49071"/>
              <a:gd name="connsiteX8" fmla="*/ 41909 w 45525"/>
              <a:gd name="connsiteY8" fmla="*/ 508 h 49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525" h="49071">
                <a:moveTo>
                  <a:pt x="41909" y="508"/>
                </a:moveTo>
                <a:lnTo>
                  <a:pt x="416" y="45620"/>
                </a:lnTo>
                <a:cubicBezTo>
                  <a:pt x="-173" y="46261"/>
                  <a:pt x="-132" y="47264"/>
                  <a:pt x="509" y="47854"/>
                </a:cubicBezTo>
                <a:lnTo>
                  <a:pt x="1383" y="48655"/>
                </a:lnTo>
                <a:cubicBezTo>
                  <a:pt x="2025" y="49245"/>
                  <a:pt x="3033" y="49203"/>
                  <a:pt x="3617" y="48562"/>
                </a:cubicBezTo>
                <a:lnTo>
                  <a:pt x="45110" y="3450"/>
                </a:lnTo>
                <a:cubicBezTo>
                  <a:pt x="45699" y="2809"/>
                  <a:pt x="45658" y="1806"/>
                  <a:pt x="45016" y="1216"/>
                </a:cubicBezTo>
                <a:lnTo>
                  <a:pt x="44143" y="415"/>
                </a:lnTo>
                <a:cubicBezTo>
                  <a:pt x="43501" y="-175"/>
                  <a:pt x="42498" y="-128"/>
                  <a:pt x="41909" y="508"/>
                </a:cubicBezTo>
                <a:close/>
              </a:path>
            </a:pathLst>
          </a:custGeom>
          <a:solidFill>
            <a:srgbClr val="A3CFF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45" name="Freeform: Shape 2644">
            <a:extLst>
              <a:ext uri="{FF2B5EF4-FFF2-40B4-BE49-F238E27FC236}">
                <a16:creationId xmlns:a16="http://schemas.microsoft.com/office/drawing/2014/main" id="{619D0880-0268-3426-BF45-7C734034E9C6}"/>
              </a:ext>
            </a:extLst>
          </p:cNvPr>
          <p:cNvSpPr/>
          <p:nvPr/>
        </p:nvSpPr>
        <p:spPr>
          <a:xfrm>
            <a:off x="5720150" y="3458856"/>
            <a:ext cx="94614" cy="49586"/>
          </a:xfrm>
          <a:custGeom>
            <a:avLst/>
            <a:gdLst>
              <a:gd name="connsiteX0" fmla="*/ 42328 w 94614"/>
              <a:gd name="connsiteY0" fmla="*/ 934 h 49586"/>
              <a:gd name="connsiteX1" fmla="*/ 835 w 94614"/>
              <a:gd name="connsiteY1" fmla="*/ 46051 h 49586"/>
              <a:gd name="connsiteX2" fmla="*/ 913 w 94614"/>
              <a:gd name="connsiteY2" fmla="*/ 47938 h 49586"/>
              <a:gd name="connsiteX3" fmla="*/ 1797 w 94614"/>
              <a:gd name="connsiteY3" fmla="*/ 48750 h 49586"/>
              <a:gd name="connsiteX4" fmla="*/ 1797 w 94614"/>
              <a:gd name="connsiteY4" fmla="*/ 48750 h 49586"/>
              <a:gd name="connsiteX5" fmla="*/ 3685 w 94614"/>
              <a:gd name="connsiteY5" fmla="*/ 48657 h 49586"/>
              <a:gd name="connsiteX6" fmla="*/ 3685 w 94614"/>
              <a:gd name="connsiteY6" fmla="*/ 48657 h 49586"/>
              <a:gd name="connsiteX7" fmla="*/ 18981 w 94614"/>
              <a:gd name="connsiteY7" fmla="*/ 32027 h 49586"/>
              <a:gd name="connsiteX8" fmla="*/ 19249 w 94614"/>
              <a:gd name="connsiteY8" fmla="*/ 32461 h 49586"/>
              <a:gd name="connsiteX9" fmla="*/ 4031 w 94614"/>
              <a:gd name="connsiteY9" fmla="*/ 49009 h 49586"/>
              <a:gd name="connsiteX10" fmla="*/ 4031 w 94614"/>
              <a:gd name="connsiteY10" fmla="*/ 49009 h 49586"/>
              <a:gd name="connsiteX11" fmla="*/ 1461 w 94614"/>
              <a:gd name="connsiteY11" fmla="*/ 49107 h 49586"/>
              <a:gd name="connsiteX12" fmla="*/ 1451 w 94614"/>
              <a:gd name="connsiteY12" fmla="*/ 49107 h 49586"/>
              <a:gd name="connsiteX13" fmla="*/ 587 w 94614"/>
              <a:gd name="connsiteY13" fmla="*/ 48306 h 49586"/>
              <a:gd name="connsiteX14" fmla="*/ 479 w 94614"/>
              <a:gd name="connsiteY14" fmla="*/ 45725 h 49586"/>
              <a:gd name="connsiteX15" fmla="*/ 41971 w 94614"/>
              <a:gd name="connsiteY15" fmla="*/ 613 h 49586"/>
              <a:gd name="connsiteX16" fmla="*/ 44551 w 94614"/>
              <a:gd name="connsiteY16" fmla="*/ 504 h 49586"/>
              <a:gd name="connsiteX17" fmla="*/ 45436 w 94614"/>
              <a:gd name="connsiteY17" fmla="*/ 1316 h 49586"/>
              <a:gd name="connsiteX18" fmla="*/ 45436 w 94614"/>
              <a:gd name="connsiteY18" fmla="*/ 1316 h 49586"/>
              <a:gd name="connsiteX19" fmla="*/ 45539 w 94614"/>
              <a:gd name="connsiteY19" fmla="*/ 3892 h 49586"/>
              <a:gd name="connsiteX20" fmla="*/ 45534 w 94614"/>
              <a:gd name="connsiteY20" fmla="*/ 3892 h 49586"/>
              <a:gd name="connsiteX21" fmla="*/ 24327 w 94614"/>
              <a:gd name="connsiteY21" fmla="*/ 26954 h 49586"/>
              <a:gd name="connsiteX22" fmla="*/ 23986 w 94614"/>
              <a:gd name="connsiteY22" fmla="*/ 26603 h 49586"/>
              <a:gd name="connsiteX23" fmla="*/ 45187 w 94614"/>
              <a:gd name="connsiteY23" fmla="*/ 3555 h 49586"/>
              <a:gd name="connsiteX24" fmla="*/ 45187 w 94614"/>
              <a:gd name="connsiteY24" fmla="*/ 3555 h 49586"/>
              <a:gd name="connsiteX25" fmla="*/ 45094 w 94614"/>
              <a:gd name="connsiteY25" fmla="*/ 1668 h 49586"/>
              <a:gd name="connsiteX26" fmla="*/ 45094 w 94614"/>
              <a:gd name="connsiteY26" fmla="*/ 1668 h 49586"/>
              <a:gd name="connsiteX27" fmla="*/ 44231 w 94614"/>
              <a:gd name="connsiteY27" fmla="*/ 872 h 49586"/>
              <a:gd name="connsiteX28" fmla="*/ 42343 w 94614"/>
              <a:gd name="connsiteY28" fmla="*/ 954 h 49586"/>
              <a:gd name="connsiteX29" fmla="*/ 42343 w 94614"/>
              <a:gd name="connsiteY29" fmla="*/ 954 h 49586"/>
              <a:gd name="connsiteX30" fmla="*/ 52644 w 94614"/>
              <a:gd name="connsiteY30" fmla="*/ 603 h 49586"/>
              <a:gd name="connsiteX31" fmla="*/ 94136 w 94614"/>
              <a:gd name="connsiteY31" fmla="*/ 45715 h 49586"/>
              <a:gd name="connsiteX32" fmla="*/ 94028 w 94614"/>
              <a:gd name="connsiteY32" fmla="*/ 48295 h 49586"/>
              <a:gd name="connsiteX33" fmla="*/ 93164 w 94614"/>
              <a:gd name="connsiteY33" fmla="*/ 49092 h 49586"/>
              <a:gd name="connsiteX34" fmla="*/ 93159 w 94614"/>
              <a:gd name="connsiteY34" fmla="*/ 49092 h 49586"/>
              <a:gd name="connsiteX35" fmla="*/ 90584 w 94614"/>
              <a:gd name="connsiteY35" fmla="*/ 48998 h 49586"/>
              <a:gd name="connsiteX36" fmla="*/ 90584 w 94614"/>
              <a:gd name="connsiteY36" fmla="*/ 48998 h 49586"/>
              <a:gd name="connsiteX37" fmla="*/ 63529 w 94614"/>
              <a:gd name="connsiteY37" fmla="*/ 19575 h 49586"/>
              <a:gd name="connsiteX38" fmla="*/ 63844 w 94614"/>
              <a:gd name="connsiteY38" fmla="*/ 19193 h 49586"/>
              <a:gd name="connsiteX39" fmla="*/ 90935 w 94614"/>
              <a:gd name="connsiteY39" fmla="*/ 48647 h 49586"/>
              <a:gd name="connsiteX40" fmla="*/ 90935 w 94614"/>
              <a:gd name="connsiteY40" fmla="*/ 48647 h 49586"/>
              <a:gd name="connsiteX41" fmla="*/ 92823 w 94614"/>
              <a:gd name="connsiteY41" fmla="*/ 48740 h 49586"/>
              <a:gd name="connsiteX42" fmla="*/ 92823 w 94614"/>
              <a:gd name="connsiteY42" fmla="*/ 48740 h 49586"/>
              <a:gd name="connsiteX43" fmla="*/ 93702 w 94614"/>
              <a:gd name="connsiteY43" fmla="*/ 47928 h 49586"/>
              <a:gd name="connsiteX44" fmla="*/ 93785 w 94614"/>
              <a:gd name="connsiteY44" fmla="*/ 46041 h 49586"/>
              <a:gd name="connsiteX45" fmla="*/ 52292 w 94614"/>
              <a:gd name="connsiteY45" fmla="*/ 923 h 49586"/>
              <a:gd name="connsiteX46" fmla="*/ 50400 w 94614"/>
              <a:gd name="connsiteY46" fmla="*/ 841 h 49586"/>
              <a:gd name="connsiteX47" fmla="*/ 49536 w 94614"/>
              <a:gd name="connsiteY47" fmla="*/ 1637 h 49586"/>
              <a:gd name="connsiteX48" fmla="*/ 49536 w 94614"/>
              <a:gd name="connsiteY48" fmla="*/ 1637 h 49586"/>
              <a:gd name="connsiteX49" fmla="*/ 49443 w 94614"/>
              <a:gd name="connsiteY49" fmla="*/ 3524 h 49586"/>
              <a:gd name="connsiteX50" fmla="*/ 49443 w 94614"/>
              <a:gd name="connsiteY50" fmla="*/ 3524 h 49586"/>
              <a:gd name="connsiteX51" fmla="*/ 54702 w 94614"/>
              <a:gd name="connsiteY51" fmla="*/ 9244 h 49586"/>
              <a:gd name="connsiteX52" fmla="*/ 54231 w 94614"/>
              <a:gd name="connsiteY52" fmla="*/ 9450 h 49586"/>
              <a:gd name="connsiteX53" fmla="*/ 49102 w 94614"/>
              <a:gd name="connsiteY53" fmla="*/ 3871 h 49586"/>
              <a:gd name="connsiteX54" fmla="*/ 49097 w 94614"/>
              <a:gd name="connsiteY54" fmla="*/ 3871 h 49586"/>
              <a:gd name="connsiteX55" fmla="*/ 49195 w 94614"/>
              <a:gd name="connsiteY55" fmla="*/ 1290 h 49586"/>
              <a:gd name="connsiteX56" fmla="*/ 49195 w 94614"/>
              <a:gd name="connsiteY56" fmla="*/ 1290 h 49586"/>
              <a:gd name="connsiteX57" fmla="*/ 50079 w 94614"/>
              <a:gd name="connsiteY57" fmla="*/ 479 h 49586"/>
              <a:gd name="connsiteX58" fmla="*/ 52659 w 94614"/>
              <a:gd name="connsiteY58" fmla="*/ 587 h 49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94614" h="49586">
                <a:moveTo>
                  <a:pt x="42328" y="934"/>
                </a:moveTo>
                <a:lnTo>
                  <a:pt x="835" y="46051"/>
                </a:lnTo>
                <a:cubicBezTo>
                  <a:pt x="339" y="46589"/>
                  <a:pt x="375" y="47442"/>
                  <a:pt x="913" y="47938"/>
                </a:cubicBezTo>
                <a:lnTo>
                  <a:pt x="1797" y="48750"/>
                </a:lnTo>
                <a:lnTo>
                  <a:pt x="1797" y="48750"/>
                </a:lnTo>
                <a:cubicBezTo>
                  <a:pt x="2330" y="49236"/>
                  <a:pt x="3204" y="49205"/>
                  <a:pt x="3685" y="48657"/>
                </a:cubicBezTo>
                <a:lnTo>
                  <a:pt x="3685" y="48657"/>
                </a:lnTo>
                <a:lnTo>
                  <a:pt x="18981" y="32027"/>
                </a:lnTo>
                <a:cubicBezTo>
                  <a:pt x="19043" y="32193"/>
                  <a:pt x="19131" y="32337"/>
                  <a:pt x="19249" y="32461"/>
                </a:cubicBezTo>
                <a:lnTo>
                  <a:pt x="4031" y="49009"/>
                </a:lnTo>
                <a:lnTo>
                  <a:pt x="4031" y="49009"/>
                </a:lnTo>
                <a:cubicBezTo>
                  <a:pt x="3354" y="49738"/>
                  <a:pt x="2195" y="49784"/>
                  <a:pt x="1461" y="49107"/>
                </a:cubicBezTo>
                <a:lnTo>
                  <a:pt x="1451" y="49107"/>
                </a:lnTo>
                <a:cubicBezTo>
                  <a:pt x="1451" y="49107"/>
                  <a:pt x="587" y="48306"/>
                  <a:pt x="587" y="48306"/>
                </a:cubicBezTo>
                <a:cubicBezTo>
                  <a:pt x="-152" y="47623"/>
                  <a:pt x="-199" y="46465"/>
                  <a:pt x="479" y="45725"/>
                </a:cubicBezTo>
                <a:lnTo>
                  <a:pt x="41971" y="613"/>
                </a:lnTo>
                <a:cubicBezTo>
                  <a:pt x="42648" y="-126"/>
                  <a:pt x="43812" y="-178"/>
                  <a:pt x="44551" y="504"/>
                </a:cubicBezTo>
                <a:lnTo>
                  <a:pt x="45436" y="1316"/>
                </a:lnTo>
                <a:lnTo>
                  <a:pt x="45436" y="1316"/>
                </a:lnTo>
                <a:cubicBezTo>
                  <a:pt x="46170" y="1999"/>
                  <a:pt x="46211" y="3157"/>
                  <a:pt x="45539" y="3892"/>
                </a:cubicBezTo>
                <a:lnTo>
                  <a:pt x="45534" y="3892"/>
                </a:lnTo>
                <a:cubicBezTo>
                  <a:pt x="45534" y="3892"/>
                  <a:pt x="24327" y="26954"/>
                  <a:pt x="24327" y="26954"/>
                </a:cubicBezTo>
                <a:cubicBezTo>
                  <a:pt x="24240" y="26820"/>
                  <a:pt x="24121" y="26696"/>
                  <a:pt x="23986" y="26603"/>
                </a:cubicBezTo>
                <a:lnTo>
                  <a:pt x="45187" y="3555"/>
                </a:lnTo>
                <a:lnTo>
                  <a:pt x="45187" y="3555"/>
                </a:lnTo>
                <a:cubicBezTo>
                  <a:pt x="45673" y="3023"/>
                  <a:pt x="45642" y="2149"/>
                  <a:pt x="45094" y="1668"/>
                </a:cubicBezTo>
                <a:lnTo>
                  <a:pt x="45094" y="1668"/>
                </a:lnTo>
                <a:lnTo>
                  <a:pt x="44231" y="872"/>
                </a:lnTo>
                <a:cubicBezTo>
                  <a:pt x="43688" y="375"/>
                  <a:pt x="42840" y="411"/>
                  <a:pt x="42343" y="954"/>
                </a:cubicBezTo>
                <a:lnTo>
                  <a:pt x="42343" y="954"/>
                </a:lnTo>
                <a:close/>
                <a:moveTo>
                  <a:pt x="52644" y="603"/>
                </a:moveTo>
                <a:lnTo>
                  <a:pt x="94136" y="45715"/>
                </a:lnTo>
                <a:cubicBezTo>
                  <a:pt x="94814" y="46454"/>
                  <a:pt x="94767" y="47618"/>
                  <a:pt x="94028" y="48295"/>
                </a:cubicBezTo>
                <a:lnTo>
                  <a:pt x="93164" y="49092"/>
                </a:lnTo>
                <a:lnTo>
                  <a:pt x="93159" y="49092"/>
                </a:lnTo>
                <a:cubicBezTo>
                  <a:pt x="92420" y="49774"/>
                  <a:pt x="91266" y="49728"/>
                  <a:pt x="90584" y="48998"/>
                </a:cubicBezTo>
                <a:lnTo>
                  <a:pt x="90584" y="48998"/>
                </a:lnTo>
                <a:lnTo>
                  <a:pt x="63529" y="19575"/>
                </a:lnTo>
                <a:cubicBezTo>
                  <a:pt x="63658" y="19472"/>
                  <a:pt x="63767" y="19343"/>
                  <a:pt x="63844" y="19193"/>
                </a:cubicBezTo>
                <a:lnTo>
                  <a:pt x="90935" y="48647"/>
                </a:lnTo>
                <a:lnTo>
                  <a:pt x="90935" y="48647"/>
                </a:lnTo>
                <a:cubicBezTo>
                  <a:pt x="91416" y="49195"/>
                  <a:pt x="92290" y="49226"/>
                  <a:pt x="92823" y="48740"/>
                </a:cubicBezTo>
                <a:lnTo>
                  <a:pt x="92823" y="48740"/>
                </a:lnTo>
                <a:lnTo>
                  <a:pt x="93702" y="47928"/>
                </a:lnTo>
                <a:cubicBezTo>
                  <a:pt x="94245" y="47432"/>
                  <a:pt x="94281" y="46578"/>
                  <a:pt x="93785" y="46041"/>
                </a:cubicBezTo>
                <a:lnTo>
                  <a:pt x="52292" y="923"/>
                </a:lnTo>
                <a:cubicBezTo>
                  <a:pt x="51796" y="380"/>
                  <a:pt x="50943" y="349"/>
                  <a:pt x="50400" y="841"/>
                </a:cubicBezTo>
                <a:lnTo>
                  <a:pt x="49536" y="1637"/>
                </a:lnTo>
                <a:lnTo>
                  <a:pt x="49536" y="1637"/>
                </a:lnTo>
                <a:cubicBezTo>
                  <a:pt x="48988" y="2118"/>
                  <a:pt x="48957" y="2992"/>
                  <a:pt x="49443" y="3524"/>
                </a:cubicBezTo>
                <a:lnTo>
                  <a:pt x="49443" y="3524"/>
                </a:lnTo>
                <a:lnTo>
                  <a:pt x="54702" y="9244"/>
                </a:lnTo>
                <a:cubicBezTo>
                  <a:pt x="54537" y="9275"/>
                  <a:pt x="54371" y="9347"/>
                  <a:pt x="54231" y="9450"/>
                </a:cubicBezTo>
                <a:lnTo>
                  <a:pt x="49102" y="3871"/>
                </a:lnTo>
                <a:lnTo>
                  <a:pt x="49097" y="3871"/>
                </a:lnTo>
                <a:cubicBezTo>
                  <a:pt x="48419" y="3131"/>
                  <a:pt x="48466" y="1973"/>
                  <a:pt x="49195" y="1290"/>
                </a:cubicBezTo>
                <a:lnTo>
                  <a:pt x="49195" y="1290"/>
                </a:lnTo>
                <a:lnTo>
                  <a:pt x="50079" y="479"/>
                </a:lnTo>
                <a:cubicBezTo>
                  <a:pt x="50819" y="-199"/>
                  <a:pt x="51982" y="-152"/>
                  <a:pt x="52659" y="587"/>
                </a:cubicBezTo>
                <a:close/>
              </a:path>
            </a:pathLst>
          </a:custGeom>
          <a:solidFill>
            <a:srgbClr val="1E77D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46" name="Freeform: Shape 2645">
            <a:extLst>
              <a:ext uri="{FF2B5EF4-FFF2-40B4-BE49-F238E27FC236}">
                <a16:creationId xmlns:a16="http://schemas.microsoft.com/office/drawing/2014/main" id="{4C861F9E-4887-5987-A61B-D846B6956242}"/>
              </a:ext>
            </a:extLst>
          </p:cNvPr>
          <p:cNvSpPr/>
          <p:nvPr/>
        </p:nvSpPr>
        <p:spPr>
          <a:xfrm>
            <a:off x="5758512" y="3518057"/>
            <a:ext cx="20084" cy="46053"/>
          </a:xfrm>
          <a:custGeom>
            <a:avLst/>
            <a:gdLst>
              <a:gd name="connsiteX0" fmla="*/ 2161 w 20084"/>
              <a:gd name="connsiteY0" fmla="*/ 0 h 46053"/>
              <a:gd name="connsiteX1" fmla="*/ 17918 w 20084"/>
              <a:gd name="connsiteY1" fmla="*/ 0 h 46053"/>
              <a:gd name="connsiteX2" fmla="*/ 20084 w 20084"/>
              <a:gd name="connsiteY2" fmla="*/ 2167 h 46053"/>
              <a:gd name="connsiteX3" fmla="*/ 20084 w 20084"/>
              <a:gd name="connsiteY3" fmla="*/ 43887 h 46053"/>
              <a:gd name="connsiteX4" fmla="*/ 17918 w 20084"/>
              <a:gd name="connsiteY4" fmla="*/ 46053 h 46053"/>
              <a:gd name="connsiteX5" fmla="*/ 2161 w 20084"/>
              <a:gd name="connsiteY5" fmla="*/ 46053 h 46053"/>
              <a:gd name="connsiteX6" fmla="*/ 0 w 20084"/>
              <a:gd name="connsiteY6" fmla="*/ 43887 h 46053"/>
              <a:gd name="connsiteX7" fmla="*/ 0 w 20084"/>
              <a:gd name="connsiteY7" fmla="*/ 2167 h 46053"/>
              <a:gd name="connsiteX8" fmla="*/ 2161 w 20084"/>
              <a:gd name="connsiteY8" fmla="*/ 0 h 46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084" h="46053">
                <a:moveTo>
                  <a:pt x="2161" y="0"/>
                </a:moveTo>
                <a:lnTo>
                  <a:pt x="17918" y="0"/>
                </a:lnTo>
                <a:cubicBezTo>
                  <a:pt x="19107" y="0"/>
                  <a:pt x="20084" y="977"/>
                  <a:pt x="20084" y="2167"/>
                </a:cubicBezTo>
                <a:lnTo>
                  <a:pt x="20084" y="43887"/>
                </a:lnTo>
                <a:cubicBezTo>
                  <a:pt x="20084" y="45076"/>
                  <a:pt x="19107" y="46053"/>
                  <a:pt x="17918" y="46053"/>
                </a:cubicBezTo>
                <a:lnTo>
                  <a:pt x="2161" y="46053"/>
                </a:lnTo>
                <a:cubicBezTo>
                  <a:pt x="972" y="46053"/>
                  <a:pt x="0" y="45076"/>
                  <a:pt x="0" y="43887"/>
                </a:cubicBezTo>
                <a:lnTo>
                  <a:pt x="0" y="2167"/>
                </a:lnTo>
                <a:cubicBezTo>
                  <a:pt x="0" y="977"/>
                  <a:pt x="972" y="0"/>
                  <a:pt x="2161" y="0"/>
                </a:cubicBezTo>
                <a:close/>
              </a:path>
            </a:pathLst>
          </a:custGeom>
          <a:solidFill>
            <a:srgbClr val="A3CFF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47" name="Freeform: Shape 2646">
            <a:extLst>
              <a:ext uri="{FF2B5EF4-FFF2-40B4-BE49-F238E27FC236}">
                <a16:creationId xmlns:a16="http://schemas.microsoft.com/office/drawing/2014/main" id="{148B84FA-D8E2-31B1-4BF3-87BBD4CDD91B}"/>
              </a:ext>
            </a:extLst>
          </p:cNvPr>
          <p:cNvSpPr/>
          <p:nvPr/>
        </p:nvSpPr>
        <p:spPr>
          <a:xfrm>
            <a:off x="5787516" y="3518052"/>
            <a:ext cx="20111" cy="46053"/>
          </a:xfrm>
          <a:custGeom>
            <a:avLst/>
            <a:gdLst>
              <a:gd name="connsiteX0" fmla="*/ 2161 w 20111"/>
              <a:gd name="connsiteY0" fmla="*/ 5 h 46053"/>
              <a:gd name="connsiteX1" fmla="*/ 17918 w 20111"/>
              <a:gd name="connsiteY1" fmla="*/ 5 h 46053"/>
              <a:gd name="connsiteX2" fmla="*/ 20079 w 20111"/>
              <a:gd name="connsiteY2" fmla="*/ 2172 h 46053"/>
              <a:gd name="connsiteX3" fmla="*/ 16097 w 20111"/>
              <a:gd name="connsiteY3" fmla="*/ 20777 h 46053"/>
              <a:gd name="connsiteX4" fmla="*/ 10037 w 20111"/>
              <a:gd name="connsiteY4" fmla="*/ 46053 h 46053"/>
              <a:gd name="connsiteX5" fmla="*/ 2161 w 20111"/>
              <a:gd name="connsiteY5" fmla="*/ 46053 h 46053"/>
              <a:gd name="connsiteX6" fmla="*/ 0 w 20111"/>
              <a:gd name="connsiteY6" fmla="*/ 43887 h 46053"/>
              <a:gd name="connsiteX7" fmla="*/ 0 w 20111"/>
              <a:gd name="connsiteY7" fmla="*/ 2167 h 46053"/>
              <a:gd name="connsiteX8" fmla="*/ 2161 w 20111"/>
              <a:gd name="connsiteY8" fmla="*/ 0 h 46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11" h="46053">
                <a:moveTo>
                  <a:pt x="2161" y="5"/>
                </a:moveTo>
                <a:lnTo>
                  <a:pt x="17918" y="5"/>
                </a:lnTo>
                <a:cubicBezTo>
                  <a:pt x="19107" y="5"/>
                  <a:pt x="20327" y="1003"/>
                  <a:pt x="20079" y="2172"/>
                </a:cubicBezTo>
                <a:lnTo>
                  <a:pt x="16097" y="20777"/>
                </a:lnTo>
                <a:cubicBezTo>
                  <a:pt x="14944" y="26181"/>
                  <a:pt x="11402" y="46053"/>
                  <a:pt x="10037" y="46053"/>
                </a:cubicBezTo>
                <a:lnTo>
                  <a:pt x="2161" y="46053"/>
                </a:lnTo>
                <a:cubicBezTo>
                  <a:pt x="972" y="46053"/>
                  <a:pt x="0" y="45076"/>
                  <a:pt x="0" y="43887"/>
                </a:cubicBezTo>
                <a:lnTo>
                  <a:pt x="0" y="2167"/>
                </a:lnTo>
                <a:cubicBezTo>
                  <a:pt x="0" y="977"/>
                  <a:pt x="972" y="0"/>
                  <a:pt x="2161" y="0"/>
                </a:cubicBezTo>
                <a:close/>
              </a:path>
            </a:pathLst>
          </a:custGeom>
          <a:solidFill>
            <a:srgbClr val="A3CFF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48" name="Freeform: Shape 2647">
            <a:extLst>
              <a:ext uri="{FF2B5EF4-FFF2-40B4-BE49-F238E27FC236}">
                <a16:creationId xmlns:a16="http://schemas.microsoft.com/office/drawing/2014/main" id="{86911BDA-E14F-232D-2C13-547E9BDF4E1E}"/>
              </a:ext>
            </a:extLst>
          </p:cNvPr>
          <p:cNvSpPr/>
          <p:nvPr/>
        </p:nvSpPr>
        <p:spPr>
          <a:xfrm>
            <a:off x="5729506" y="3518052"/>
            <a:ext cx="20116" cy="46053"/>
          </a:xfrm>
          <a:custGeom>
            <a:avLst/>
            <a:gdLst>
              <a:gd name="connsiteX0" fmla="*/ 17950 w 20116"/>
              <a:gd name="connsiteY0" fmla="*/ 5 h 46053"/>
              <a:gd name="connsiteX1" fmla="*/ 2199 w 20116"/>
              <a:gd name="connsiteY1" fmla="*/ 5 h 46053"/>
              <a:gd name="connsiteX2" fmla="*/ 32 w 20116"/>
              <a:gd name="connsiteY2" fmla="*/ 2172 h 46053"/>
              <a:gd name="connsiteX3" fmla="*/ 4014 w 20116"/>
              <a:gd name="connsiteY3" fmla="*/ 20777 h 46053"/>
              <a:gd name="connsiteX4" fmla="*/ 10074 w 20116"/>
              <a:gd name="connsiteY4" fmla="*/ 46053 h 46053"/>
              <a:gd name="connsiteX5" fmla="*/ 17950 w 20116"/>
              <a:gd name="connsiteY5" fmla="*/ 46053 h 46053"/>
              <a:gd name="connsiteX6" fmla="*/ 20117 w 20116"/>
              <a:gd name="connsiteY6" fmla="*/ 43887 h 46053"/>
              <a:gd name="connsiteX7" fmla="*/ 20117 w 20116"/>
              <a:gd name="connsiteY7" fmla="*/ 2167 h 46053"/>
              <a:gd name="connsiteX8" fmla="*/ 17950 w 20116"/>
              <a:gd name="connsiteY8" fmla="*/ 0 h 46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16" h="46053">
                <a:moveTo>
                  <a:pt x="17950" y="5"/>
                </a:moveTo>
                <a:lnTo>
                  <a:pt x="2199" y="5"/>
                </a:lnTo>
                <a:cubicBezTo>
                  <a:pt x="1010" y="5"/>
                  <a:pt x="-216" y="1003"/>
                  <a:pt x="32" y="2172"/>
                </a:cubicBezTo>
                <a:lnTo>
                  <a:pt x="4014" y="20777"/>
                </a:lnTo>
                <a:cubicBezTo>
                  <a:pt x="5167" y="26181"/>
                  <a:pt x="8714" y="46053"/>
                  <a:pt x="10074" y="46053"/>
                </a:cubicBezTo>
                <a:lnTo>
                  <a:pt x="17950" y="46053"/>
                </a:lnTo>
                <a:cubicBezTo>
                  <a:pt x="19144" y="46053"/>
                  <a:pt x="20117" y="45076"/>
                  <a:pt x="20117" y="43887"/>
                </a:cubicBezTo>
                <a:lnTo>
                  <a:pt x="20117" y="2167"/>
                </a:lnTo>
                <a:cubicBezTo>
                  <a:pt x="20117" y="977"/>
                  <a:pt x="19144" y="0"/>
                  <a:pt x="17950" y="0"/>
                </a:cubicBezTo>
                <a:close/>
              </a:path>
            </a:pathLst>
          </a:custGeom>
          <a:solidFill>
            <a:srgbClr val="A3CFF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49" name="Freeform: Shape 2648">
            <a:extLst>
              <a:ext uri="{FF2B5EF4-FFF2-40B4-BE49-F238E27FC236}">
                <a16:creationId xmlns:a16="http://schemas.microsoft.com/office/drawing/2014/main" id="{DC38E391-5E68-C1FD-F853-35E0987AAFE1}"/>
              </a:ext>
            </a:extLst>
          </p:cNvPr>
          <p:cNvSpPr/>
          <p:nvPr/>
        </p:nvSpPr>
        <p:spPr>
          <a:xfrm>
            <a:off x="5729262" y="3517808"/>
            <a:ext cx="78614" cy="46544"/>
          </a:xfrm>
          <a:custGeom>
            <a:avLst/>
            <a:gdLst>
              <a:gd name="connsiteX0" fmla="*/ 18195 w 78614"/>
              <a:gd name="connsiteY0" fmla="*/ 496 h 46544"/>
              <a:gd name="connsiteX1" fmla="*/ 2444 w 78614"/>
              <a:gd name="connsiteY1" fmla="*/ 496 h 46544"/>
              <a:gd name="connsiteX2" fmla="*/ 520 w 78614"/>
              <a:gd name="connsiteY2" fmla="*/ 2363 h 46544"/>
              <a:gd name="connsiteX3" fmla="*/ 2392 w 78614"/>
              <a:gd name="connsiteY3" fmla="*/ 11128 h 46544"/>
              <a:gd name="connsiteX4" fmla="*/ 1906 w 78614"/>
              <a:gd name="connsiteY4" fmla="*/ 11185 h 46544"/>
              <a:gd name="connsiteX5" fmla="*/ 39 w 78614"/>
              <a:gd name="connsiteY5" fmla="*/ 2461 h 46544"/>
              <a:gd name="connsiteX6" fmla="*/ 2444 w 78614"/>
              <a:gd name="connsiteY6" fmla="*/ 0 h 46544"/>
              <a:gd name="connsiteX7" fmla="*/ 18195 w 78614"/>
              <a:gd name="connsiteY7" fmla="*/ 0 h 46544"/>
              <a:gd name="connsiteX8" fmla="*/ 20604 w 78614"/>
              <a:gd name="connsiteY8" fmla="*/ 2410 h 46544"/>
              <a:gd name="connsiteX9" fmla="*/ 20604 w 78614"/>
              <a:gd name="connsiteY9" fmla="*/ 44130 h 46544"/>
              <a:gd name="connsiteX10" fmla="*/ 18195 w 78614"/>
              <a:gd name="connsiteY10" fmla="*/ 46539 h 46544"/>
              <a:gd name="connsiteX11" fmla="*/ 10319 w 78614"/>
              <a:gd name="connsiteY11" fmla="*/ 46539 h 46544"/>
              <a:gd name="connsiteX12" fmla="*/ 6038 w 78614"/>
              <a:gd name="connsiteY12" fmla="*/ 31197 h 46544"/>
              <a:gd name="connsiteX13" fmla="*/ 6544 w 78614"/>
              <a:gd name="connsiteY13" fmla="*/ 31264 h 46544"/>
              <a:gd name="connsiteX14" fmla="*/ 10314 w 78614"/>
              <a:gd name="connsiteY14" fmla="*/ 46043 h 46544"/>
              <a:gd name="connsiteX15" fmla="*/ 18189 w 78614"/>
              <a:gd name="connsiteY15" fmla="*/ 46043 h 46544"/>
              <a:gd name="connsiteX16" fmla="*/ 20108 w 78614"/>
              <a:gd name="connsiteY16" fmla="*/ 44124 h 46544"/>
              <a:gd name="connsiteX17" fmla="*/ 20108 w 78614"/>
              <a:gd name="connsiteY17" fmla="*/ 2405 h 46544"/>
              <a:gd name="connsiteX18" fmla="*/ 18189 w 78614"/>
              <a:gd name="connsiteY18" fmla="*/ 486 h 46544"/>
              <a:gd name="connsiteX19" fmla="*/ 18189 w 78614"/>
              <a:gd name="connsiteY19" fmla="*/ 486 h 46544"/>
              <a:gd name="connsiteX20" fmla="*/ 31412 w 78614"/>
              <a:gd name="connsiteY20" fmla="*/ 5 h 46544"/>
              <a:gd name="connsiteX21" fmla="*/ 34959 w 78614"/>
              <a:gd name="connsiteY21" fmla="*/ 5 h 46544"/>
              <a:gd name="connsiteX22" fmla="*/ 34814 w 78614"/>
              <a:gd name="connsiteY22" fmla="*/ 496 h 46544"/>
              <a:gd name="connsiteX23" fmla="*/ 31417 w 78614"/>
              <a:gd name="connsiteY23" fmla="*/ 496 h 46544"/>
              <a:gd name="connsiteX24" fmla="*/ 29498 w 78614"/>
              <a:gd name="connsiteY24" fmla="*/ 2415 h 46544"/>
              <a:gd name="connsiteX25" fmla="*/ 29498 w 78614"/>
              <a:gd name="connsiteY25" fmla="*/ 23885 h 46544"/>
              <a:gd name="connsiteX26" fmla="*/ 29007 w 78614"/>
              <a:gd name="connsiteY26" fmla="*/ 23761 h 46544"/>
              <a:gd name="connsiteX27" fmla="*/ 29007 w 78614"/>
              <a:gd name="connsiteY27" fmla="*/ 2415 h 46544"/>
              <a:gd name="connsiteX28" fmla="*/ 31417 w 78614"/>
              <a:gd name="connsiteY28" fmla="*/ 5 h 46544"/>
              <a:gd name="connsiteX29" fmla="*/ 31417 w 78614"/>
              <a:gd name="connsiteY29" fmla="*/ 5 h 46544"/>
              <a:gd name="connsiteX30" fmla="*/ 29493 w 78614"/>
              <a:gd name="connsiteY30" fmla="*/ 39982 h 46544"/>
              <a:gd name="connsiteX31" fmla="*/ 29493 w 78614"/>
              <a:gd name="connsiteY31" fmla="*/ 44135 h 46544"/>
              <a:gd name="connsiteX32" fmla="*/ 31412 w 78614"/>
              <a:gd name="connsiteY32" fmla="*/ 46053 h 46544"/>
              <a:gd name="connsiteX33" fmla="*/ 47168 w 78614"/>
              <a:gd name="connsiteY33" fmla="*/ 46053 h 46544"/>
              <a:gd name="connsiteX34" fmla="*/ 49086 w 78614"/>
              <a:gd name="connsiteY34" fmla="*/ 44135 h 46544"/>
              <a:gd name="connsiteX35" fmla="*/ 49086 w 78614"/>
              <a:gd name="connsiteY35" fmla="*/ 40319 h 46544"/>
              <a:gd name="connsiteX36" fmla="*/ 49578 w 78614"/>
              <a:gd name="connsiteY36" fmla="*/ 40577 h 46544"/>
              <a:gd name="connsiteX37" fmla="*/ 49578 w 78614"/>
              <a:gd name="connsiteY37" fmla="*/ 44130 h 46544"/>
              <a:gd name="connsiteX38" fmla="*/ 47168 w 78614"/>
              <a:gd name="connsiteY38" fmla="*/ 46539 h 46544"/>
              <a:gd name="connsiteX39" fmla="*/ 31412 w 78614"/>
              <a:gd name="connsiteY39" fmla="*/ 46539 h 46544"/>
              <a:gd name="connsiteX40" fmla="*/ 29002 w 78614"/>
              <a:gd name="connsiteY40" fmla="*/ 44130 h 46544"/>
              <a:gd name="connsiteX41" fmla="*/ 29002 w 78614"/>
              <a:gd name="connsiteY41" fmla="*/ 40101 h 46544"/>
              <a:gd name="connsiteX42" fmla="*/ 29493 w 78614"/>
              <a:gd name="connsiteY42" fmla="*/ 39977 h 46544"/>
              <a:gd name="connsiteX43" fmla="*/ 29493 w 78614"/>
              <a:gd name="connsiteY43" fmla="*/ 39977 h 46544"/>
              <a:gd name="connsiteX44" fmla="*/ 49086 w 78614"/>
              <a:gd name="connsiteY44" fmla="*/ 17794 h 46544"/>
              <a:gd name="connsiteX45" fmla="*/ 49086 w 78614"/>
              <a:gd name="connsiteY45" fmla="*/ 2415 h 46544"/>
              <a:gd name="connsiteX46" fmla="*/ 47168 w 78614"/>
              <a:gd name="connsiteY46" fmla="*/ 496 h 46544"/>
              <a:gd name="connsiteX47" fmla="*/ 39546 w 78614"/>
              <a:gd name="connsiteY47" fmla="*/ 496 h 46544"/>
              <a:gd name="connsiteX48" fmla="*/ 39401 w 78614"/>
              <a:gd name="connsiteY48" fmla="*/ 5 h 46544"/>
              <a:gd name="connsiteX49" fmla="*/ 47168 w 78614"/>
              <a:gd name="connsiteY49" fmla="*/ 5 h 46544"/>
              <a:gd name="connsiteX50" fmla="*/ 49578 w 78614"/>
              <a:gd name="connsiteY50" fmla="*/ 2415 h 46544"/>
              <a:gd name="connsiteX51" fmla="*/ 49578 w 78614"/>
              <a:gd name="connsiteY51" fmla="*/ 17700 h 46544"/>
              <a:gd name="connsiteX52" fmla="*/ 49086 w 78614"/>
              <a:gd name="connsiteY52" fmla="*/ 17794 h 46544"/>
              <a:gd name="connsiteX53" fmla="*/ 49086 w 78614"/>
              <a:gd name="connsiteY53" fmla="*/ 17794 h 46544"/>
              <a:gd name="connsiteX54" fmla="*/ 60416 w 78614"/>
              <a:gd name="connsiteY54" fmla="*/ 5 h 46544"/>
              <a:gd name="connsiteX55" fmla="*/ 76172 w 78614"/>
              <a:gd name="connsiteY55" fmla="*/ 5 h 46544"/>
              <a:gd name="connsiteX56" fmla="*/ 78577 w 78614"/>
              <a:gd name="connsiteY56" fmla="*/ 2467 h 46544"/>
              <a:gd name="connsiteX57" fmla="*/ 76570 w 78614"/>
              <a:gd name="connsiteY57" fmla="*/ 11831 h 46544"/>
              <a:gd name="connsiteX58" fmla="*/ 76064 w 78614"/>
              <a:gd name="connsiteY58" fmla="*/ 11862 h 46544"/>
              <a:gd name="connsiteX59" fmla="*/ 78096 w 78614"/>
              <a:gd name="connsiteY59" fmla="*/ 2363 h 46544"/>
              <a:gd name="connsiteX60" fmla="*/ 76172 w 78614"/>
              <a:gd name="connsiteY60" fmla="*/ 496 h 46544"/>
              <a:gd name="connsiteX61" fmla="*/ 60416 w 78614"/>
              <a:gd name="connsiteY61" fmla="*/ 496 h 46544"/>
              <a:gd name="connsiteX62" fmla="*/ 58498 w 78614"/>
              <a:gd name="connsiteY62" fmla="*/ 2415 h 46544"/>
              <a:gd name="connsiteX63" fmla="*/ 58498 w 78614"/>
              <a:gd name="connsiteY63" fmla="*/ 13745 h 46544"/>
              <a:gd name="connsiteX64" fmla="*/ 58006 w 78614"/>
              <a:gd name="connsiteY64" fmla="*/ 13951 h 46544"/>
              <a:gd name="connsiteX65" fmla="*/ 58006 w 78614"/>
              <a:gd name="connsiteY65" fmla="*/ 2415 h 46544"/>
              <a:gd name="connsiteX66" fmla="*/ 60416 w 78614"/>
              <a:gd name="connsiteY66" fmla="*/ 5 h 46544"/>
              <a:gd name="connsiteX67" fmla="*/ 60416 w 78614"/>
              <a:gd name="connsiteY67" fmla="*/ 5 h 46544"/>
              <a:gd name="connsiteX68" fmla="*/ 72506 w 78614"/>
              <a:gd name="connsiteY68" fmla="*/ 31538 h 46544"/>
              <a:gd name="connsiteX69" fmla="*/ 68297 w 78614"/>
              <a:gd name="connsiteY69" fmla="*/ 46544 h 46544"/>
              <a:gd name="connsiteX70" fmla="*/ 60421 w 78614"/>
              <a:gd name="connsiteY70" fmla="*/ 46544 h 46544"/>
              <a:gd name="connsiteX71" fmla="*/ 58012 w 78614"/>
              <a:gd name="connsiteY71" fmla="*/ 44135 h 46544"/>
              <a:gd name="connsiteX72" fmla="*/ 58012 w 78614"/>
              <a:gd name="connsiteY72" fmla="*/ 21181 h 46544"/>
              <a:gd name="connsiteX73" fmla="*/ 58503 w 78614"/>
              <a:gd name="connsiteY73" fmla="*/ 21387 h 46544"/>
              <a:gd name="connsiteX74" fmla="*/ 58503 w 78614"/>
              <a:gd name="connsiteY74" fmla="*/ 44135 h 46544"/>
              <a:gd name="connsiteX75" fmla="*/ 60421 w 78614"/>
              <a:gd name="connsiteY75" fmla="*/ 46053 h 46544"/>
              <a:gd name="connsiteX76" fmla="*/ 68297 w 78614"/>
              <a:gd name="connsiteY76" fmla="*/ 46053 h 46544"/>
              <a:gd name="connsiteX77" fmla="*/ 71994 w 78614"/>
              <a:gd name="connsiteY77" fmla="*/ 31621 h 46544"/>
              <a:gd name="connsiteX78" fmla="*/ 72506 w 78614"/>
              <a:gd name="connsiteY78" fmla="*/ 31538 h 46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78614" h="46544">
                <a:moveTo>
                  <a:pt x="18195" y="496"/>
                </a:moveTo>
                <a:lnTo>
                  <a:pt x="2444" y="496"/>
                </a:lnTo>
                <a:cubicBezTo>
                  <a:pt x="1487" y="496"/>
                  <a:pt x="292" y="1303"/>
                  <a:pt x="520" y="2363"/>
                </a:cubicBezTo>
                <a:lnTo>
                  <a:pt x="2392" y="11128"/>
                </a:lnTo>
                <a:cubicBezTo>
                  <a:pt x="2226" y="11118"/>
                  <a:pt x="2061" y="11138"/>
                  <a:pt x="1906" y="11185"/>
                </a:cubicBezTo>
                <a:lnTo>
                  <a:pt x="39" y="2461"/>
                </a:lnTo>
                <a:cubicBezTo>
                  <a:pt x="-256" y="1081"/>
                  <a:pt x="1172" y="0"/>
                  <a:pt x="2444" y="0"/>
                </a:cubicBezTo>
                <a:lnTo>
                  <a:pt x="18195" y="0"/>
                </a:lnTo>
                <a:cubicBezTo>
                  <a:pt x="19524" y="0"/>
                  <a:pt x="20604" y="1081"/>
                  <a:pt x="20604" y="2410"/>
                </a:cubicBezTo>
                <a:lnTo>
                  <a:pt x="20604" y="44130"/>
                </a:lnTo>
                <a:cubicBezTo>
                  <a:pt x="20604" y="45459"/>
                  <a:pt x="19518" y="46539"/>
                  <a:pt x="18195" y="46539"/>
                </a:cubicBezTo>
                <a:lnTo>
                  <a:pt x="10319" y="46539"/>
                </a:lnTo>
                <a:cubicBezTo>
                  <a:pt x="9295" y="46539"/>
                  <a:pt x="7511" y="38488"/>
                  <a:pt x="6038" y="31197"/>
                </a:cubicBezTo>
                <a:cubicBezTo>
                  <a:pt x="6203" y="31254"/>
                  <a:pt x="6374" y="31280"/>
                  <a:pt x="6544" y="31264"/>
                </a:cubicBezTo>
                <a:cubicBezTo>
                  <a:pt x="7966" y="38343"/>
                  <a:pt x="9621" y="46043"/>
                  <a:pt x="10314" y="46043"/>
                </a:cubicBezTo>
                <a:lnTo>
                  <a:pt x="18189" y="46043"/>
                </a:lnTo>
                <a:cubicBezTo>
                  <a:pt x="19244" y="46043"/>
                  <a:pt x="20108" y="45179"/>
                  <a:pt x="20108" y="44124"/>
                </a:cubicBezTo>
                <a:lnTo>
                  <a:pt x="20108" y="2405"/>
                </a:lnTo>
                <a:cubicBezTo>
                  <a:pt x="20108" y="1350"/>
                  <a:pt x="19244" y="486"/>
                  <a:pt x="18189" y="486"/>
                </a:cubicBezTo>
                <a:lnTo>
                  <a:pt x="18189" y="486"/>
                </a:lnTo>
                <a:close/>
                <a:moveTo>
                  <a:pt x="31412" y="5"/>
                </a:moveTo>
                <a:lnTo>
                  <a:pt x="34959" y="5"/>
                </a:lnTo>
                <a:cubicBezTo>
                  <a:pt x="34876" y="150"/>
                  <a:pt x="34825" y="315"/>
                  <a:pt x="34814" y="496"/>
                </a:cubicBezTo>
                <a:lnTo>
                  <a:pt x="31417" y="496"/>
                </a:lnTo>
                <a:cubicBezTo>
                  <a:pt x="30362" y="496"/>
                  <a:pt x="29498" y="1360"/>
                  <a:pt x="29498" y="2415"/>
                </a:cubicBezTo>
                <a:lnTo>
                  <a:pt x="29498" y="23885"/>
                </a:lnTo>
                <a:cubicBezTo>
                  <a:pt x="29349" y="23813"/>
                  <a:pt x="29183" y="23771"/>
                  <a:pt x="29007" y="23761"/>
                </a:cubicBezTo>
                <a:lnTo>
                  <a:pt x="29007" y="2415"/>
                </a:lnTo>
                <a:cubicBezTo>
                  <a:pt x="29007" y="1086"/>
                  <a:pt x="30093" y="5"/>
                  <a:pt x="31417" y="5"/>
                </a:cubicBezTo>
                <a:lnTo>
                  <a:pt x="31417" y="5"/>
                </a:lnTo>
                <a:close/>
                <a:moveTo>
                  <a:pt x="29493" y="39982"/>
                </a:moveTo>
                <a:lnTo>
                  <a:pt x="29493" y="44135"/>
                </a:lnTo>
                <a:cubicBezTo>
                  <a:pt x="29493" y="45190"/>
                  <a:pt x="30357" y="46053"/>
                  <a:pt x="31412" y="46053"/>
                </a:cubicBezTo>
                <a:lnTo>
                  <a:pt x="47168" y="46053"/>
                </a:lnTo>
                <a:cubicBezTo>
                  <a:pt x="48223" y="46053"/>
                  <a:pt x="49086" y="45190"/>
                  <a:pt x="49086" y="44135"/>
                </a:cubicBezTo>
                <a:lnTo>
                  <a:pt x="49086" y="40319"/>
                </a:lnTo>
                <a:cubicBezTo>
                  <a:pt x="49226" y="40437"/>
                  <a:pt x="49391" y="40531"/>
                  <a:pt x="49578" y="40577"/>
                </a:cubicBezTo>
                <a:lnTo>
                  <a:pt x="49578" y="44130"/>
                </a:lnTo>
                <a:cubicBezTo>
                  <a:pt x="49578" y="45459"/>
                  <a:pt x="48492" y="46539"/>
                  <a:pt x="47168" y="46539"/>
                </a:cubicBezTo>
                <a:lnTo>
                  <a:pt x="31412" y="46539"/>
                </a:lnTo>
                <a:cubicBezTo>
                  <a:pt x="30088" y="46539"/>
                  <a:pt x="29002" y="45453"/>
                  <a:pt x="29002" y="44130"/>
                </a:cubicBezTo>
                <a:lnTo>
                  <a:pt x="29002" y="40101"/>
                </a:lnTo>
                <a:cubicBezTo>
                  <a:pt x="29178" y="40096"/>
                  <a:pt x="29343" y="40050"/>
                  <a:pt x="29493" y="39977"/>
                </a:cubicBezTo>
                <a:lnTo>
                  <a:pt x="29493" y="39977"/>
                </a:lnTo>
                <a:close/>
                <a:moveTo>
                  <a:pt x="49086" y="17794"/>
                </a:moveTo>
                <a:lnTo>
                  <a:pt x="49086" y="2415"/>
                </a:lnTo>
                <a:cubicBezTo>
                  <a:pt x="49086" y="1360"/>
                  <a:pt x="48223" y="496"/>
                  <a:pt x="47168" y="496"/>
                </a:cubicBezTo>
                <a:lnTo>
                  <a:pt x="39546" y="496"/>
                </a:lnTo>
                <a:cubicBezTo>
                  <a:pt x="39530" y="321"/>
                  <a:pt x="39479" y="155"/>
                  <a:pt x="39401" y="5"/>
                </a:cubicBezTo>
                <a:lnTo>
                  <a:pt x="47168" y="5"/>
                </a:lnTo>
                <a:cubicBezTo>
                  <a:pt x="48492" y="5"/>
                  <a:pt x="49578" y="1091"/>
                  <a:pt x="49578" y="2415"/>
                </a:cubicBezTo>
                <a:lnTo>
                  <a:pt x="49578" y="17700"/>
                </a:lnTo>
                <a:cubicBezTo>
                  <a:pt x="49412" y="17700"/>
                  <a:pt x="49241" y="17731"/>
                  <a:pt x="49086" y="17794"/>
                </a:cubicBezTo>
                <a:lnTo>
                  <a:pt x="49086" y="17794"/>
                </a:lnTo>
                <a:close/>
                <a:moveTo>
                  <a:pt x="60416" y="5"/>
                </a:moveTo>
                <a:lnTo>
                  <a:pt x="76172" y="5"/>
                </a:lnTo>
                <a:cubicBezTo>
                  <a:pt x="77444" y="5"/>
                  <a:pt x="78866" y="1086"/>
                  <a:pt x="78577" y="2467"/>
                </a:cubicBezTo>
                <a:lnTo>
                  <a:pt x="76570" y="11831"/>
                </a:lnTo>
                <a:cubicBezTo>
                  <a:pt x="76400" y="11805"/>
                  <a:pt x="76229" y="11816"/>
                  <a:pt x="76064" y="11862"/>
                </a:cubicBezTo>
                <a:lnTo>
                  <a:pt x="78096" y="2363"/>
                </a:lnTo>
                <a:cubicBezTo>
                  <a:pt x="78323" y="1303"/>
                  <a:pt x="77129" y="496"/>
                  <a:pt x="76172" y="496"/>
                </a:cubicBezTo>
                <a:lnTo>
                  <a:pt x="60416" y="496"/>
                </a:lnTo>
                <a:cubicBezTo>
                  <a:pt x="59361" y="496"/>
                  <a:pt x="58498" y="1360"/>
                  <a:pt x="58498" y="2415"/>
                </a:cubicBezTo>
                <a:lnTo>
                  <a:pt x="58498" y="13745"/>
                </a:lnTo>
                <a:cubicBezTo>
                  <a:pt x="58317" y="13776"/>
                  <a:pt x="58151" y="13853"/>
                  <a:pt x="58006" y="13951"/>
                </a:cubicBezTo>
                <a:lnTo>
                  <a:pt x="58006" y="2415"/>
                </a:lnTo>
                <a:cubicBezTo>
                  <a:pt x="58006" y="1086"/>
                  <a:pt x="59092" y="5"/>
                  <a:pt x="60416" y="5"/>
                </a:cubicBezTo>
                <a:lnTo>
                  <a:pt x="60416" y="5"/>
                </a:lnTo>
                <a:close/>
                <a:moveTo>
                  <a:pt x="72506" y="31538"/>
                </a:moveTo>
                <a:cubicBezTo>
                  <a:pt x="71048" y="38736"/>
                  <a:pt x="69300" y="46544"/>
                  <a:pt x="68297" y="46544"/>
                </a:cubicBezTo>
                <a:lnTo>
                  <a:pt x="60421" y="46544"/>
                </a:lnTo>
                <a:cubicBezTo>
                  <a:pt x="59097" y="46544"/>
                  <a:pt x="58012" y="45459"/>
                  <a:pt x="58012" y="44135"/>
                </a:cubicBezTo>
                <a:lnTo>
                  <a:pt x="58012" y="21181"/>
                </a:lnTo>
                <a:cubicBezTo>
                  <a:pt x="58156" y="21284"/>
                  <a:pt x="58322" y="21356"/>
                  <a:pt x="58503" y="21387"/>
                </a:cubicBezTo>
                <a:lnTo>
                  <a:pt x="58503" y="44135"/>
                </a:lnTo>
                <a:cubicBezTo>
                  <a:pt x="58503" y="45190"/>
                  <a:pt x="59366" y="46053"/>
                  <a:pt x="60421" y="46053"/>
                </a:cubicBezTo>
                <a:lnTo>
                  <a:pt x="68297" y="46053"/>
                </a:lnTo>
                <a:cubicBezTo>
                  <a:pt x="68974" y="46053"/>
                  <a:pt x="70593" y="38602"/>
                  <a:pt x="71994" y="31621"/>
                </a:cubicBezTo>
                <a:cubicBezTo>
                  <a:pt x="72170" y="31631"/>
                  <a:pt x="72346" y="31605"/>
                  <a:pt x="72506" y="31538"/>
                </a:cubicBezTo>
                <a:close/>
              </a:path>
            </a:pathLst>
          </a:custGeom>
          <a:solidFill>
            <a:srgbClr val="1E77D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50" name="Freeform: Shape 2649">
            <a:extLst>
              <a:ext uri="{FF2B5EF4-FFF2-40B4-BE49-F238E27FC236}">
                <a16:creationId xmlns:a16="http://schemas.microsoft.com/office/drawing/2014/main" id="{2DF1945F-7A1C-DCE4-C9E5-B2ADF199F760}"/>
              </a:ext>
            </a:extLst>
          </p:cNvPr>
          <p:cNvSpPr/>
          <p:nvPr/>
        </p:nvSpPr>
        <p:spPr>
          <a:xfrm>
            <a:off x="5708177" y="3608850"/>
            <a:ext cx="312200" cy="4938"/>
          </a:xfrm>
          <a:custGeom>
            <a:avLst/>
            <a:gdLst>
              <a:gd name="connsiteX0" fmla="*/ 3066 w 312200"/>
              <a:gd name="connsiteY0" fmla="*/ 0 h 4938"/>
              <a:gd name="connsiteX1" fmla="*/ 309134 w 312200"/>
              <a:gd name="connsiteY1" fmla="*/ 0 h 4938"/>
              <a:gd name="connsiteX2" fmla="*/ 312201 w 312200"/>
              <a:gd name="connsiteY2" fmla="*/ 2472 h 4938"/>
              <a:gd name="connsiteX3" fmla="*/ 312201 w 312200"/>
              <a:gd name="connsiteY3" fmla="*/ 2472 h 4938"/>
              <a:gd name="connsiteX4" fmla="*/ 309134 w 312200"/>
              <a:gd name="connsiteY4" fmla="*/ 4938 h 4938"/>
              <a:gd name="connsiteX5" fmla="*/ 3066 w 312200"/>
              <a:gd name="connsiteY5" fmla="*/ 4938 h 4938"/>
              <a:gd name="connsiteX6" fmla="*/ 0 w 312200"/>
              <a:gd name="connsiteY6" fmla="*/ 2472 h 4938"/>
              <a:gd name="connsiteX7" fmla="*/ 0 w 312200"/>
              <a:gd name="connsiteY7" fmla="*/ 2472 h 4938"/>
              <a:gd name="connsiteX8" fmla="*/ 3066 w 312200"/>
              <a:gd name="connsiteY8" fmla="*/ 0 h 4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200" h="4938">
                <a:moveTo>
                  <a:pt x="3066" y="0"/>
                </a:moveTo>
                <a:lnTo>
                  <a:pt x="309134" y="0"/>
                </a:lnTo>
                <a:cubicBezTo>
                  <a:pt x="310820" y="0"/>
                  <a:pt x="312201" y="1112"/>
                  <a:pt x="312201" y="2472"/>
                </a:cubicBezTo>
                <a:lnTo>
                  <a:pt x="312201" y="2472"/>
                </a:lnTo>
                <a:cubicBezTo>
                  <a:pt x="312201" y="3832"/>
                  <a:pt x="310815" y="4938"/>
                  <a:pt x="309134" y="4938"/>
                </a:cubicBezTo>
                <a:lnTo>
                  <a:pt x="3066" y="4938"/>
                </a:lnTo>
                <a:cubicBezTo>
                  <a:pt x="1391" y="4938"/>
                  <a:pt x="0" y="3827"/>
                  <a:pt x="0" y="2472"/>
                </a:cubicBezTo>
                <a:lnTo>
                  <a:pt x="0" y="2472"/>
                </a:lnTo>
                <a:cubicBezTo>
                  <a:pt x="0" y="1112"/>
                  <a:pt x="1381" y="0"/>
                  <a:pt x="3066" y="0"/>
                </a:cubicBezTo>
                <a:close/>
              </a:path>
            </a:pathLst>
          </a:custGeom>
          <a:solidFill>
            <a:srgbClr val="B3D5F6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51" name="Freeform: Shape 2650">
            <a:extLst>
              <a:ext uri="{FF2B5EF4-FFF2-40B4-BE49-F238E27FC236}">
                <a16:creationId xmlns:a16="http://schemas.microsoft.com/office/drawing/2014/main" id="{15DB041A-9125-7E2F-B35E-2F52B0C2349D}"/>
              </a:ext>
            </a:extLst>
          </p:cNvPr>
          <p:cNvSpPr/>
          <p:nvPr/>
        </p:nvSpPr>
        <p:spPr>
          <a:xfrm>
            <a:off x="5708177" y="3629834"/>
            <a:ext cx="312200" cy="4938"/>
          </a:xfrm>
          <a:custGeom>
            <a:avLst/>
            <a:gdLst>
              <a:gd name="connsiteX0" fmla="*/ 3066 w 312200"/>
              <a:gd name="connsiteY0" fmla="*/ 0 h 4938"/>
              <a:gd name="connsiteX1" fmla="*/ 309134 w 312200"/>
              <a:gd name="connsiteY1" fmla="*/ 0 h 4938"/>
              <a:gd name="connsiteX2" fmla="*/ 312201 w 312200"/>
              <a:gd name="connsiteY2" fmla="*/ 2467 h 4938"/>
              <a:gd name="connsiteX3" fmla="*/ 312201 w 312200"/>
              <a:gd name="connsiteY3" fmla="*/ 2467 h 4938"/>
              <a:gd name="connsiteX4" fmla="*/ 309134 w 312200"/>
              <a:gd name="connsiteY4" fmla="*/ 4938 h 4938"/>
              <a:gd name="connsiteX5" fmla="*/ 3066 w 312200"/>
              <a:gd name="connsiteY5" fmla="*/ 4938 h 4938"/>
              <a:gd name="connsiteX6" fmla="*/ 0 w 312200"/>
              <a:gd name="connsiteY6" fmla="*/ 2467 h 4938"/>
              <a:gd name="connsiteX7" fmla="*/ 0 w 312200"/>
              <a:gd name="connsiteY7" fmla="*/ 2467 h 4938"/>
              <a:gd name="connsiteX8" fmla="*/ 3066 w 312200"/>
              <a:gd name="connsiteY8" fmla="*/ 0 h 4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200" h="4938">
                <a:moveTo>
                  <a:pt x="3066" y="0"/>
                </a:moveTo>
                <a:lnTo>
                  <a:pt x="309134" y="0"/>
                </a:lnTo>
                <a:cubicBezTo>
                  <a:pt x="310820" y="0"/>
                  <a:pt x="312201" y="1112"/>
                  <a:pt x="312201" y="2467"/>
                </a:cubicBezTo>
                <a:lnTo>
                  <a:pt x="312201" y="2467"/>
                </a:lnTo>
                <a:cubicBezTo>
                  <a:pt x="312201" y="3832"/>
                  <a:pt x="310815" y="4938"/>
                  <a:pt x="309134" y="4938"/>
                </a:cubicBezTo>
                <a:lnTo>
                  <a:pt x="3066" y="4938"/>
                </a:lnTo>
                <a:cubicBezTo>
                  <a:pt x="1391" y="4938"/>
                  <a:pt x="0" y="3832"/>
                  <a:pt x="0" y="2467"/>
                </a:cubicBezTo>
                <a:lnTo>
                  <a:pt x="0" y="2467"/>
                </a:lnTo>
                <a:cubicBezTo>
                  <a:pt x="0" y="1112"/>
                  <a:pt x="1381" y="0"/>
                  <a:pt x="3066" y="0"/>
                </a:cubicBezTo>
                <a:close/>
              </a:path>
            </a:pathLst>
          </a:custGeom>
          <a:solidFill>
            <a:srgbClr val="B3D5F6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52" name="Freeform: Shape 2651">
            <a:extLst>
              <a:ext uri="{FF2B5EF4-FFF2-40B4-BE49-F238E27FC236}">
                <a16:creationId xmlns:a16="http://schemas.microsoft.com/office/drawing/2014/main" id="{C1885465-AF19-3258-34E3-128CB4CC3290}"/>
              </a:ext>
            </a:extLst>
          </p:cNvPr>
          <p:cNvSpPr/>
          <p:nvPr/>
        </p:nvSpPr>
        <p:spPr>
          <a:xfrm>
            <a:off x="5708177" y="3650828"/>
            <a:ext cx="312200" cy="4938"/>
          </a:xfrm>
          <a:custGeom>
            <a:avLst/>
            <a:gdLst>
              <a:gd name="connsiteX0" fmla="*/ 3066 w 312200"/>
              <a:gd name="connsiteY0" fmla="*/ 0 h 4938"/>
              <a:gd name="connsiteX1" fmla="*/ 309134 w 312200"/>
              <a:gd name="connsiteY1" fmla="*/ 0 h 4938"/>
              <a:gd name="connsiteX2" fmla="*/ 312201 w 312200"/>
              <a:gd name="connsiteY2" fmla="*/ 2467 h 4938"/>
              <a:gd name="connsiteX3" fmla="*/ 312201 w 312200"/>
              <a:gd name="connsiteY3" fmla="*/ 2467 h 4938"/>
              <a:gd name="connsiteX4" fmla="*/ 309134 w 312200"/>
              <a:gd name="connsiteY4" fmla="*/ 4938 h 4938"/>
              <a:gd name="connsiteX5" fmla="*/ 3066 w 312200"/>
              <a:gd name="connsiteY5" fmla="*/ 4938 h 4938"/>
              <a:gd name="connsiteX6" fmla="*/ 0 w 312200"/>
              <a:gd name="connsiteY6" fmla="*/ 2467 h 4938"/>
              <a:gd name="connsiteX7" fmla="*/ 0 w 312200"/>
              <a:gd name="connsiteY7" fmla="*/ 2467 h 4938"/>
              <a:gd name="connsiteX8" fmla="*/ 3066 w 312200"/>
              <a:gd name="connsiteY8" fmla="*/ 0 h 4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200" h="4938">
                <a:moveTo>
                  <a:pt x="3066" y="0"/>
                </a:moveTo>
                <a:lnTo>
                  <a:pt x="309134" y="0"/>
                </a:lnTo>
                <a:cubicBezTo>
                  <a:pt x="310820" y="0"/>
                  <a:pt x="312201" y="1107"/>
                  <a:pt x="312201" y="2467"/>
                </a:cubicBezTo>
                <a:lnTo>
                  <a:pt x="312201" y="2467"/>
                </a:lnTo>
                <a:cubicBezTo>
                  <a:pt x="312201" y="3827"/>
                  <a:pt x="310815" y="4938"/>
                  <a:pt x="309134" y="4938"/>
                </a:cubicBezTo>
                <a:lnTo>
                  <a:pt x="3066" y="4938"/>
                </a:lnTo>
                <a:cubicBezTo>
                  <a:pt x="1391" y="4938"/>
                  <a:pt x="0" y="3827"/>
                  <a:pt x="0" y="2467"/>
                </a:cubicBezTo>
                <a:lnTo>
                  <a:pt x="0" y="2467"/>
                </a:lnTo>
                <a:cubicBezTo>
                  <a:pt x="0" y="1107"/>
                  <a:pt x="1381" y="0"/>
                  <a:pt x="3066" y="0"/>
                </a:cubicBezTo>
                <a:close/>
              </a:path>
            </a:pathLst>
          </a:custGeom>
          <a:solidFill>
            <a:srgbClr val="B3D5F6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53" name="Freeform: Shape 2652">
            <a:extLst>
              <a:ext uri="{FF2B5EF4-FFF2-40B4-BE49-F238E27FC236}">
                <a16:creationId xmlns:a16="http://schemas.microsoft.com/office/drawing/2014/main" id="{931B780A-DAE9-F0FF-445F-BF0191072428}"/>
              </a:ext>
            </a:extLst>
          </p:cNvPr>
          <p:cNvSpPr/>
          <p:nvPr/>
        </p:nvSpPr>
        <p:spPr>
          <a:xfrm>
            <a:off x="5708177" y="3671812"/>
            <a:ext cx="312200" cy="4938"/>
          </a:xfrm>
          <a:custGeom>
            <a:avLst/>
            <a:gdLst>
              <a:gd name="connsiteX0" fmla="*/ 3066 w 312200"/>
              <a:gd name="connsiteY0" fmla="*/ 0 h 4938"/>
              <a:gd name="connsiteX1" fmla="*/ 309134 w 312200"/>
              <a:gd name="connsiteY1" fmla="*/ 0 h 4938"/>
              <a:gd name="connsiteX2" fmla="*/ 312201 w 312200"/>
              <a:gd name="connsiteY2" fmla="*/ 2467 h 4938"/>
              <a:gd name="connsiteX3" fmla="*/ 312201 w 312200"/>
              <a:gd name="connsiteY3" fmla="*/ 2467 h 4938"/>
              <a:gd name="connsiteX4" fmla="*/ 309134 w 312200"/>
              <a:gd name="connsiteY4" fmla="*/ 4938 h 4938"/>
              <a:gd name="connsiteX5" fmla="*/ 3066 w 312200"/>
              <a:gd name="connsiteY5" fmla="*/ 4938 h 4938"/>
              <a:gd name="connsiteX6" fmla="*/ 0 w 312200"/>
              <a:gd name="connsiteY6" fmla="*/ 2467 h 4938"/>
              <a:gd name="connsiteX7" fmla="*/ 0 w 312200"/>
              <a:gd name="connsiteY7" fmla="*/ 2467 h 4938"/>
              <a:gd name="connsiteX8" fmla="*/ 3066 w 312200"/>
              <a:gd name="connsiteY8" fmla="*/ 0 h 4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200" h="4938">
                <a:moveTo>
                  <a:pt x="3066" y="0"/>
                </a:moveTo>
                <a:lnTo>
                  <a:pt x="309134" y="0"/>
                </a:lnTo>
                <a:cubicBezTo>
                  <a:pt x="310820" y="0"/>
                  <a:pt x="312201" y="1112"/>
                  <a:pt x="312201" y="2467"/>
                </a:cubicBezTo>
                <a:lnTo>
                  <a:pt x="312201" y="2467"/>
                </a:lnTo>
                <a:cubicBezTo>
                  <a:pt x="312201" y="3827"/>
                  <a:pt x="310815" y="4938"/>
                  <a:pt x="309134" y="4938"/>
                </a:cubicBezTo>
                <a:lnTo>
                  <a:pt x="3066" y="4938"/>
                </a:lnTo>
                <a:cubicBezTo>
                  <a:pt x="1391" y="4938"/>
                  <a:pt x="0" y="3827"/>
                  <a:pt x="0" y="2467"/>
                </a:cubicBezTo>
                <a:lnTo>
                  <a:pt x="0" y="2467"/>
                </a:lnTo>
                <a:cubicBezTo>
                  <a:pt x="0" y="1112"/>
                  <a:pt x="1381" y="0"/>
                  <a:pt x="3066" y="0"/>
                </a:cubicBezTo>
                <a:close/>
              </a:path>
            </a:pathLst>
          </a:custGeom>
          <a:solidFill>
            <a:srgbClr val="B3D5F6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54" name="Freeform: Shape 2653">
            <a:extLst>
              <a:ext uri="{FF2B5EF4-FFF2-40B4-BE49-F238E27FC236}">
                <a16:creationId xmlns:a16="http://schemas.microsoft.com/office/drawing/2014/main" id="{811761B4-C44D-699D-6087-E852318A478D}"/>
              </a:ext>
            </a:extLst>
          </p:cNvPr>
          <p:cNvSpPr/>
          <p:nvPr/>
        </p:nvSpPr>
        <p:spPr>
          <a:xfrm>
            <a:off x="5787402" y="3729712"/>
            <a:ext cx="121379" cy="221671"/>
          </a:xfrm>
          <a:custGeom>
            <a:avLst/>
            <a:gdLst>
              <a:gd name="connsiteX0" fmla="*/ 109036 w 121379"/>
              <a:gd name="connsiteY0" fmla="*/ 221672 h 221671"/>
              <a:gd name="connsiteX1" fmla="*/ 121380 w 121379"/>
              <a:gd name="connsiteY1" fmla="*/ 16454 h 221671"/>
              <a:gd name="connsiteX2" fmla="*/ 16459 w 121379"/>
              <a:gd name="connsiteY2" fmla="*/ 0 h 221671"/>
              <a:gd name="connsiteX3" fmla="*/ 0 w 121379"/>
              <a:gd name="connsiteY3" fmla="*/ 184642 h 221671"/>
              <a:gd name="connsiteX4" fmla="*/ 109036 w 121379"/>
              <a:gd name="connsiteY4" fmla="*/ 221672 h 22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379" h="221671">
                <a:moveTo>
                  <a:pt x="109036" y="221672"/>
                </a:moveTo>
                <a:lnTo>
                  <a:pt x="121380" y="16454"/>
                </a:lnTo>
                <a:lnTo>
                  <a:pt x="16459" y="0"/>
                </a:lnTo>
                <a:lnTo>
                  <a:pt x="0" y="184642"/>
                </a:lnTo>
                <a:lnTo>
                  <a:pt x="109036" y="221672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55" name="Freeform: Shape 2654">
            <a:extLst>
              <a:ext uri="{FF2B5EF4-FFF2-40B4-BE49-F238E27FC236}">
                <a16:creationId xmlns:a16="http://schemas.microsoft.com/office/drawing/2014/main" id="{C3AC58BA-72CA-B536-B3AA-DF45FEE0AB1A}"/>
              </a:ext>
            </a:extLst>
          </p:cNvPr>
          <p:cNvSpPr/>
          <p:nvPr/>
        </p:nvSpPr>
        <p:spPr>
          <a:xfrm>
            <a:off x="5896439" y="3740773"/>
            <a:ext cx="51431" cy="210610"/>
          </a:xfrm>
          <a:custGeom>
            <a:avLst/>
            <a:gdLst>
              <a:gd name="connsiteX0" fmla="*/ 51431 w 51431"/>
              <a:gd name="connsiteY0" fmla="*/ 185919 h 210610"/>
              <a:gd name="connsiteX1" fmla="*/ 0 w 51431"/>
              <a:gd name="connsiteY1" fmla="*/ 210611 h 210610"/>
              <a:gd name="connsiteX2" fmla="*/ 12343 w 51431"/>
              <a:gd name="connsiteY2" fmla="*/ 5393 h 210610"/>
              <a:gd name="connsiteX3" fmla="*/ 36006 w 51431"/>
              <a:gd name="connsiteY3" fmla="*/ 0 h 210610"/>
              <a:gd name="connsiteX4" fmla="*/ 51431 w 51431"/>
              <a:gd name="connsiteY4" fmla="*/ 185919 h 2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1" h="210610">
                <a:moveTo>
                  <a:pt x="51431" y="185919"/>
                </a:moveTo>
                <a:lnTo>
                  <a:pt x="0" y="210611"/>
                </a:lnTo>
                <a:lnTo>
                  <a:pt x="12343" y="5393"/>
                </a:lnTo>
                <a:lnTo>
                  <a:pt x="36006" y="0"/>
                </a:lnTo>
                <a:lnTo>
                  <a:pt x="51431" y="185919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56" name="Freeform: Shape 2655">
            <a:extLst>
              <a:ext uri="{FF2B5EF4-FFF2-40B4-BE49-F238E27FC236}">
                <a16:creationId xmlns:a16="http://schemas.microsoft.com/office/drawing/2014/main" id="{B5B6C0A0-EAA8-AADE-6147-B0AD80C108A2}"/>
              </a:ext>
            </a:extLst>
          </p:cNvPr>
          <p:cNvSpPr/>
          <p:nvPr/>
        </p:nvSpPr>
        <p:spPr>
          <a:xfrm>
            <a:off x="5896439" y="3743467"/>
            <a:ext cx="24174" cy="207916"/>
          </a:xfrm>
          <a:custGeom>
            <a:avLst/>
            <a:gdLst>
              <a:gd name="connsiteX0" fmla="*/ 24175 w 24174"/>
              <a:gd name="connsiteY0" fmla="*/ 0 h 207916"/>
              <a:gd name="connsiteX1" fmla="*/ 20576 w 24174"/>
              <a:gd name="connsiteY1" fmla="*/ 168053 h 207916"/>
              <a:gd name="connsiteX2" fmla="*/ 0 w 24174"/>
              <a:gd name="connsiteY2" fmla="*/ 207917 h 207916"/>
              <a:gd name="connsiteX3" fmla="*/ 12343 w 24174"/>
              <a:gd name="connsiteY3" fmla="*/ 2699 h 207916"/>
              <a:gd name="connsiteX4" fmla="*/ 24175 w 24174"/>
              <a:gd name="connsiteY4" fmla="*/ 0 h 207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74" h="207916">
                <a:moveTo>
                  <a:pt x="24175" y="0"/>
                </a:moveTo>
                <a:lnTo>
                  <a:pt x="20576" y="168053"/>
                </a:lnTo>
                <a:lnTo>
                  <a:pt x="0" y="207917"/>
                </a:lnTo>
                <a:lnTo>
                  <a:pt x="12343" y="2699"/>
                </a:lnTo>
                <a:lnTo>
                  <a:pt x="24175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57" name="Freeform: Shape 2656">
            <a:extLst>
              <a:ext uri="{FF2B5EF4-FFF2-40B4-BE49-F238E27FC236}">
                <a16:creationId xmlns:a16="http://schemas.microsoft.com/office/drawing/2014/main" id="{4A623CF4-C415-213E-BDF5-32CB61EE34F2}"/>
              </a:ext>
            </a:extLst>
          </p:cNvPr>
          <p:cNvSpPr/>
          <p:nvPr/>
        </p:nvSpPr>
        <p:spPr>
          <a:xfrm>
            <a:off x="5896439" y="3911521"/>
            <a:ext cx="51431" cy="39863"/>
          </a:xfrm>
          <a:custGeom>
            <a:avLst/>
            <a:gdLst>
              <a:gd name="connsiteX0" fmla="*/ 20576 w 51431"/>
              <a:gd name="connsiteY0" fmla="*/ 0 h 39863"/>
              <a:gd name="connsiteX1" fmla="*/ 51431 w 51431"/>
              <a:gd name="connsiteY1" fmla="*/ 15172 h 39863"/>
              <a:gd name="connsiteX2" fmla="*/ 0 w 51431"/>
              <a:gd name="connsiteY2" fmla="*/ 39863 h 39863"/>
              <a:gd name="connsiteX3" fmla="*/ 20576 w 51431"/>
              <a:gd name="connsiteY3" fmla="*/ 0 h 39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31" h="39863">
                <a:moveTo>
                  <a:pt x="20576" y="0"/>
                </a:moveTo>
                <a:lnTo>
                  <a:pt x="51431" y="15172"/>
                </a:lnTo>
                <a:lnTo>
                  <a:pt x="0" y="39863"/>
                </a:lnTo>
                <a:lnTo>
                  <a:pt x="20576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58" name="Freeform: Shape 2657">
            <a:extLst>
              <a:ext uri="{FF2B5EF4-FFF2-40B4-BE49-F238E27FC236}">
                <a16:creationId xmlns:a16="http://schemas.microsoft.com/office/drawing/2014/main" id="{DEB547A0-CD80-67A0-2567-266532ADF3DF}"/>
              </a:ext>
            </a:extLst>
          </p:cNvPr>
          <p:cNvSpPr/>
          <p:nvPr/>
        </p:nvSpPr>
        <p:spPr>
          <a:xfrm>
            <a:off x="5803862" y="3727390"/>
            <a:ext cx="128582" cy="18776"/>
          </a:xfrm>
          <a:custGeom>
            <a:avLst/>
            <a:gdLst>
              <a:gd name="connsiteX0" fmla="*/ 9649 w 128582"/>
              <a:gd name="connsiteY0" fmla="*/ 0 h 18776"/>
              <a:gd name="connsiteX1" fmla="*/ 0 w 128582"/>
              <a:gd name="connsiteY1" fmla="*/ 2322 h 18776"/>
              <a:gd name="connsiteX2" fmla="*/ 104920 w 128582"/>
              <a:gd name="connsiteY2" fmla="*/ 18776 h 18776"/>
              <a:gd name="connsiteX3" fmla="*/ 128583 w 128582"/>
              <a:gd name="connsiteY3" fmla="*/ 13383 h 18776"/>
              <a:gd name="connsiteX4" fmla="*/ 9649 w 128582"/>
              <a:gd name="connsiteY4" fmla="*/ 0 h 1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582" h="18776">
                <a:moveTo>
                  <a:pt x="9649" y="0"/>
                </a:moveTo>
                <a:lnTo>
                  <a:pt x="0" y="2322"/>
                </a:lnTo>
                <a:lnTo>
                  <a:pt x="104920" y="18776"/>
                </a:lnTo>
                <a:lnTo>
                  <a:pt x="128583" y="13383"/>
                </a:lnTo>
                <a:lnTo>
                  <a:pt x="9649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659" name="Freeform: Shape 2658">
            <a:extLst>
              <a:ext uri="{FF2B5EF4-FFF2-40B4-BE49-F238E27FC236}">
                <a16:creationId xmlns:a16="http://schemas.microsoft.com/office/drawing/2014/main" id="{278E5BFA-C521-D3C3-142D-D485B6EEFF3D}"/>
              </a:ext>
            </a:extLst>
          </p:cNvPr>
          <p:cNvSpPr/>
          <p:nvPr/>
        </p:nvSpPr>
        <p:spPr>
          <a:xfrm>
            <a:off x="5813783" y="3633074"/>
            <a:ext cx="85034" cy="126221"/>
          </a:xfrm>
          <a:custGeom>
            <a:avLst/>
            <a:gdLst>
              <a:gd name="connsiteX0" fmla="*/ 63311 w 85034"/>
              <a:gd name="connsiteY0" fmla="*/ 120767 h 126221"/>
              <a:gd name="connsiteX1" fmla="*/ 65271 w 85034"/>
              <a:gd name="connsiteY1" fmla="*/ 125886 h 126221"/>
              <a:gd name="connsiteX2" fmla="*/ 70385 w 85034"/>
              <a:gd name="connsiteY2" fmla="*/ 123926 h 126221"/>
              <a:gd name="connsiteX3" fmla="*/ 74651 w 85034"/>
              <a:gd name="connsiteY3" fmla="*/ 20650 h 126221"/>
              <a:gd name="connsiteX4" fmla="*/ 48574 w 85034"/>
              <a:gd name="connsiteY4" fmla="*/ 571 h 126221"/>
              <a:gd name="connsiteX5" fmla="*/ 19223 w 85034"/>
              <a:gd name="connsiteY5" fmla="*/ 11001 h 126221"/>
              <a:gd name="connsiteX6" fmla="*/ 2314 w 85034"/>
              <a:gd name="connsiteY6" fmla="*/ 112669 h 126221"/>
              <a:gd name="connsiteX7" fmla="*/ 6642 w 85034"/>
              <a:gd name="connsiteY7" fmla="*/ 116025 h 126221"/>
              <a:gd name="connsiteX8" fmla="*/ 9998 w 85034"/>
              <a:gd name="connsiteY8" fmla="*/ 111697 h 126221"/>
              <a:gd name="connsiteX9" fmla="*/ 24870 w 85034"/>
              <a:gd name="connsiteY9" fmla="*/ 16312 h 126221"/>
              <a:gd name="connsiteX10" fmla="*/ 47085 w 85034"/>
              <a:gd name="connsiteY10" fmla="*/ 8188 h 126221"/>
              <a:gd name="connsiteX11" fmla="*/ 68027 w 85034"/>
              <a:gd name="connsiteY11" fmla="*/ 24653 h 126221"/>
              <a:gd name="connsiteX12" fmla="*/ 63306 w 85034"/>
              <a:gd name="connsiteY12" fmla="*/ 120762 h 126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5034" h="126221">
                <a:moveTo>
                  <a:pt x="63311" y="120767"/>
                </a:moveTo>
                <a:cubicBezTo>
                  <a:pt x="62437" y="122721"/>
                  <a:pt x="63311" y="125017"/>
                  <a:pt x="65271" y="125886"/>
                </a:cubicBezTo>
                <a:cubicBezTo>
                  <a:pt x="67226" y="126755"/>
                  <a:pt x="69522" y="125876"/>
                  <a:pt x="70385" y="123926"/>
                </a:cubicBezTo>
                <a:cubicBezTo>
                  <a:pt x="91013" y="78059"/>
                  <a:pt x="87398" y="41650"/>
                  <a:pt x="74651" y="20650"/>
                </a:cubicBezTo>
                <a:cubicBezTo>
                  <a:pt x="67872" y="9481"/>
                  <a:pt x="58466" y="2521"/>
                  <a:pt x="48574" y="571"/>
                </a:cubicBezTo>
                <a:cubicBezTo>
                  <a:pt x="38433" y="-1430"/>
                  <a:pt x="27926" y="1776"/>
                  <a:pt x="19223" y="11001"/>
                </a:cubicBezTo>
                <a:cubicBezTo>
                  <a:pt x="4806" y="26292"/>
                  <a:pt x="-4589" y="58854"/>
                  <a:pt x="2314" y="112669"/>
                </a:cubicBezTo>
                <a:cubicBezTo>
                  <a:pt x="2583" y="114789"/>
                  <a:pt x="4522" y="116294"/>
                  <a:pt x="6642" y="116025"/>
                </a:cubicBezTo>
                <a:cubicBezTo>
                  <a:pt x="8762" y="115756"/>
                  <a:pt x="10267" y="113817"/>
                  <a:pt x="9998" y="111697"/>
                </a:cubicBezTo>
                <a:cubicBezTo>
                  <a:pt x="3431" y="60534"/>
                  <a:pt x="11818" y="30149"/>
                  <a:pt x="24870" y="16312"/>
                </a:cubicBezTo>
                <a:cubicBezTo>
                  <a:pt x="31577" y="9202"/>
                  <a:pt x="39525" y="6699"/>
                  <a:pt x="47085" y="8188"/>
                </a:cubicBezTo>
                <a:cubicBezTo>
                  <a:pt x="54888" y="9724"/>
                  <a:pt x="62432" y="15428"/>
                  <a:pt x="68027" y="24653"/>
                </a:cubicBezTo>
                <a:cubicBezTo>
                  <a:pt x="79657" y="43827"/>
                  <a:pt x="82734" y="77568"/>
                  <a:pt x="63306" y="120762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60" name="Freeform: Shape 2659">
            <a:extLst>
              <a:ext uri="{FF2B5EF4-FFF2-40B4-BE49-F238E27FC236}">
                <a16:creationId xmlns:a16="http://schemas.microsoft.com/office/drawing/2014/main" id="{A2691AEE-428C-664E-DA8F-8A3347F27DD0}"/>
              </a:ext>
            </a:extLst>
          </p:cNvPr>
          <p:cNvSpPr/>
          <p:nvPr/>
        </p:nvSpPr>
        <p:spPr>
          <a:xfrm>
            <a:off x="5827003" y="3633140"/>
            <a:ext cx="85029" cy="105172"/>
          </a:xfrm>
          <a:custGeom>
            <a:avLst/>
            <a:gdLst>
              <a:gd name="connsiteX0" fmla="*/ 4709 w 85029"/>
              <a:gd name="connsiteY0" fmla="*/ 96299 h 105172"/>
              <a:gd name="connsiteX1" fmla="*/ 10382 w 85029"/>
              <a:gd name="connsiteY1" fmla="*/ 20652 h 105172"/>
              <a:gd name="connsiteX2" fmla="*/ 36460 w 85029"/>
              <a:gd name="connsiteY2" fmla="*/ 567 h 105172"/>
              <a:gd name="connsiteX3" fmla="*/ 65810 w 85029"/>
              <a:gd name="connsiteY3" fmla="*/ 10997 h 105172"/>
              <a:gd name="connsiteX4" fmla="*/ 83583 w 85029"/>
              <a:gd name="connsiteY4" fmla="*/ 105172 h 105172"/>
              <a:gd name="connsiteX5" fmla="*/ 75889 w 85029"/>
              <a:gd name="connsiteY5" fmla="*/ 104309 h 105172"/>
              <a:gd name="connsiteX6" fmla="*/ 60158 w 85029"/>
              <a:gd name="connsiteY6" fmla="*/ 16318 h 105172"/>
              <a:gd name="connsiteX7" fmla="*/ 37944 w 85029"/>
              <a:gd name="connsiteY7" fmla="*/ 8195 h 105172"/>
              <a:gd name="connsiteX8" fmla="*/ 17001 w 85029"/>
              <a:gd name="connsiteY8" fmla="*/ 24664 h 105172"/>
              <a:gd name="connsiteX9" fmla="*/ 12999 w 85029"/>
              <a:gd name="connsiteY9" fmla="*/ 97235 h 105172"/>
              <a:gd name="connsiteX10" fmla="*/ 4709 w 85029"/>
              <a:gd name="connsiteY10" fmla="*/ 96299 h 10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5029" h="105172">
                <a:moveTo>
                  <a:pt x="4709" y="96299"/>
                </a:moveTo>
                <a:cubicBezTo>
                  <a:pt x="-4050" y="63432"/>
                  <a:pt x="314" y="37235"/>
                  <a:pt x="10382" y="20652"/>
                </a:cubicBezTo>
                <a:cubicBezTo>
                  <a:pt x="17161" y="9477"/>
                  <a:pt x="26562" y="2517"/>
                  <a:pt x="36460" y="567"/>
                </a:cubicBezTo>
                <a:cubicBezTo>
                  <a:pt x="46595" y="-1424"/>
                  <a:pt x="57113" y="1772"/>
                  <a:pt x="65810" y="10997"/>
                </a:cubicBezTo>
                <a:cubicBezTo>
                  <a:pt x="79545" y="25564"/>
                  <a:pt x="88723" y="55809"/>
                  <a:pt x="83583" y="105172"/>
                </a:cubicBezTo>
                <a:lnTo>
                  <a:pt x="75889" y="104309"/>
                </a:lnTo>
                <a:cubicBezTo>
                  <a:pt x="80760" y="57593"/>
                  <a:pt x="72569" y="29473"/>
                  <a:pt x="60158" y="16318"/>
                </a:cubicBezTo>
                <a:cubicBezTo>
                  <a:pt x="53452" y="9208"/>
                  <a:pt x="45504" y="6705"/>
                  <a:pt x="37944" y="8195"/>
                </a:cubicBezTo>
                <a:cubicBezTo>
                  <a:pt x="30141" y="9725"/>
                  <a:pt x="22601" y="15434"/>
                  <a:pt x="17001" y="24664"/>
                </a:cubicBezTo>
                <a:cubicBezTo>
                  <a:pt x="7574" y="40193"/>
                  <a:pt x="3768" y="65293"/>
                  <a:pt x="12999" y="97235"/>
                </a:cubicBezTo>
                <a:lnTo>
                  <a:pt x="4709" y="96299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61" name="Freeform: Shape 2660">
            <a:extLst>
              <a:ext uri="{FF2B5EF4-FFF2-40B4-BE49-F238E27FC236}">
                <a16:creationId xmlns:a16="http://schemas.microsoft.com/office/drawing/2014/main" id="{683A5555-472D-D1D4-C085-4D010177BC60}"/>
              </a:ext>
            </a:extLst>
          </p:cNvPr>
          <p:cNvSpPr/>
          <p:nvPr/>
        </p:nvSpPr>
        <p:spPr>
          <a:xfrm>
            <a:off x="5728856" y="3784065"/>
            <a:ext cx="91615" cy="167319"/>
          </a:xfrm>
          <a:custGeom>
            <a:avLst/>
            <a:gdLst>
              <a:gd name="connsiteX0" fmla="*/ 82297 w 91615"/>
              <a:gd name="connsiteY0" fmla="*/ 167319 h 167319"/>
              <a:gd name="connsiteX1" fmla="*/ 91615 w 91615"/>
              <a:gd name="connsiteY1" fmla="*/ 12421 h 167319"/>
              <a:gd name="connsiteX2" fmla="*/ 12421 w 91615"/>
              <a:gd name="connsiteY2" fmla="*/ 0 h 167319"/>
              <a:gd name="connsiteX3" fmla="*/ 0 w 91615"/>
              <a:gd name="connsiteY3" fmla="*/ 139365 h 167319"/>
              <a:gd name="connsiteX4" fmla="*/ 82297 w 91615"/>
              <a:gd name="connsiteY4" fmla="*/ 167319 h 167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615" h="167319">
                <a:moveTo>
                  <a:pt x="82297" y="167319"/>
                </a:moveTo>
                <a:lnTo>
                  <a:pt x="91615" y="12421"/>
                </a:lnTo>
                <a:lnTo>
                  <a:pt x="12421" y="0"/>
                </a:lnTo>
                <a:lnTo>
                  <a:pt x="0" y="139365"/>
                </a:lnTo>
                <a:lnTo>
                  <a:pt x="82297" y="167319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62" name="Freeform: Shape 2661">
            <a:extLst>
              <a:ext uri="{FF2B5EF4-FFF2-40B4-BE49-F238E27FC236}">
                <a16:creationId xmlns:a16="http://schemas.microsoft.com/office/drawing/2014/main" id="{5AE28C26-DE73-6289-532B-5AE714A55EE5}"/>
              </a:ext>
            </a:extLst>
          </p:cNvPr>
          <p:cNvSpPr/>
          <p:nvPr/>
        </p:nvSpPr>
        <p:spPr>
          <a:xfrm>
            <a:off x="5811153" y="3792416"/>
            <a:ext cx="38824" cy="158967"/>
          </a:xfrm>
          <a:custGeom>
            <a:avLst/>
            <a:gdLst>
              <a:gd name="connsiteX0" fmla="*/ 38824 w 38824"/>
              <a:gd name="connsiteY0" fmla="*/ 140332 h 158967"/>
              <a:gd name="connsiteX1" fmla="*/ 0 w 38824"/>
              <a:gd name="connsiteY1" fmla="*/ 158968 h 158967"/>
              <a:gd name="connsiteX2" fmla="*/ 9318 w 38824"/>
              <a:gd name="connsiteY2" fmla="*/ 4070 h 158967"/>
              <a:gd name="connsiteX3" fmla="*/ 27179 w 38824"/>
              <a:gd name="connsiteY3" fmla="*/ 0 h 158967"/>
              <a:gd name="connsiteX4" fmla="*/ 38824 w 38824"/>
              <a:gd name="connsiteY4" fmla="*/ 140332 h 158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24" h="158967">
                <a:moveTo>
                  <a:pt x="38824" y="140332"/>
                </a:moveTo>
                <a:lnTo>
                  <a:pt x="0" y="158968"/>
                </a:lnTo>
                <a:lnTo>
                  <a:pt x="9318" y="4070"/>
                </a:lnTo>
                <a:lnTo>
                  <a:pt x="27179" y="0"/>
                </a:lnTo>
                <a:lnTo>
                  <a:pt x="38824" y="140332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63" name="Freeform: Shape 2662">
            <a:extLst>
              <a:ext uri="{FF2B5EF4-FFF2-40B4-BE49-F238E27FC236}">
                <a16:creationId xmlns:a16="http://schemas.microsoft.com/office/drawing/2014/main" id="{E1761537-C394-1FCA-3290-F3A4504E8944}"/>
              </a:ext>
            </a:extLst>
          </p:cNvPr>
          <p:cNvSpPr/>
          <p:nvPr/>
        </p:nvSpPr>
        <p:spPr>
          <a:xfrm>
            <a:off x="5811153" y="3794454"/>
            <a:ext cx="18248" cy="156930"/>
          </a:xfrm>
          <a:custGeom>
            <a:avLst/>
            <a:gdLst>
              <a:gd name="connsiteX0" fmla="*/ 18249 w 18248"/>
              <a:gd name="connsiteY0" fmla="*/ 0 h 156930"/>
              <a:gd name="connsiteX1" fmla="*/ 15534 w 18248"/>
              <a:gd name="connsiteY1" fmla="*/ 126845 h 156930"/>
              <a:gd name="connsiteX2" fmla="*/ 0 w 18248"/>
              <a:gd name="connsiteY2" fmla="*/ 156930 h 156930"/>
              <a:gd name="connsiteX3" fmla="*/ 9318 w 18248"/>
              <a:gd name="connsiteY3" fmla="*/ 2032 h 156930"/>
              <a:gd name="connsiteX4" fmla="*/ 18249 w 18248"/>
              <a:gd name="connsiteY4" fmla="*/ 0 h 156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48" h="156930">
                <a:moveTo>
                  <a:pt x="18249" y="0"/>
                </a:moveTo>
                <a:lnTo>
                  <a:pt x="15534" y="126845"/>
                </a:lnTo>
                <a:lnTo>
                  <a:pt x="0" y="156930"/>
                </a:lnTo>
                <a:lnTo>
                  <a:pt x="9318" y="2032"/>
                </a:lnTo>
                <a:lnTo>
                  <a:pt x="18249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64" name="Freeform: Shape 2663">
            <a:extLst>
              <a:ext uri="{FF2B5EF4-FFF2-40B4-BE49-F238E27FC236}">
                <a16:creationId xmlns:a16="http://schemas.microsoft.com/office/drawing/2014/main" id="{3D2E91B7-AA29-506F-1301-739B029C650A}"/>
              </a:ext>
            </a:extLst>
          </p:cNvPr>
          <p:cNvSpPr/>
          <p:nvPr/>
        </p:nvSpPr>
        <p:spPr>
          <a:xfrm>
            <a:off x="5811153" y="3921299"/>
            <a:ext cx="38824" cy="30085"/>
          </a:xfrm>
          <a:custGeom>
            <a:avLst/>
            <a:gdLst>
              <a:gd name="connsiteX0" fmla="*/ 15534 w 38824"/>
              <a:gd name="connsiteY0" fmla="*/ 0 h 30085"/>
              <a:gd name="connsiteX1" fmla="*/ 38824 w 38824"/>
              <a:gd name="connsiteY1" fmla="*/ 11449 h 30085"/>
              <a:gd name="connsiteX2" fmla="*/ 0 w 38824"/>
              <a:gd name="connsiteY2" fmla="*/ 30085 h 30085"/>
              <a:gd name="connsiteX3" fmla="*/ 15534 w 38824"/>
              <a:gd name="connsiteY3" fmla="*/ 0 h 3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24" h="30085">
                <a:moveTo>
                  <a:pt x="15534" y="0"/>
                </a:moveTo>
                <a:lnTo>
                  <a:pt x="38824" y="11449"/>
                </a:lnTo>
                <a:lnTo>
                  <a:pt x="0" y="30085"/>
                </a:lnTo>
                <a:lnTo>
                  <a:pt x="15534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65" name="Freeform: Shape 2664">
            <a:extLst>
              <a:ext uri="{FF2B5EF4-FFF2-40B4-BE49-F238E27FC236}">
                <a16:creationId xmlns:a16="http://schemas.microsoft.com/office/drawing/2014/main" id="{E014E080-ECCA-6188-643F-CDB7E44B7325}"/>
              </a:ext>
            </a:extLst>
          </p:cNvPr>
          <p:cNvSpPr/>
          <p:nvPr/>
        </p:nvSpPr>
        <p:spPr>
          <a:xfrm>
            <a:off x="5741277" y="3782322"/>
            <a:ext cx="97055" cy="14163"/>
          </a:xfrm>
          <a:custGeom>
            <a:avLst/>
            <a:gdLst>
              <a:gd name="connsiteX0" fmla="*/ 7286 w 97055"/>
              <a:gd name="connsiteY0" fmla="*/ 0 h 14163"/>
              <a:gd name="connsiteX1" fmla="*/ 0 w 97055"/>
              <a:gd name="connsiteY1" fmla="*/ 1743 h 14163"/>
              <a:gd name="connsiteX2" fmla="*/ 79194 w 97055"/>
              <a:gd name="connsiteY2" fmla="*/ 14163 h 14163"/>
              <a:gd name="connsiteX3" fmla="*/ 97055 w 97055"/>
              <a:gd name="connsiteY3" fmla="*/ 10094 h 14163"/>
              <a:gd name="connsiteX4" fmla="*/ 7286 w 97055"/>
              <a:gd name="connsiteY4" fmla="*/ 0 h 14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055" h="14163">
                <a:moveTo>
                  <a:pt x="7286" y="0"/>
                </a:moveTo>
                <a:lnTo>
                  <a:pt x="0" y="1743"/>
                </a:lnTo>
                <a:lnTo>
                  <a:pt x="79194" y="14163"/>
                </a:lnTo>
                <a:lnTo>
                  <a:pt x="97055" y="10094"/>
                </a:lnTo>
                <a:lnTo>
                  <a:pt x="7286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66" name="Freeform: Shape 2665">
            <a:extLst>
              <a:ext uri="{FF2B5EF4-FFF2-40B4-BE49-F238E27FC236}">
                <a16:creationId xmlns:a16="http://schemas.microsoft.com/office/drawing/2014/main" id="{EABA38A9-3811-964B-31D6-1DAB38BF4884}"/>
              </a:ext>
            </a:extLst>
          </p:cNvPr>
          <p:cNvSpPr/>
          <p:nvPr/>
        </p:nvSpPr>
        <p:spPr>
          <a:xfrm>
            <a:off x="5748765" y="3711133"/>
            <a:ext cx="64184" cy="95263"/>
          </a:xfrm>
          <a:custGeom>
            <a:avLst/>
            <a:gdLst>
              <a:gd name="connsiteX0" fmla="*/ 47790 w 64184"/>
              <a:gd name="connsiteY0" fmla="*/ 91150 h 95263"/>
              <a:gd name="connsiteX1" fmla="*/ 49269 w 64184"/>
              <a:gd name="connsiteY1" fmla="*/ 95007 h 95263"/>
              <a:gd name="connsiteX2" fmla="*/ 53132 w 64184"/>
              <a:gd name="connsiteY2" fmla="*/ 93533 h 95263"/>
              <a:gd name="connsiteX3" fmla="*/ 56348 w 64184"/>
              <a:gd name="connsiteY3" fmla="*/ 15585 h 95263"/>
              <a:gd name="connsiteX4" fmla="*/ 36662 w 64184"/>
              <a:gd name="connsiteY4" fmla="*/ 429 h 95263"/>
              <a:gd name="connsiteX5" fmla="*/ 14509 w 64184"/>
              <a:gd name="connsiteY5" fmla="*/ 8299 h 95263"/>
              <a:gd name="connsiteX6" fmla="*/ 1747 w 64184"/>
              <a:gd name="connsiteY6" fmla="*/ 85043 h 95263"/>
              <a:gd name="connsiteX7" fmla="*/ 5015 w 64184"/>
              <a:gd name="connsiteY7" fmla="*/ 87576 h 95263"/>
              <a:gd name="connsiteX8" fmla="*/ 7549 w 64184"/>
              <a:gd name="connsiteY8" fmla="*/ 84308 h 95263"/>
              <a:gd name="connsiteX9" fmla="*/ 18775 w 64184"/>
              <a:gd name="connsiteY9" fmla="*/ 12317 h 95263"/>
              <a:gd name="connsiteX10" fmla="*/ 35540 w 64184"/>
              <a:gd name="connsiteY10" fmla="*/ 6184 h 95263"/>
              <a:gd name="connsiteX11" fmla="*/ 51348 w 64184"/>
              <a:gd name="connsiteY11" fmla="*/ 18615 h 95263"/>
              <a:gd name="connsiteX12" fmla="*/ 47785 w 64184"/>
              <a:gd name="connsiteY12" fmla="*/ 91155 h 95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4184" h="95263">
                <a:moveTo>
                  <a:pt x="47790" y="91150"/>
                </a:moveTo>
                <a:cubicBezTo>
                  <a:pt x="47133" y="92623"/>
                  <a:pt x="47790" y="94356"/>
                  <a:pt x="49269" y="95007"/>
                </a:cubicBezTo>
                <a:cubicBezTo>
                  <a:pt x="50743" y="95669"/>
                  <a:pt x="52475" y="95007"/>
                  <a:pt x="53132" y="93533"/>
                </a:cubicBezTo>
                <a:cubicBezTo>
                  <a:pt x="68696" y="58919"/>
                  <a:pt x="65966" y="31434"/>
                  <a:pt x="56348" y="15585"/>
                </a:cubicBezTo>
                <a:cubicBezTo>
                  <a:pt x="51229" y="7151"/>
                  <a:pt x="44134" y="1898"/>
                  <a:pt x="36662" y="429"/>
                </a:cubicBezTo>
                <a:cubicBezTo>
                  <a:pt x="29014" y="-1076"/>
                  <a:pt x="21076" y="1339"/>
                  <a:pt x="14509" y="8299"/>
                </a:cubicBezTo>
                <a:cubicBezTo>
                  <a:pt x="3629" y="19841"/>
                  <a:pt x="-3465" y="44419"/>
                  <a:pt x="1747" y="85043"/>
                </a:cubicBezTo>
                <a:cubicBezTo>
                  <a:pt x="1949" y="86646"/>
                  <a:pt x="3412" y="87778"/>
                  <a:pt x="5015" y="87576"/>
                </a:cubicBezTo>
                <a:cubicBezTo>
                  <a:pt x="6618" y="87375"/>
                  <a:pt x="7751" y="85911"/>
                  <a:pt x="7549" y="84308"/>
                </a:cubicBezTo>
                <a:cubicBezTo>
                  <a:pt x="2590" y="45691"/>
                  <a:pt x="8925" y="22763"/>
                  <a:pt x="18775" y="12317"/>
                </a:cubicBezTo>
                <a:cubicBezTo>
                  <a:pt x="23838" y="6950"/>
                  <a:pt x="29836" y="5062"/>
                  <a:pt x="35540" y="6184"/>
                </a:cubicBezTo>
                <a:cubicBezTo>
                  <a:pt x="41424" y="7343"/>
                  <a:pt x="47118" y="11650"/>
                  <a:pt x="51348" y="18615"/>
                </a:cubicBezTo>
                <a:cubicBezTo>
                  <a:pt x="60128" y="33079"/>
                  <a:pt x="62445" y="58557"/>
                  <a:pt x="47785" y="9115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67" name="Freeform: Shape 2666">
            <a:extLst>
              <a:ext uri="{FF2B5EF4-FFF2-40B4-BE49-F238E27FC236}">
                <a16:creationId xmlns:a16="http://schemas.microsoft.com/office/drawing/2014/main" id="{F1176B00-1BA9-62FA-CF35-0C00F88F212E}"/>
              </a:ext>
            </a:extLst>
          </p:cNvPr>
          <p:cNvSpPr/>
          <p:nvPr/>
        </p:nvSpPr>
        <p:spPr>
          <a:xfrm>
            <a:off x="5758747" y="3711180"/>
            <a:ext cx="64179" cy="79379"/>
          </a:xfrm>
          <a:custGeom>
            <a:avLst/>
            <a:gdLst>
              <a:gd name="connsiteX0" fmla="*/ 3555 w 64179"/>
              <a:gd name="connsiteY0" fmla="*/ 72683 h 79379"/>
              <a:gd name="connsiteX1" fmla="*/ 7836 w 64179"/>
              <a:gd name="connsiteY1" fmla="*/ 15585 h 79379"/>
              <a:gd name="connsiteX2" fmla="*/ 27517 w 64179"/>
              <a:gd name="connsiteY2" fmla="*/ 428 h 79379"/>
              <a:gd name="connsiteX3" fmla="*/ 49670 w 64179"/>
              <a:gd name="connsiteY3" fmla="*/ 8299 h 79379"/>
              <a:gd name="connsiteX4" fmla="*/ 63089 w 64179"/>
              <a:gd name="connsiteY4" fmla="*/ 79380 h 79379"/>
              <a:gd name="connsiteX5" fmla="*/ 57277 w 64179"/>
              <a:gd name="connsiteY5" fmla="*/ 78728 h 79379"/>
              <a:gd name="connsiteX6" fmla="*/ 45404 w 64179"/>
              <a:gd name="connsiteY6" fmla="*/ 12312 h 79379"/>
              <a:gd name="connsiteX7" fmla="*/ 28639 w 64179"/>
              <a:gd name="connsiteY7" fmla="*/ 6184 h 79379"/>
              <a:gd name="connsiteX8" fmla="*/ 12832 w 64179"/>
              <a:gd name="connsiteY8" fmla="*/ 18610 h 79379"/>
              <a:gd name="connsiteX9" fmla="*/ 9806 w 64179"/>
              <a:gd name="connsiteY9" fmla="*/ 73392 h 79379"/>
              <a:gd name="connsiteX10" fmla="*/ 3550 w 64179"/>
              <a:gd name="connsiteY10" fmla="*/ 72683 h 79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179" h="79379">
                <a:moveTo>
                  <a:pt x="3555" y="72683"/>
                </a:moveTo>
                <a:cubicBezTo>
                  <a:pt x="-3059" y="47873"/>
                  <a:pt x="240" y="28104"/>
                  <a:pt x="7836" y="15585"/>
                </a:cubicBezTo>
                <a:cubicBezTo>
                  <a:pt x="12956" y="7151"/>
                  <a:pt x="20050" y="1897"/>
                  <a:pt x="27517" y="428"/>
                </a:cubicBezTo>
                <a:cubicBezTo>
                  <a:pt x="35170" y="-1076"/>
                  <a:pt x="43103" y="1344"/>
                  <a:pt x="49670" y="8299"/>
                </a:cubicBezTo>
                <a:cubicBezTo>
                  <a:pt x="60038" y="19292"/>
                  <a:pt x="66967" y="42123"/>
                  <a:pt x="63089" y="79380"/>
                </a:cubicBezTo>
                <a:lnTo>
                  <a:pt x="57277" y="78728"/>
                </a:lnTo>
                <a:cubicBezTo>
                  <a:pt x="60953" y="43467"/>
                  <a:pt x="54769" y="22240"/>
                  <a:pt x="45404" y="12312"/>
                </a:cubicBezTo>
                <a:cubicBezTo>
                  <a:pt x="40341" y="6944"/>
                  <a:pt x="34343" y="5057"/>
                  <a:pt x="28639" y="6184"/>
                </a:cubicBezTo>
                <a:cubicBezTo>
                  <a:pt x="22755" y="7342"/>
                  <a:pt x="17061" y="11650"/>
                  <a:pt x="12832" y="18610"/>
                </a:cubicBezTo>
                <a:cubicBezTo>
                  <a:pt x="5716" y="30333"/>
                  <a:pt x="2846" y="49279"/>
                  <a:pt x="9806" y="73392"/>
                </a:cubicBezTo>
                <a:lnTo>
                  <a:pt x="3550" y="7268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68" name="Freeform: Shape 2667">
            <a:extLst>
              <a:ext uri="{FF2B5EF4-FFF2-40B4-BE49-F238E27FC236}">
                <a16:creationId xmlns:a16="http://schemas.microsoft.com/office/drawing/2014/main" id="{07268917-B5CF-BF49-CA82-3660B9B1EB43}"/>
              </a:ext>
            </a:extLst>
          </p:cNvPr>
          <p:cNvSpPr/>
          <p:nvPr/>
        </p:nvSpPr>
        <p:spPr>
          <a:xfrm>
            <a:off x="5561321" y="3500119"/>
            <a:ext cx="62454" cy="93266"/>
          </a:xfrm>
          <a:custGeom>
            <a:avLst/>
            <a:gdLst>
              <a:gd name="connsiteX0" fmla="*/ 30704 w 62454"/>
              <a:gd name="connsiteY0" fmla="*/ 30742 h 93266"/>
              <a:gd name="connsiteX1" fmla="*/ 25347 w 62454"/>
              <a:gd name="connsiteY1" fmla="*/ 71887 h 93266"/>
              <a:gd name="connsiteX2" fmla="*/ 28005 w 62454"/>
              <a:gd name="connsiteY2" fmla="*/ 86315 h 93266"/>
              <a:gd name="connsiteX3" fmla="*/ 15791 w 62454"/>
              <a:gd name="connsiteY3" fmla="*/ 84675 h 93266"/>
              <a:gd name="connsiteX4" fmla="*/ 16960 w 62454"/>
              <a:gd name="connsiteY4" fmla="*/ 86465 h 93266"/>
              <a:gd name="connsiteX5" fmla="*/ 2553 w 62454"/>
              <a:gd name="connsiteY5" fmla="*/ 83646 h 93266"/>
              <a:gd name="connsiteX6" fmla="*/ 31066 w 62454"/>
              <a:gd name="connsiteY6" fmla="*/ 413 h 93266"/>
              <a:gd name="connsiteX7" fmla="*/ 57123 w 62454"/>
              <a:gd name="connsiteY7" fmla="*/ 25767 h 93266"/>
              <a:gd name="connsiteX8" fmla="*/ 62454 w 62454"/>
              <a:gd name="connsiteY8" fmla="*/ 92928 h 93266"/>
              <a:gd name="connsiteX9" fmla="*/ 50633 w 62454"/>
              <a:gd name="connsiteY9" fmla="*/ 86134 h 93266"/>
              <a:gd name="connsiteX10" fmla="*/ 49087 w 62454"/>
              <a:gd name="connsiteY10" fmla="*/ 80409 h 93266"/>
              <a:gd name="connsiteX11" fmla="*/ 50551 w 62454"/>
              <a:gd name="connsiteY11" fmla="*/ 88864 h 93266"/>
              <a:gd name="connsiteX12" fmla="*/ 34220 w 62454"/>
              <a:gd name="connsiteY12" fmla="*/ 83884 h 93266"/>
              <a:gd name="connsiteX13" fmla="*/ 30699 w 62454"/>
              <a:gd name="connsiteY13" fmla="*/ 30742 h 93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2454" h="93266">
                <a:moveTo>
                  <a:pt x="30704" y="30742"/>
                </a:moveTo>
                <a:cubicBezTo>
                  <a:pt x="30704" y="30742"/>
                  <a:pt x="26164" y="60299"/>
                  <a:pt x="25347" y="71887"/>
                </a:cubicBezTo>
                <a:cubicBezTo>
                  <a:pt x="24933" y="77715"/>
                  <a:pt x="24344" y="82395"/>
                  <a:pt x="28005" y="86315"/>
                </a:cubicBezTo>
                <a:cubicBezTo>
                  <a:pt x="28005" y="86315"/>
                  <a:pt x="18888" y="87204"/>
                  <a:pt x="15791" y="84675"/>
                </a:cubicBezTo>
                <a:cubicBezTo>
                  <a:pt x="15791" y="84675"/>
                  <a:pt x="16401" y="85916"/>
                  <a:pt x="16960" y="86465"/>
                </a:cubicBezTo>
                <a:cubicBezTo>
                  <a:pt x="16960" y="86465"/>
                  <a:pt x="6762" y="86837"/>
                  <a:pt x="2553" y="83646"/>
                </a:cubicBezTo>
                <a:cubicBezTo>
                  <a:pt x="-3833" y="79323"/>
                  <a:pt x="392" y="-6661"/>
                  <a:pt x="31066" y="413"/>
                </a:cubicBezTo>
                <a:cubicBezTo>
                  <a:pt x="31066" y="413"/>
                  <a:pt x="59362" y="-1996"/>
                  <a:pt x="57123" y="25767"/>
                </a:cubicBezTo>
                <a:cubicBezTo>
                  <a:pt x="57599" y="58743"/>
                  <a:pt x="60246" y="87183"/>
                  <a:pt x="62454" y="92928"/>
                </a:cubicBezTo>
                <a:cubicBezTo>
                  <a:pt x="59269" y="94749"/>
                  <a:pt x="51580" y="88761"/>
                  <a:pt x="50633" y="86134"/>
                </a:cubicBezTo>
                <a:cubicBezTo>
                  <a:pt x="49790" y="83807"/>
                  <a:pt x="49325" y="81102"/>
                  <a:pt x="49087" y="80409"/>
                </a:cubicBezTo>
                <a:cubicBezTo>
                  <a:pt x="49087" y="80409"/>
                  <a:pt x="50090" y="88373"/>
                  <a:pt x="50551" y="88864"/>
                </a:cubicBezTo>
                <a:cubicBezTo>
                  <a:pt x="50551" y="88864"/>
                  <a:pt x="39117" y="87576"/>
                  <a:pt x="34220" y="83884"/>
                </a:cubicBezTo>
                <a:cubicBezTo>
                  <a:pt x="29349" y="80197"/>
                  <a:pt x="29303" y="36471"/>
                  <a:pt x="30699" y="30742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69" name="Freeform: Shape 2668">
            <a:extLst>
              <a:ext uri="{FF2B5EF4-FFF2-40B4-BE49-F238E27FC236}">
                <a16:creationId xmlns:a16="http://schemas.microsoft.com/office/drawing/2014/main" id="{8B3EB409-1502-863C-101A-E7E04DDFFD39}"/>
              </a:ext>
            </a:extLst>
          </p:cNvPr>
          <p:cNvSpPr/>
          <p:nvPr/>
        </p:nvSpPr>
        <p:spPr>
          <a:xfrm>
            <a:off x="5564334" y="3540366"/>
            <a:ext cx="16350" cy="47647"/>
          </a:xfrm>
          <a:custGeom>
            <a:avLst/>
            <a:gdLst>
              <a:gd name="connsiteX0" fmla="*/ 16097 w 16350"/>
              <a:gd name="connsiteY0" fmla="*/ 11851 h 47647"/>
              <a:gd name="connsiteX1" fmla="*/ 16351 w 16350"/>
              <a:gd name="connsiteY1" fmla="*/ 10884 h 47647"/>
              <a:gd name="connsiteX2" fmla="*/ 15591 w 16350"/>
              <a:gd name="connsiteY2" fmla="*/ 1115 h 47647"/>
              <a:gd name="connsiteX3" fmla="*/ 1789 w 16350"/>
              <a:gd name="connsiteY3" fmla="*/ 2305 h 47647"/>
              <a:gd name="connsiteX4" fmla="*/ 827 w 16350"/>
              <a:gd name="connsiteY4" fmla="*/ 44816 h 47647"/>
              <a:gd name="connsiteX5" fmla="*/ 9535 w 16350"/>
              <a:gd name="connsiteY5" fmla="*/ 47634 h 47647"/>
              <a:gd name="connsiteX6" fmla="*/ 8832 w 16350"/>
              <a:gd name="connsiteY6" fmla="*/ 45845 h 47647"/>
              <a:gd name="connsiteX7" fmla="*/ 16211 w 16350"/>
              <a:gd name="connsiteY7" fmla="*/ 47484 h 47647"/>
              <a:gd name="connsiteX8" fmla="*/ 14603 w 16350"/>
              <a:gd name="connsiteY8" fmla="*/ 33057 h 47647"/>
              <a:gd name="connsiteX9" fmla="*/ 16097 w 16350"/>
              <a:gd name="connsiteY9" fmla="*/ 11856 h 47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350" h="47647">
                <a:moveTo>
                  <a:pt x="16097" y="11851"/>
                </a:moveTo>
                <a:cubicBezTo>
                  <a:pt x="16191" y="11520"/>
                  <a:pt x="16273" y="11199"/>
                  <a:pt x="16351" y="10884"/>
                </a:cubicBezTo>
                <a:cubicBezTo>
                  <a:pt x="15472" y="8003"/>
                  <a:pt x="15172" y="4720"/>
                  <a:pt x="15591" y="1115"/>
                </a:cubicBezTo>
                <a:cubicBezTo>
                  <a:pt x="12824" y="-1315"/>
                  <a:pt x="6852" y="759"/>
                  <a:pt x="1789" y="2305"/>
                </a:cubicBezTo>
                <a:cubicBezTo>
                  <a:pt x="-414" y="22674"/>
                  <a:pt x="-393" y="43296"/>
                  <a:pt x="827" y="44816"/>
                </a:cubicBezTo>
                <a:cubicBezTo>
                  <a:pt x="3372" y="48006"/>
                  <a:pt x="9535" y="47634"/>
                  <a:pt x="9535" y="47634"/>
                </a:cubicBezTo>
                <a:cubicBezTo>
                  <a:pt x="9199" y="47086"/>
                  <a:pt x="8832" y="45845"/>
                  <a:pt x="8832" y="45845"/>
                </a:cubicBezTo>
                <a:cubicBezTo>
                  <a:pt x="10704" y="48374"/>
                  <a:pt x="16211" y="47484"/>
                  <a:pt x="16211" y="47484"/>
                </a:cubicBezTo>
                <a:cubicBezTo>
                  <a:pt x="13998" y="43570"/>
                  <a:pt x="14355" y="38885"/>
                  <a:pt x="14603" y="33057"/>
                </a:cubicBezTo>
                <a:cubicBezTo>
                  <a:pt x="14820" y="28062"/>
                  <a:pt x="15446" y="19721"/>
                  <a:pt x="16097" y="11856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70" name="Freeform: Shape 2669">
            <a:extLst>
              <a:ext uri="{FF2B5EF4-FFF2-40B4-BE49-F238E27FC236}">
                <a16:creationId xmlns:a16="http://schemas.microsoft.com/office/drawing/2014/main" id="{D42F12AE-001A-A8F4-3549-AD4F22B10FD5}"/>
              </a:ext>
            </a:extLst>
          </p:cNvPr>
          <p:cNvSpPr/>
          <p:nvPr/>
        </p:nvSpPr>
        <p:spPr>
          <a:xfrm>
            <a:off x="5670103" y="3848703"/>
            <a:ext cx="3376" cy="584"/>
          </a:xfrm>
          <a:custGeom>
            <a:avLst/>
            <a:gdLst>
              <a:gd name="connsiteX0" fmla="*/ 3377 w 3376"/>
              <a:gd name="connsiteY0" fmla="*/ 584 h 584"/>
              <a:gd name="connsiteX1" fmla="*/ 0 w 3376"/>
              <a:gd name="connsiteY1" fmla="*/ 5 h 584"/>
              <a:gd name="connsiteX2" fmla="*/ 0 w 3376"/>
              <a:gd name="connsiteY2" fmla="*/ 0 h 584"/>
              <a:gd name="connsiteX3" fmla="*/ 3377 w 3376"/>
              <a:gd name="connsiteY3" fmla="*/ 579 h 584"/>
              <a:gd name="connsiteX4" fmla="*/ 3377 w 3376"/>
              <a:gd name="connsiteY4" fmla="*/ 584 h 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76" h="584">
                <a:moveTo>
                  <a:pt x="3377" y="584"/>
                </a:moveTo>
                <a:lnTo>
                  <a:pt x="0" y="5"/>
                </a:lnTo>
                <a:lnTo>
                  <a:pt x="0" y="0"/>
                </a:lnTo>
                <a:lnTo>
                  <a:pt x="3377" y="579"/>
                </a:lnTo>
                <a:lnTo>
                  <a:pt x="3377" y="584"/>
                </a:lnTo>
                <a:close/>
              </a:path>
            </a:pathLst>
          </a:custGeom>
          <a:solidFill>
            <a:srgbClr val="636466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71" name="Freeform: Shape 2670">
            <a:extLst>
              <a:ext uri="{FF2B5EF4-FFF2-40B4-BE49-F238E27FC236}">
                <a16:creationId xmlns:a16="http://schemas.microsoft.com/office/drawing/2014/main" id="{FFD6F60D-A6F7-F1A5-B140-803D0F8ED46B}"/>
              </a:ext>
            </a:extLst>
          </p:cNvPr>
          <p:cNvSpPr/>
          <p:nvPr/>
        </p:nvSpPr>
        <p:spPr>
          <a:xfrm>
            <a:off x="5560420" y="3543048"/>
            <a:ext cx="60883" cy="45530"/>
          </a:xfrm>
          <a:custGeom>
            <a:avLst/>
            <a:gdLst>
              <a:gd name="connsiteX0" fmla="*/ 60884 w 60883"/>
              <a:gd name="connsiteY0" fmla="*/ 45526 h 45530"/>
              <a:gd name="connsiteX1" fmla="*/ 0 w 60883"/>
              <a:gd name="connsiteY1" fmla="*/ 45526 h 45530"/>
              <a:gd name="connsiteX2" fmla="*/ 15332 w 60883"/>
              <a:gd name="connsiteY2" fmla="*/ 25752 h 45530"/>
              <a:gd name="connsiteX3" fmla="*/ 22075 w 60883"/>
              <a:gd name="connsiteY3" fmla="*/ 0 h 45530"/>
              <a:gd name="connsiteX4" fmla="*/ 23223 w 60883"/>
              <a:gd name="connsiteY4" fmla="*/ 1479 h 45530"/>
              <a:gd name="connsiteX5" fmla="*/ 42340 w 60883"/>
              <a:gd name="connsiteY5" fmla="*/ 5264 h 45530"/>
              <a:gd name="connsiteX6" fmla="*/ 41896 w 60883"/>
              <a:gd name="connsiteY6" fmla="*/ 16956 h 45530"/>
              <a:gd name="connsiteX7" fmla="*/ 43209 w 60883"/>
              <a:gd name="connsiteY7" fmla="*/ 27050 h 45530"/>
              <a:gd name="connsiteX8" fmla="*/ 45836 w 60883"/>
              <a:gd name="connsiteY8" fmla="*/ 27427 h 45530"/>
              <a:gd name="connsiteX9" fmla="*/ 60879 w 60883"/>
              <a:gd name="connsiteY9" fmla="*/ 45531 h 45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883" h="45530">
                <a:moveTo>
                  <a:pt x="60884" y="45526"/>
                </a:moveTo>
                <a:lnTo>
                  <a:pt x="0" y="45526"/>
                </a:lnTo>
                <a:cubicBezTo>
                  <a:pt x="4354" y="34610"/>
                  <a:pt x="10595" y="26719"/>
                  <a:pt x="15332" y="25752"/>
                </a:cubicBezTo>
                <a:cubicBezTo>
                  <a:pt x="17856" y="25085"/>
                  <a:pt x="22137" y="14706"/>
                  <a:pt x="22075" y="0"/>
                </a:cubicBezTo>
                <a:lnTo>
                  <a:pt x="23223" y="1479"/>
                </a:lnTo>
                <a:lnTo>
                  <a:pt x="42340" y="5264"/>
                </a:lnTo>
                <a:cubicBezTo>
                  <a:pt x="42340" y="5264"/>
                  <a:pt x="41911" y="11283"/>
                  <a:pt x="41896" y="16956"/>
                </a:cubicBezTo>
                <a:cubicBezTo>
                  <a:pt x="41880" y="21682"/>
                  <a:pt x="42134" y="26486"/>
                  <a:pt x="43209" y="27050"/>
                </a:cubicBezTo>
                <a:cubicBezTo>
                  <a:pt x="44579" y="27174"/>
                  <a:pt x="45836" y="27427"/>
                  <a:pt x="45836" y="27427"/>
                </a:cubicBezTo>
                <a:cubicBezTo>
                  <a:pt x="45836" y="27427"/>
                  <a:pt x="56209" y="34708"/>
                  <a:pt x="60879" y="45531"/>
                </a:cubicBezTo>
                <a:close/>
              </a:path>
            </a:pathLst>
          </a:custGeom>
          <a:solidFill>
            <a:srgbClr val="FFB17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72" name="Freeform: Shape 2671">
            <a:extLst>
              <a:ext uri="{FF2B5EF4-FFF2-40B4-BE49-F238E27FC236}">
                <a16:creationId xmlns:a16="http://schemas.microsoft.com/office/drawing/2014/main" id="{DDC801DA-8583-FDB2-2190-CDF926253CB0}"/>
              </a:ext>
            </a:extLst>
          </p:cNvPr>
          <p:cNvSpPr/>
          <p:nvPr/>
        </p:nvSpPr>
        <p:spPr>
          <a:xfrm>
            <a:off x="5580722" y="3510958"/>
            <a:ext cx="34233" cy="44149"/>
          </a:xfrm>
          <a:custGeom>
            <a:avLst/>
            <a:gdLst>
              <a:gd name="connsiteX0" fmla="*/ 289 w 34233"/>
              <a:gd name="connsiteY0" fmla="*/ 27369 h 44149"/>
              <a:gd name="connsiteX1" fmla="*/ 13149 w 34233"/>
              <a:gd name="connsiteY1" fmla="*/ 97 h 44149"/>
              <a:gd name="connsiteX2" fmla="*/ 33745 w 34233"/>
              <a:gd name="connsiteY2" fmla="*/ 10439 h 44149"/>
              <a:gd name="connsiteX3" fmla="*/ 32261 w 34233"/>
              <a:gd name="connsiteY3" fmla="*/ 34712 h 44149"/>
              <a:gd name="connsiteX4" fmla="*/ 289 w 34233"/>
              <a:gd name="connsiteY4" fmla="*/ 27364 h 44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33" h="44149">
                <a:moveTo>
                  <a:pt x="289" y="27369"/>
                </a:moveTo>
                <a:cubicBezTo>
                  <a:pt x="263" y="11603"/>
                  <a:pt x="-3010" y="1033"/>
                  <a:pt x="13149" y="97"/>
                </a:cubicBezTo>
                <a:cubicBezTo>
                  <a:pt x="29319" y="-839"/>
                  <a:pt x="32458" y="5180"/>
                  <a:pt x="33745" y="10439"/>
                </a:cubicBezTo>
                <a:cubicBezTo>
                  <a:pt x="34547" y="13707"/>
                  <a:pt x="34557" y="26371"/>
                  <a:pt x="32261" y="34712"/>
                </a:cubicBezTo>
                <a:cubicBezTo>
                  <a:pt x="26656" y="55101"/>
                  <a:pt x="299" y="37623"/>
                  <a:pt x="289" y="27364"/>
                </a:cubicBezTo>
                <a:close/>
              </a:path>
            </a:pathLst>
          </a:custGeom>
          <a:solidFill>
            <a:srgbClr val="FFB17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73" name="Freeform: Shape 2672">
            <a:extLst>
              <a:ext uri="{FF2B5EF4-FFF2-40B4-BE49-F238E27FC236}">
                <a16:creationId xmlns:a16="http://schemas.microsoft.com/office/drawing/2014/main" id="{F6FED017-D2BD-0729-C082-A0C506183E79}"/>
              </a:ext>
            </a:extLst>
          </p:cNvPr>
          <p:cNvSpPr/>
          <p:nvPr/>
        </p:nvSpPr>
        <p:spPr>
          <a:xfrm>
            <a:off x="5566667" y="3891493"/>
            <a:ext cx="18072" cy="29826"/>
          </a:xfrm>
          <a:custGeom>
            <a:avLst/>
            <a:gdLst>
              <a:gd name="connsiteX0" fmla="*/ 0 w 18072"/>
              <a:gd name="connsiteY0" fmla="*/ 0 h 29826"/>
              <a:gd name="connsiteX1" fmla="*/ 7079 w 18072"/>
              <a:gd name="connsiteY1" fmla="*/ 29827 h 29826"/>
              <a:gd name="connsiteX2" fmla="*/ 17685 w 18072"/>
              <a:gd name="connsiteY2" fmla="*/ 29765 h 29826"/>
              <a:gd name="connsiteX3" fmla="*/ 18073 w 18072"/>
              <a:gd name="connsiteY3" fmla="*/ 0 h 29826"/>
              <a:gd name="connsiteX4" fmla="*/ 0 w 18072"/>
              <a:gd name="connsiteY4" fmla="*/ 0 h 29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72" h="29826">
                <a:moveTo>
                  <a:pt x="0" y="0"/>
                </a:moveTo>
                <a:lnTo>
                  <a:pt x="7079" y="29827"/>
                </a:lnTo>
                <a:lnTo>
                  <a:pt x="17685" y="29765"/>
                </a:lnTo>
                <a:lnTo>
                  <a:pt x="1807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B17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74" name="Freeform: Shape 2673">
            <a:extLst>
              <a:ext uri="{FF2B5EF4-FFF2-40B4-BE49-F238E27FC236}">
                <a16:creationId xmlns:a16="http://schemas.microsoft.com/office/drawing/2014/main" id="{D21D9E2A-6636-A537-4430-8AF5C505C4B0}"/>
              </a:ext>
            </a:extLst>
          </p:cNvPr>
          <p:cNvSpPr/>
          <p:nvPr/>
        </p:nvSpPr>
        <p:spPr>
          <a:xfrm>
            <a:off x="5655862" y="3888846"/>
            <a:ext cx="27995" cy="32474"/>
          </a:xfrm>
          <a:custGeom>
            <a:avLst/>
            <a:gdLst>
              <a:gd name="connsiteX0" fmla="*/ 0 w 27995"/>
              <a:gd name="connsiteY0" fmla="*/ 3930 h 32474"/>
              <a:gd name="connsiteX1" fmla="*/ 20146 w 27995"/>
              <a:gd name="connsiteY1" fmla="*/ 32474 h 32474"/>
              <a:gd name="connsiteX2" fmla="*/ 27996 w 27995"/>
              <a:gd name="connsiteY2" fmla="*/ 22391 h 32474"/>
              <a:gd name="connsiteX3" fmla="*/ 15870 w 27995"/>
              <a:gd name="connsiteY3" fmla="*/ 0 h 32474"/>
              <a:gd name="connsiteX4" fmla="*/ 0 w 27995"/>
              <a:gd name="connsiteY4" fmla="*/ 3930 h 32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995" h="32474">
                <a:moveTo>
                  <a:pt x="0" y="3930"/>
                </a:moveTo>
                <a:lnTo>
                  <a:pt x="20146" y="32474"/>
                </a:lnTo>
                <a:lnTo>
                  <a:pt x="27996" y="22391"/>
                </a:lnTo>
                <a:lnTo>
                  <a:pt x="15870" y="0"/>
                </a:lnTo>
                <a:lnTo>
                  <a:pt x="0" y="3930"/>
                </a:lnTo>
                <a:close/>
              </a:path>
            </a:pathLst>
          </a:custGeom>
          <a:solidFill>
            <a:srgbClr val="FFB17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75" name="Freeform: Shape 2674">
            <a:extLst>
              <a:ext uri="{FF2B5EF4-FFF2-40B4-BE49-F238E27FC236}">
                <a16:creationId xmlns:a16="http://schemas.microsoft.com/office/drawing/2014/main" id="{482E1ED8-E1F0-7340-E434-2064B094B155}"/>
              </a:ext>
            </a:extLst>
          </p:cNvPr>
          <p:cNvSpPr/>
          <p:nvPr/>
        </p:nvSpPr>
        <p:spPr>
          <a:xfrm>
            <a:off x="5569578" y="3678964"/>
            <a:ext cx="111084" cy="225110"/>
          </a:xfrm>
          <a:custGeom>
            <a:avLst/>
            <a:gdLst>
              <a:gd name="connsiteX0" fmla="*/ 111084 w 111084"/>
              <a:gd name="connsiteY0" fmla="*/ 224449 h 225110"/>
              <a:gd name="connsiteX1" fmla="*/ 100711 w 111084"/>
              <a:gd name="connsiteY1" fmla="*/ 224769 h 225110"/>
              <a:gd name="connsiteX2" fmla="*/ 89485 w 111084"/>
              <a:gd name="connsiteY2" fmla="*/ 225111 h 225110"/>
              <a:gd name="connsiteX3" fmla="*/ 49001 w 111084"/>
              <a:gd name="connsiteY3" fmla="*/ 149944 h 225110"/>
              <a:gd name="connsiteX4" fmla="*/ 47925 w 111084"/>
              <a:gd name="connsiteY4" fmla="*/ 146682 h 225110"/>
              <a:gd name="connsiteX5" fmla="*/ 14758 w 111084"/>
              <a:gd name="connsiteY5" fmla="*/ 67947 h 225110"/>
              <a:gd name="connsiteX6" fmla="*/ 11014 w 111084"/>
              <a:gd name="connsiteY6" fmla="*/ 56049 h 225110"/>
              <a:gd name="connsiteX7" fmla="*/ 9975 w 111084"/>
              <a:gd name="connsiteY7" fmla="*/ 52517 h 225110"/>
              <a:gd name="connsiteX8" fmla="*/ 0 w 111084"/>
              <a:gd name="connsiteY8" fmla="*/ 0 h 225110"/>
              <a:gd name="connsiteX9" fmla="*/ 62807 w 111084"/>
              <a:gd name="connsiteY9" fmla="*/ 507 h 225110"/>
              <a:gd name="connsiteX10" fmla="*/ 111079 w 111084"/>
              <a:gd name="connsiteY10" fmla="*/ 224454 h 225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084" h="225110">
                <a:moveTo>
                  <a:pt x="111084" y="224449"/>
                </a:moveTo>
                <a:lnTo>
                  <a:pt x="100711" y="224769"/>
                </a:lnTo>
                <a:lnTo>
                  <a:pt x="89485" y="225111"/>
                </a:lnTo>
                <a:cubicBezTo>
                  <a:pt x="89485" y="225111"/>
                  <a:pt x="63552" y="196230"/>
                  <a:pt x="49001" y="149944"/>
                </a:cubicBezTo>
                <a:cubicBezTo>
                  <a:pt x="48659" y="148874"/>
                  <a:pt x="48303" y="147778"/>
                  <a:pt x="47925" y="146682"/>
                </a:cubicBezTo>
                <a:cubicBezTo>
                  <a:pt x="39962" y="123474"/>
                  <a:pt x="23461" y="94325"/>
                  <a:pt x="14758" y="67947"/>
                </a:cubicBezTo>
                <a:cubicBezTo>
                  <a:pt x="13377" y="63743"/>
                  <a:pt x="12131" y="59793"/>
                  <a:pt x="11014" y="56049"/>
                </a:cubicBezTo>
                <a:cubicBezTo>
                  <a:pt x="10657" y="54849"/>
                  <a:pt x="10311" y="53675"/>
                  <a:pt x="9975" y="52517"/>
                </a:cubicBezTo>
                <a:cubicBezTo>
                  <a:pt x="3568" y="30245"/>
                  <a:pt x="1712" y="15622"/>
                  <a:pt x="0" y="0"/>
                </a:cubicBezTo>
                <a:lnTo>
                  <a:pt x="62807" y="507"/>
                </a:lnTo>
                <a:cubicBezTo>
                  <a:pt x="62807" y="507"/>
                  <a:pt x="72948" y="107190"/>
                  <a:pt x="111079" y="224454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76" name="Freeform: Shape 2675">
            <a:extLst>
              <a:ext uri="{FF2B5EF4-FFF2-40B4-BE49-F238E27FC236}">
                <a16:creationId xmlns:a16="http://schemas.microsoft.com/office/drawing/2014/main" id="{D569D636-7182-3E58-23A6-FD3C2954B746}"/>
              </a:ext>
            </a:extLst>
          </p:cNvPr>
          <p:cNvSpPr/>
          <p:nvPr/>
        </p:nvSpPr>
        <p:spPr>
          <a:xfrm>
            <a:off x="5545533" y="3561979"/>
            <a:ext cx="87161" cy="131404"/>
          </a:xfrm>
          <a:custGeom>
            <a:avLst/>
            <a:gdLst>
              <a:gd name="connsiteX0" fmla="*/ 78062 w 87161"/>
              <a:gd name="connsiteY0" fmla="*/ 81397 h 131404"/>
              <a:gd name="connsiteX1" fmla="*/ 82447 w 87161"/>
              <a:gd name="connsiteY1" fmla="*/ 124105 h 131404"/>
              <a:gd name="connsiteX2" fmla="*/ 23595 w 87161"/>
              <a:gd name="connsiteY2" fmla="*/ 127709 h 131404"/>
              <a:gd name="connsiteX3" fmla="*/ 0 w 87161"/>
              <a:gd name="connsiteY3" fmla="*/ 122290 h 131404"/>
              <a:gd name="connsiteX4" fmla="*/ 2942 w 87161"/>
              <a:gd name="connsiteY4" fmla="*/ 99170 h 131404"/>
              <a:gd name="connsiteX5" fmla="*/ 15617 w 87161"/>
              <a:gd name="connsiteY5" fmla="*/ 73873 h 131404"/>
              <a:gd name="connsiteX6" fmla="*/ 16392 w 87161"/>
              <a:gd name="connsiteY6" fmla="*/ 48835 h 131404"/>
              <a:gd name="connsiteX7" fmla="*/ 9887 w 87161"/>
              <a:gd name="connsiteY7" fmla="*/ 13719 h 131404"/>
              <a:gd name="connsiteX8" fmla="*/ 34568 w 87161"/>
              <a:gd name="connsiteY8" fmla="*/ 652 h 131404"/>
              <a:gd name="connsiteX9" fmla="*/ 48556 w 87161"/>
              <a:gd name="connsiteY9" fmla="*/ 5838 h 131404"/>
              <a:gd name="connsiteX10" fmla="*/ 56654 w 87161"/>
              <a:gd name="connsiteY10" fmla="*/ 0 h 131404"/>
              <a:gd name="connsiteX11" fmla="*/ 68847 w 87161"/>
              <a:gd name="connsiteY11" fmla="*/ 7343 h 131404"/>
              <a:gd name="connsiteX12" fmla="*/ 87158 w 87161"/>
              <a:gd name="connsiteY12" fmla="*/ 42449 h 131404"/>
              <a:gd name="connsiteX13" fmla="*/ 78057 w 87161"/>
              <a:gd name="connsiteY13" fmla="*/ 81397 h 131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7161" h="131404">
                <a:moveTo>
                  <a:pt x="78062" y="81397"/>
                </a:moveTo>
                <a:cubicBezTo>
                  <a:pt x="77907" y="111281"/>
                  <a:pt x="82447" y="124105"/>
                  <a:pt x="82447" y="124105"/>
                </a:cubicBezTo>
                <a:cubicBezTo>
                  <a:pt x="82447" y="124105"/>
                  <a:pt x="55558" y="137767"/>
                  <a:pt x="23595" y="127709"/>
                </a:cubicBezTo>
                <a:cubicBezTo>
                  <a:pt x="23223" y="127590"/>
                  <a:pt x="0" y="122290"/>
                  <a:pt x="0" y="122290"/>
                </a:cubicBezTo>
                <a:cubicBezTo>
                  <a:pt x="538" y="121080"/>
                  <a:pt x="2425" y="100287"/>
                  <a:pt x="2942" y="99170"/>
                </a:cubicBezTo>
                <a:cubicBezTo>
                  <a:pt x="9691" y="84691"/>
                  <a:pt x="14815" y="78331"/>
                  <a:pt x="15617" y="73873"/>
                </a:cubicBezTo>
                <a:cubicBezTo>
                  <a:pt x="17101" y="65553"/>
                  <a:pt x="17132" y="56954"/>
                  <a:pt x="16392" y="48835"/>
                </a:cubicBezTo>
                <a:cubicBezTo>
                  <a:pt x="14443" y="27344"/>
                  <a:pt x="9887" y="13719"/>
                  <a:pt x="9887" y="13719"/>
                </a:cubicBezTo>
                <a:cubicBezTo>
                  <a:pt x="18595" y="11738"/>
                  <a:pt x="25509" y="4049"/>
                  <a:pt x="34568" y="652"/>
                </a:cubicBezTo>
                <a:cubicBezTo>
                  <a:pt x="36657" y="3247"/>
                  <a:pt x="43028" y="5962"/>
                  <a:pt x="48556" y="5838"/>
                </a:cubicBezTo>
                <a:cubicBezTo>
                  <a:pt x="54922" y="5698"/>
                  <a:pt x="56985" y="2973"/>
                  <a:pt x="56654" y="0"/>
                </a:cubicBezTo>
                <a:cubicBezTo>
                  <a:pt x="63438" y="3775"/>
                  <a:pt x="68847" y="7343"/>
                  <a:pt x="68847" y="7343"/>
                </a:cubicBezTo>
                <a:cubicBezTo>
                  <a:pt x="74613" y="17359"/>
                  <a:pt x="86310" y="27086"/>
                  <a:pt x="87158" y="42449"/>
                </a:cubicBezTo>
                <a:cubicBezTo>
                  <a:pt x="87370" y="46229"/>
                  <a:pt x="78062" y="80560"/>
                  <a:pt x="78057" y="81397"/>
                </a:cubicBezTo>
                <a:close/>
              </a:path>
            </a:pathLst>
          </a:custGeom>
          <a:solidFill>
            <a:srgbClr val="DEECF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77" name="Freeform: Shape 2676">
            <a:extLst>
              <a:ext uri="{FF2B5EF4-FFF2-40B4-BE49-F238E27FC236}">
                <a16:creationId xmlns:a16="http://schemas.microsoft.com/office/drawing/2014/main" id="{A22CE7EC-3251-FE44-8E73-FA559B6A1196}"/>
              </a:ext>
            </a:extLst>
          </p:cNvPr>
          <p:cNvSpPr/>
          <p:nvPr/>
        </p:nvSpPr>
        <p:spPr>
          <a:xfrm>
            <a:off x="5578586" y="3561793"/>
            <a:ext cx="26253" cy="7823"/>
          </a:xfrm>
          <a:custGeom>
            <a:avLst/>
            <a:gdLst>
              <a:gd name="connsiteX0" fmla="*/ 5 w 26253"/>
              <a:gd name="connsiteY0" fmla="*/ 2296 h 7823"/>
              <a:gd name="connsiteX1" fmla="*/ 9623 w 26253"/>
              <a:gd name="connsiteY1" fmla="*/ 6712 h 7823"/>
              <a:gd name="connsiteX2" fmla="*/ 18952 w 26253"/>
              <a:gd name="connsiteY2" fmla="*/ 7565 h 7823"/>
              <a:gd name="connsiteX3" fmla="*/ 25250 w 26253"/>
              <a:gd name="connsiteY3" fmla="*/ 3237 h 7823"/>
              <a:gd name="connsiteX4" fmla="*/ 26253 w 26253"/>
              <a:gd name="connsiteY4" fmla="*/ 941 h 7823"/>
              <a:gd name="connsiteX5" fmla="*/ 23709 w 26253"/>
              <a:gd name="connsiteY5" fmla="*/ 160 h 7823"/>
              <a:gd name="connsiteX6" fmla="*/ 22959 w 26253"/>
              <a:gd name="connsiteY6" fmla="*/ 1882 h 7823"/>
              <a:gd name="connsiteX7" fmla="*/ 18430 w 26253"/>
              <a:gd name="connsiteY7" fmla="*/ 4959 h 7823"/>
              <a:gd name="connsiteX8" fmla="*/ 10404 w 26253"/>
              <a:gd name="connsiteY8" fmla="*/ 4168 h 7823"/>
              <a:gd name="connsiteX9" fmla="*/ 1355 w 26253"/>
              <a:gd name="connsiteY9" fmla="*/ 0 h 7823"/>
              <a:gd name="connsiteX10" fmla="*/ 0 w 26253"/>
              <a:gd name="connsiteY10" fmla="*/ 2291 h 7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253" h="7823">
                <a:moveTo>
                  <a:pt x="5" y="2296"/>
                </a:moveTo>
                <a:cubicBezTo>
                  <a:pt x="3444" y="4333"/>
                  <a:pt x="6681" y="5807"/>
                  <a:pt x="9623" y="6712"/>
                </a:cubicBezTo>
                <a:cubicBezTo>
                  <a:pt x="13181" y="7813"/>
                  <a:pt x="16346" y="8093"/>
                  <a:pt x="18952" y="7565"/>
                </a:cubicBezTo>
                <a:cubicBezTo>
                  <a:pt x="21723" y="7002"/>
                  <a:pt x="23880" y="5554"/>
                  <a:pt x="25250" y="3237"/>
                </a:cubicBezTo>
                <a:cubicBezTo>
                  <a:pt x="25653" y="2549"/>
                  <a:pt x="25995" y="1779"/>
                  <a:pt x="26253" y="941"/>
                </a:cubicBezTo>
                <a:lnTo>
                  <a:pt x="23709" y="160"/>
                </a:lnTo>
                <a:cubicBezTo>
                  <a:pt x="23513" y="791"/>
                  <a:pt x="23259" y="1370"/>
                  <a:pt x="22959" y="1882"/>
                </a:cubicBezTo>
                <a:cubicBezTo>
                  <a:pt x="21987" y="3521"/>
                  <a:pt x="20436" y="4556"/>
                  <a:pt x="18430" y="4959"/>
                </a:cubicBezTo>
                <a:cubicBezTo>
                  <a:pt x="16258" y="5399"/>
                  <a:pt x="13538" y="5140"/>
                  <a:pt x="10404" y="4168"/>
                </a:cubicBezTo>
                <a:cubicBezTo>
                  <a:pt x="7669" y="3325"/>
                  <a:pt x="4623" y="1934"/>
                  <a:pt x="1355" y="0"/>
                </a:cubicBezTo>
                <a:lnTo>
                  <a:pt x="0" y="2291"/>
                </a:lnTo>
                <a:close/>
              </a:path>
            </a:pathLst>
          </a:custGeom>
          <a:solidFill>
            <a:srgbClr val="4F8DC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78" name="Freeform: Shape 2677">
            <a:extLst>
              <a:ext uri="{FF2B5EF4-FFF2-40B4-BE49-F238E27FC236}">
                <a16:creationId xmlns:a16="http://schemas.microsoft.com/office/drawing/2014/main" id="{4891B1A0-1E13-F825-704C-361A279CFBDE}"/>
              </a:ext>
            </a:extLst>
          </p:cNvPr>
          <p:cNvSpPr/>
          <p:nvPr/>
        </p:nvSpPr>
        <p:spPr>
          <a:xfrm>
            <a:off x="5571874" y="3919644"/>
            <a:ext cx="15229" cy="20298"/>
          </a:xfrm>
          <a:custGeom>
            <a:avLst/>
            <a:gdLst>
              <a:gd name="connsiteX0" fmla="*/ 1515 w 15229"/>
              <a:gd name="connsiteY0" fmla="*/ 5 h 20298"/>
              <a:gd name="connsiteX1" fmla="*/ 165 w 15229"/>
              <a:gd name="connsiteY1" fmla="*/ 12224 h 20298"/>
              <a:gd name="connsiteX2" fmla="*/ 6216 w 15229"/>
              <a:gd name="connsiteY2" fmla="*/ 20281 h 20298"/>
              <a:gd name="connsiteX3" fmla="*/ 15032 w 15229"/>
              <a:gd name="connsiteY3" fmla="*/ 14841 h 20298"/>
              <a:gd name="connsiteX4" fmla="*/ 12472 w 15229"/>
              <a:gd name="connsiteY4" fmla="*/ 1608 h 20298"/>
              <a:gd name="connsiteX5" fmla="*/ 1515 w 15229"/>
              <a:gd name="connsiteY5" fmla="*/ 0 h 20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9" h="20298">
                <a:moveTo>
                  <a:pt x="1515" y="5"/>
                </a:moveTo>
                <a:cubicBezTo>
                  <a:pt x="1515" y="5"/>
                  <a:pt x="2368" y="5911"/>
                  <a:pt x="165" y="12224"/>
                </a:cubicBezTo>
                <a:cubicBezTo>
                  <a:pt x="165" y="12224"/>
                  <a:pt x="-1572" y="20141"/>
                  <a:pt x="6216" y="20281"/>
                </a:cubicBezTo>
                <a:cubicBezTo>
                  <a:pt x="14003" y="20431"/>
                  <a:pt x="15911" y="19691"/>
                  <a:pt x="15032" y="14841"/>
                </a:cubicBezTo>
                <a:cubicBezTo>
                  <a:pt x="14153" y="9996"/>
                  <a:pt x="12472" y="1608"/>
                  <a:pt x="12472" y="1608"/>
                </a:cubicBezTo>
                <a:lnTo>
                  <a:pt x="1515" y="0"/>
                </a:lnTo>
                <a:close/>
              </a:path>
            </a:pathLst>
          </a:custGeom>
          <a:solidFill>
            <a:srgbClr val="FFB17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79" name="Freeform: Shape 2678">
            <a:extLst>
              <a:ext uri="{FF2B5EF4-FFF2-40B4-BE49-F238E27FC236}">
                <a16:creationId xmlns:a16="http://schemas.microsoft.com/office/drawing/2014/main" id="{67B04114-E40E-EC14-1CDF-9DB994080B85}"/>
              </a:ext>
            </a:extLst>
          </p:cNvPr>
          <p:cNvSpPr/>
          <p:nvPr/>
        </p:nvSpPr>
        <p:spPr>
          <a:xfrm>
            <a:off x="5570696" y="3931667"/>
            <a:ext cx="17244" cy="19709"/>
          </a:xfrm>
          <a:custGeom>
            <a:avLst/>
            <a:gdLst>
              <a:gd name="connsiteX0" fmla="*/ 17239 w 17244"/>
              <a:gd name="connsiteY0" fmla="*/ 12953 h 19709"/>
              <a:gd name="connsiteX1" fmla="*/ 179 w 17244"/>
              <a:gd name="connsiteY1" fmla="*/ 12953 h 19709"/>
              <a:gd name="connsiteX2" fmla="*/ 1281 w 17244"/>
              <a:gd name="connsiteY2" fmla="*/ 522 h 19709"/>
              <a:gd name="connsiteX3" fmla="*/ 1333 w 17244"/>
              <a:gd name="connsiteY3" fmla="*/ 284 h 19709"/>
              <a:gd name="connsiteX4" fmla="*/ 1343 w 17244"/>
              <a:gd name="connsiteY4" fmla="*/ 212 h 19709"/>
              <a:gd name="connsiteX5" fmla="*/ 15677 w 17244"/>
              <a:gd name="connsiteY5" fmla="*/ 0 h 19709"/>
              <a:gd name="connsiteX6" fmla="*/ 15698 w 17244"/>
              <a:gd name="connsiteY6" fmla="*/ 47 h 19709"/>
              <a:gd name="connsiteX7" fmla="*/ 17244 w 17244"/>
              <a:gd name="connsiteY7" fmla="*/ 12959 h 19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244" h="19709">
                <a:moveTo>
                  <a:pt x="17239" y="12953"/>
                </a:moveTo>
                <a:cubicBezTo>
                  <a:pt x="12290" y="22292"/>
                  <a:pt x="5232" y="21625"/>
                  <a:pt x="179" y="12953"/>
                </a:cubicBezTo>
                <a:cubicBezTo>
                  <a:pt x="-519" y="9442"/>
                  <a:pt x="1028" y="1965"/>
                  <a:pt x="1281" y="522"/>
                </a:cubicBezTo>
                <a:cubicBezTo>
                  <a:pt x="1296" y="414"/>
                  <a:pt x="1317" y="341"/>
                  <a:pt x="1333" y="284"/>
                </a:cubicBezTo>
                <a:cubicBezTo>
                  <a:pt x="1333" y="233"/>
                  <a:pt x="1343" y="212"/>
                  <a:pt x="1343" y="212"/>
                </a:cubicBezTo>
                <a:cubicBezTo>
                  <a:pt x="10160" y="8289"/>
                  <a:pt x="15677" y="0"/>
                  <a:pt x="15677" y="0"/>
                </a:cubicBezTo>
                <a:cubicBezTo>
                  <a:pt x="15682" y="10"/>
                  <a:pt x="15687" y="31"/>
                  <a:pt x="15698" y="47"/>
                </a:cubicBezTo>
                <a:cubicBezTo>
                  <a:pt x="16990" y="3211"/>
                  <a:pt x="17265" y="11723"/>
                  <a:pt x="17244" y="12959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80" name="Freeform: Shape 2679">
            <a:extLst>
              <a:ext uri="{FF2B5EF4-FFF2-40B4-BE49-F238E27FC236}">
                <a16:creationId xmlns:a16="http://schemas.microsoft.com/office/drawing/2014/main" id="{B88B3C4D-09E2-0C42-2FF0-AB4EBBF15C02}"/>
              </a:ext>
            </a:extLst>
          </p:cNvPr>
          <p:cNvSpPr/>
          <p:nvPr/>
        </p:nvSpPr>
        <p:spPr>
          <a:xfrm>
            <a:off x="5673179" y="3911236"/>
            <a:ext cx="29449" cy="27882"/>
          </a:xfrm>
          <a:custGeom>
            <a:avLst/>
            <a:gdLst>
              <a:gd name="connsiteX0" fmla="*/ 29444 w 29449"/>
              <a:gd name="connsiteY0" fmla="*/ 24045 h 27882"/>
              <a:gd name="connsiteX1" fmla="*/ 10678 w 29449"/>
              <a:gd name="connsiteY1" fmla="*/ 0 h 27882"/>
              <a:gd name="connsiteX2" fmla="*/ 0 w 29449"/>
              <a:gd name="connsiteY2" fmla="*/ 5466 h 27882"/>
              <a:gd name="connsiteX3" fmla="*/ 23864 w 29449"/>
              <a:gd name="connsiteY3" fmla="*/ 27882 h 27882"/>
              <a:gd name="connsiteX4" fmla="*/ 29449 w 29449"/>
              <a:gd name="connsiteY4" fmla="*/ 27153 h 27882"/>
              <a:gd name="connsiteX5" fmla="*/ 29449 w 29449"/>
              <a:gd name="connsiteY5" fmla="*/ 24050 h 2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449" h="27882">
                <a:moveTo>
                  <a:pt x="29444" y="24045"/>
                </a:moveTo>
                <a:cubicBezTo>
                  <a:pt x="29444" y="24045"/>
                  <a:pt x="15084" y="8108"/>
                  <a:pt x="10678" y="0"/>
                </a:cubicBezTo>
                <a:lnTo>
                  <a:pt x="0" y="5466"/>
                </a:lnTo>
                <a:lnTo>
                  <a:pt x="23864" y="27882"/>
                </a:lnTo>
                <a:lnTo>
                  <a:pt x="29449" y="27153"/>
                </a:lnTo>
                <a:lnTo>
                  <a:pt x="29449" y="24050"/>
                </a:lnTo>
                <a:close/>
              </a:path>
            </a:pathLst>
          </a:custGeom>
          <a:solidFill>
            <a:srgbClr val="FFB17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81" name="Freeform: Shape 2680">
            <a:extLst>
              <a:ext uri="{FF2B5EF4-FFF2-40B4-BE49-F238E27FC236}">
                <a16:creationId xmlns:a16="http://schemas.microsoft.com/office/drawing/2014/main" id="{FCE43131-D398-37CC-8F1C-32BCAF793EA5}"/>
              </a:ext>
            </a:extLst>
          </p:cNvPr>
          <p:cNvSpPr/>
          <p:nvPr/>
        </p:nvSpPr>
        <p:spPr>
          <a:xfrm>
            <a:off x="5670466" y="3916697"/>
            <a:ext cx="41273" cy="27923"/>
          </a:xfrm>
          <a:custGeom>
            <a:avLst/>
            <a:gdLst>
              <a:gd name="connsiteX0" fmla="*/ 41274 w 41273"/>
              <a:gd name="connsiteY0" fmla="*/ 27924 h 27923"/>
              <a:gd name="connsiteX1" fmla="*/ 23211 w 41273"/>
              <a:gd name="connsiteY1" fmla="*/ 27924 h 27923"/>
              <a:gd name="connsiteX2" fmla="*/ 15558 w 41273"/>
              <a:gd name="connsiteY2" fmla="*/ 17783 h 27923"/>
              <a:gd name="connsiteX3" fmla="*/ 9053 w 41273"/>
              <a:gd name="connsiteY3" fmla="*/ 13440 h 27923"/>
              <a:gd name="connsiteX4" fmla="*/ 9126 w 41273"/>
              <a:gd name="connsiteY4" fmla="*/ 27924 h 27923"/>
              <a:gd name="connsiteX5" fmla="*/ 4958 w 41273"/>
              <a:gd name="connsiteY5" fmla="*/ 27924 h 27923"/>
              <a:gd name="connsiteX6" fmla="*/ 1121 w 41273"/>
              <a:gd name="connsiteY6" fmla="*/ 12607 h 27923"/>
              <a:gd name="connsiteX7" fmla="*/ 2703 w 41273"/>
              <a:gd name="connsiteY7" fmla="*/ 0 h 27923"/>
              <a:gd name="connsiteX8" fmla="*/ 20993 w 41273"/>
              <a:gd name="connsiteY8" fmla="*/ 13372 h 27923"/>
              <a:gd name="connsiteX9" fmla="*/ 32147 w 41273"/>
              <a:gd name="connsiteY9" fmla="*/ 18580 h 27923"/>
              <a:gd name="connsiteX10" fmla="*/ 32307 w 41273"/>
              <a:gd name="connsiteY10" fmla="*/ 18662 h 27923"/>
              <a:gd name="connsiteX11" fmla="*/ 41269 w 41273"/>
              <a:gd name="connsiteY11" fmla="*/ 27918 h 27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273" h="27923">
                <a:moveTo>
                  <a:pt x="41274" y="27924"/>
                </a:moveTo>
                <a:lnTo>
                  <a:pt x="23211" y="27924"/>
                </a:lnTo>
                <a:cubicBezTo>
                  <a:pt x="20548" y="27924"/>
                  <a:pt x="18428" y="23513"/>
                  <a:pt x="15558" y="17783"/>
                </a:cubicBezTo>
                <a:cubicBezTo>
                  <a:pt x="14385" y="15436"/>
                  <a:pt x="11752" y="14148"/>
                  <a:pt x="9053" y="13440"/>
                </a:cubicBezTo>
                <a:lnTo>
                  <a:pt x="9126" y="27924"/>
                </a:lnTo>
                <a:lnTo>
                  <a:pt x="4958" y="27924"/>
                </a:lnTo>
                <a:lnTo>
                  <a:pt x="1121" y="12607"/>
                </a:lnTo>
                <a:cubicBezTo>
                  <a:pt x="-1423" y="7927"/>
                  <a:pt x="914" y="3687"/>
                  <a:pt x="2703" y="0"/>
                </a:cubicBezTo>
                <a:cubicBezTo>
                  <a:pt x="4782" y="0"/>
                  <a:pt x="10382" y="1422"/>
                  <a:pt x="20993" y="13372"/>
                </a:cubicBezTo>
                <a:cubicBezTo>
                  <a:pt x="24478" y="17297"/>
                  <a:pt x="28331" y="18693"/>
                  <a:pt x="32147" y="18580"/>
                </a:cubicBezTo>
                <a:cubicBezTo>
                  <a:pt x="32199" y="18611"/>
                  <a:pt x="32250" y="18636"/>
                  <a:pt x="32307" y="18662"/>
                </a:cubicBezTo>
                <a:cubicBezTo>
                  <a:pt x="41119" y="22628"/>
                  <a:pt x="41269" y="27918"/>
                  <a:pt x="41269" y="27918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82" name="Freeform: Shape 2681">
            <a:extLst>
              <a:ext uri="{FF2B5EF4-FFF2-40B4-BE49-F238E27FC236}">
                <a16:creationId xmlns:a16="http://schemas.microsoft.com/office/drawing/2014/main" id="{C9960B4F-7C9B-CA4F-83E9-D4B87FD28EBA}"/>
              </a:ext>
            </a:extLst>
          </p:cNvPr>
          <p:cNvSpPr/>
          <p:nvPr/>
        </p:nvSpPr>
        <p:spPr>
          <a:xfrm>
            <a:off x="5579553" y="3724458"/>
            <a:ext cx="90736" cy="179610"/>
          </a:xfrm>
          <a:custGeom>
            <a:avLst/>
            <a:gdLst>
              <a:gd name="connsiteX0" fmla="*/ 90736 w 90736"/>
              <a:gd name="connsiteY0" fmla="*/ 179269 h 179610"/>
              <a:gd name="connsiteX1" fmla="*/ 79510 w 90736"/>
              <a:gd name="connsiteY1" fmla="*/ 179611 h 179610"/>
              <a:gd name="connsiteX2" fmla="*/ 39026 w 90736"/>
              <a:gd name="connsiteY2" fmla="*/ 104445 h 179610"/>
              <a:gd name="connsiteX3" fmla="*/ 37950 w 90736"/>
              <a:gd name="connsiteY3" fmla="*/ 101182 h 179610"/>
              <a:gd name="connsiteX4" fmla="*/ 4783 w 90736"/>
              <a:gd name="connsiteY4" fmla="*/ 22447 h 179610"/>
              <a:gd name="connsiteX5" fmla="*/ 1039 w 90736"/>
              <a:gd name="connsiteY5" fmla="*/ 10549 h 179610"/>
              <a:gd name="connsiteX6" fmla="*/ 0 w 90736"/>
              <a:gd name="connsiteY6" fmla="*/ 7017 h 179610"/>
              <a:gd name="connsiteX7" fmla="*/ 9251 w 90736"/>
              <a:gd name="connsiteY7" fmla="*/ 0 h 179610"/>
              <a:gd name="connsiteX8" fmla="*/ 45614 w 90736"/>
              <a:gd name="connsiteY8" fmla="*/ 87282 h 179610"/>
              <a:gd name="connsiteX9" fmla="*/ 90731 w 90736"/>
              <a:gd name="connsiteY9" fmla="*/ 179269 h 179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0736" h="179610">
                <a:moveTo>
                  <a:pt x="90736" y="179269"/>
                </a:moveTo>
                <a:lnTo>
                  <a:pt x="79510" y="179611"/>
                </a:lnTo>
                <a:cubicBezTo>
                  <a:pt x="79510" y="179611"/>
                  <a:pt x="53577" y="150730"/>
                  <a:pt x="39026" y="104445"/>
                </a:cubicBezTo>
                <a:cubicBezTo>
                  <a:pt x="38684" y="103374"/>
                  <a:pt x="38328" y="102278"/>
                  <a:pt x="37950" y="101182"/>
                </a:cubicBezTo>
                <a:cubicBezTo>
                  <a:pt x="29987" y="77974"/>
                  <a:pt x="13486" y="48825"/>
                  <a:pt x="4783" y="22447"/>
                </a:cubicBezTo>
                <a:cubicBezTo>
                  <a:pt x="3403" y="18243"/>
                  <a:pt x="2156" y="14293"/>
                  <a:pt x="1039" y="10549"/>
                </a:cubicBezTo>
                <a:cubicBezTo>
                  <a:pt x="683" y="9349"/>
                  <a:pt x="336" y="8175"/>
                  <a:pt x="0" y="7017"/>
                </a:cubicBezTo>
                <a:lnTo>
                  <a:pt x="9251" y="0"/>
                </a:lnTo>
                <a:cubicBezTo>
                  <a:pt x="9251" y="0"/>
                  <a:pt x="37019" y="44967"/>
                  <a:pt x="45614" y="87282"/>
                </a:cubicBezTo>
                <a:cubicBezTo>
                  <a:pt x="53081" y="124043"/>
                  <a:pt x="82990" y="168265"/>
                  <a:pt x="90731" y="179269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83" name="Freeform: Shape 2682">
            <a:extLst>
              <a:ext uri="{FF2B5EF4-FFF2-40B4-BE49-F238E27FC236}">
                <a16:creationId xmlns:a16="http://schemas.microsoft.com/office/drawing/2014/main" id="{207B8604-540E-F594-8B3F-72C926096F17}"/>
              </a:ext>
            </a:extLst>
          </p:cNvPr>
          <p:cNvSpPr/>
          <p:nvPr/>
        </p:nvSpPr>
        <p:spPr>
          <a:xfrm>
            <a:off x="5541668" y="3712524"/>
            <a:ext cx="54277" cy="190635"/>
          </a:xfrm>
          <a:custGeom>
            <a:avLst/>
            <a:gdLst>
              <a:gd name="connsiteX0" fmla="*/ 48103 w 54277"/>
              <a:gd name="connsiteY0" fmla="*/ 103157 h 190635"/>
              <a:gd name="connsiteX1" fmla="*/ 44540 w 54277"/>
              <a:gd name="connsiteY1" fmla="*/ 190635 h 190635"/>
              <a:gd name="connsiteX2" fmla="*/ 34596 w 54277"/>
              <a:gd name="connsiteY2" fmla="*/ 190635 h 190635"/>
              <a:gd name="connsiteX3" fmla="*/ 26359 w 54277"/>
              <a:gd name="connsiteY3" fmla="*/ 190558 h 190635"/>
              <a:gd name="connsiteX4" fmla="*/ 11368 w 54277"/>
              <a:gd name="connsiteY4" fmla="*/ 104041 h 190635"/>
              <a:gd name="connsiteX5" fmla="*/ 4020 w 54277"/>
              <a:gd name="connsiteY5" fmla="*/ 52326 h 190635"/>
              <a:gd name="connsiteX6" fmla="*/ 198 w 54277"/>
              <a:gd name="connsiteY6" fmla="*/ 14665 h 190635"/>
              <a:gd name="connsiteX7" fmla="*/ 33 w 54277"/>
              <a:gd name="connsiteY7" fmla="*/ 9856 h 190635"/>
              <a:gd name="connsiteX8" fmla="*/ 7 w 54277"/>
              <a:gd name="connsiteY8" fmla="*/ 5295 h 190635"/>
              <a:gd name="connsiteX9" fmla="*/ 54277 w 54277"/>
              <a:gd name="connsiteY9" fmla="*/ 0 h 190635"/>
              <a:gd name="connsiteX10" fmla="*/ 48103 w 54277"/>
              <a:gd name="connsiteY10" fmla="*/ 103157 h 190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277" h="190635">
                <a:moveTo>
                  <a:pt x="48103" y="103157"/>
                </a:moveTo>
                <a:cubicBezTo>
                  <a:pt x="48258" y="123738"/>
                  <a:pt x="47219" y="171047"/>
                  <a:pt x="44540" y="190635"/>
                </a:cubicBezTo>
                <a:lnTo>
                  <a:pt x="34596" y="190635"/>
                </a:lnTo>
                <a:cubicBezTo>
                  <a:pt x="29099" y="190635"/>
                  <a:pt x="26359" y="190558"/>
                  <a:pt x="26359" y="190558"/>
                </a:cubicBezTo>
                <a:cubicBezTo>
                  <a:pt x="19636" y="156507"/>
                  <a:pt x="14853" y="128330"/>
                  <a:pt x="11368" y="104041"/>
                </a:cubicBezTo>
                <a:cubicBezTo>
                  <a:pt x="8513" y="84112"/>
                  <a:pt x="5974" y="67027"/>
                  <a:pt x="4020" y="52326"/>
                </a:cubicBezTo>
                <a:cubicBezTo>
                  <a:pt x="2055" y="37521"/>
                  <a:pt x="685" y="25126"/>
                  <a:pt x="198" y="14665"/>
                </a:cubicBezTo>
                <a:cubicBezTo>
                  <a:pt x="126" y="13010"/>
                  <a:pt x="64" y="11407"/>
                  <a:pt x="33" y="9856"/>
                </a:cubicBezTo>
                <a:cubicBezTo>
                  <a:pt x="2" y="8284"/>
                  <a:pt x="-8" y="6769"/>
                  <a:pt x="7" y="5295"/>
                </a:cubicBezTo>
                <a:lnTo>
                  <a:pt x="54277" y="0"/>
                </a:lnTo>
                <a:cubicBezTo>
                  <a:pt x="53595" y="36058"/>
                  <a:pt x="48015" y="91196"/>
                  <a:pt x="48103" y="103157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84" name="Freeform: Shape 2683">
            <a:extLst>
              <a:ext uri="{FF2B5EF4-FFF2-40B4-BE49-F238E27FC236}">
                <a16:creationId xmlns:a16="http://schemas.microsoft.com/office/drawing/2014/main" id="{A6CAB718-8C84-3BA2-A22C-3C06E9A66B72}"/>
              </a:ext>
            </a:extLst>
          </p:cNvPr>
          <p:cNvSpPr/>
          <p:nvPr/>
        </p:nvSpPr>
        <p:spPr>
          <a:xfrm>
            <a:off x="5541866" y="3727189"/>
            <a:ext cx="34397" cy="175970"/>
          </a:xfrm>
          <a:custGeom>
            <a:avLst/>
            <a:gdLst>
              <a:gd name="connsiteX0" fmla="*/ 34398 w 34397"/>
              <a:gd name="connsiteY0" fmla="*/ 175970 h 175970"/>
              <a:gd name="connsiteX1" fmla="*/ 26160 w 34397"/>
              <a:gd name="connsiteY1" fmla="*/ 175893 h 175970"/>
              <a:gd name="connsiteX2" fmla="*/ 11169 w 34397"/>
              <a:gd name="connsiteY2" fmla="*/ 89376 h 175970"/>
              <a:gd name="connsiteX3" fmla="*/ 3821 w 34397"/>
              <a:gd name="connsiteY3" fmla="*/ 37661 h 175970"/>
              <a:gd name="connsiteX4" fmla="*/ 0 w 34397"/>
              <a:gd name="connsiteY4" fmla="*/ 0 h 175970"/>
              <a:gd name="connsiteX5" fmla="*/ 19914 w 34397"/>
              <a:gd name="connsiteY5" fmla="*/ 11712 h 175970"/>
              <a:gd name="connsiteX6" fmla="*/ 12054 w 34397"/>
              <a:gd name="connsiteY6" fmla="*/ 50138 h 175970"/>
              <a:gd name="connsiteX7" fmla="*/ 34398 w 34397"/>
              <a:gd name="connsiteY7" fmla="*/ 175970 h 175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397" h="175970">
                <a:moveTo>
                  <a:pt x="34398" y="175970"/>
                </a:moveTo>
                <a:cubicBezTo>
                  <a:pt x="28901" y="175970"/>
                  <a:pt x="26160" y="175893"/>
                  <a:pt x="26160" y="175893"/>
                </a:cubicBezTo>
                <a:cubicBezTo>
                  <a:pt x="19438" y="141841"/>
                  <a:pt x="14655" y="113664"/>
                  <a:pt x="11169" y="89376"/>
                </a:cubicBezTo>
                <a:cubicBezTo>
                  <a:pt x="8315" y="69447"/>
                  <a:pt x="5776" y="52362"/>
                  <a:pt x="3821" y="37661"/>
                </a:cubicBezTo>
                <a:cubicBezTo>
                  <a:pt x="1856" y="22856"/>
                  <a:pt x="486" y="10461"/>
                  <a:pt x="0" y="0"/>
                </a:cubicBezTo>
                <a:lnTo>
                  <a:pt x="19914" y="11712"/>
                </a:lnTo>
                <a:cubicBezTo>
                  <a:pt x="19914" y="11712"/>
                  <a:pt x="7203" y="16196"/>
                  <a:pt x="12054" y="50138"/>
                </a:cubicBezTo>
                <a:cubicBezTo>
                  <a:pt x="16904" y="84081"/>
                  <a:pt x="27649" y="171161"/>
                  <a:pt x="34398" y="175970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85" name="Freeform: Shape 2684">
            <a:extLst>
              <a:ext uri="{FF2B5EF4-FFF2-40B4-BE49-F238E27FC236}">
                <a16:creationId xmlns:a16="http://schemas.microsoft.com/office/drawing/2014/main" id="{690D1A99-7B85-5170-D89D-29ED02F78C94}"/>
              </a:ext>
            </a:extLst>
          </p:cNvPr>
          <p:cNvSpPr/>
          <p:nvPr/>
        </p:nvSpPr>
        <p:spPr>
          <a:xfrm>
            <a:off x="5536882" y="3562895"/>
            <a:ext cx="60493" cy="176161"/>
          </a:xfrm>
          <a:custGeom>
            <a:avLst/>
            <a:gdLst>
              <a:gd name="connsiteX0" fmla="*/ 41947 w 60493"/>
              <a:gd name="connsiteY0" fmla="*/ 163958 h 176161"/>
              <a:gd name="connsiteX1" fmla="*/ 24899 w 60493"/>
              <a:gd name="connsiteY1" fmla="*/ 176006 h 176161"/>
              <a:gd name="connsiteX2" fmla="*/ 0 w 60493"/>
              <a:gd name="connsiteY2" fmla="*/ 169088 h 176161"/>
              <a:gd name="connsiteX3" fmla="*/ 5549 w 60493"/>
              <a:gd name="connsiteY3" fmla="*/ 124989 h 176161"/>
              <a:gd name="connsiteX4" fmla="*/ 21139 w 60493"/>
              <a:gd name="connsiteY4" fmla="*/ 33570 h 176161"/>
              <a:gd name="connsiteX5" fmla="*/ 32252 w 60493"/>
              <a:gd name="connsiteY5" fmla="*/ 21129 h 176161"/>
              <a:gd name="connsiteX6" fmla="*/ 42718 w 60493"/>
              <a:gd name="connsiteY6" fmla="*/ 0 h 176161"/>
              <a:gd name="connsiteX7" fmla="*/ 60465 w 60493"/>
              <a:gd name="connsiteY7" fmla="*/ 45815 h 176161"/>
              <a:gd name="connsiteX8" fmla="*/ 41947 w 60493"/>
              <a:gd name="connsiteY8" fmla="*/ 163958 h 17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493" h="176161">
                <a:moveTo>
                  <a:pt x="41947" y="163958"/>
                </a:moveTo>
                <a:cubicBezTo>
                  <a:pt x="41947" y="163958"/>
                  <a:pt x="38126" y="177770"/>
                  <a:pt x="24899" y="176006"/>
                </a:cubicBezTo>
                <a:cubicBezTo>
                  <a:pt x="11671" y="174238"/>
                  <a:pt x="0" y="169088"/>
                  <a:pt x="0" y="169088"/>
                </a:cubicBezTo>
                <a:cubicBezTo>
                  <a:pt x="0" y="169088"/>
                  <a:pt x="522" y="150994"/>
                  <a:pt x="5549" y="124989"/>
                </a:cubicBezTo>
                <a:cubicBezTo>
                  <a:pt x="14148" y="96610"/>
                  <a:pt x="16185" y="56669"/>
                  <a:pt x="21139" y="33570"/>
                </a:cubicBezTo>
                <a:cubicBezTo>
                  <a:pt x="22530" y="27096"/>
                  <a:pt x="31900" y="24997"/>
                  <a:pt x="32252" y="21129"/>
                </a:cubicBezTo>
                <a:lnTo>
                  <a:pt x="42718" y="0"/>
                </a:lnTo>
                <a:cubicBezTo>
                  <a:pt x="42718" y="0"/>
                  <a:pt x="59586" y="36554"/>
                  <a:pt x="60465" y="45815"/>
                </a:cubicBezTo>
                <a:cubicBezTo>
                  <a:pt x="61344" y="55077"/>
                  <a:pt x="41947" y="163958"/>
                  <a:pt x="41947" y="163958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86" name="Freeform: Shape 2685">
            <a:extLst>
              <a:ext uri="{FF2B5EF4-FFF2-40B4-BE49-F238E27FC236}">
                <a16:creationId xmlns:a16="http://schemas.microsoft.com/office/drawing/2014/main" id="{E905BE17-138F-604F-0944-EEC949D435D3}"/>
              </a:ext>
            </a:extLst>
          </p:cNvPr>
          <p:cNvSpPr/>
          <p:nvPr/>
        </p:nvSpPr>
        <p:spPr>
          <a:xfrm>
            <a:off x="5542430" y="3608950"/>
            <a:ext cx="27177" cy="78933"/>
          </a:xfrm>
          <a:custGeom>
            <a:avLst/>
            <a:gdLst>
              <a:gd name="connsiteX0" fmla="*/ 27153 w 27177"/>
              <a:gd name="connsiteY0" fmla="*/ 27016 h 78933"/>
              <a:gd name="connsiteX1" fmla="*/ 248 w 27177"/>
              <a:gd name="connsiteY1" fmla="*/ 78815 h 78933"/>
              <a:gd name="connsiteX2" fmla="*/ 0 w 27177"/>
              <a:gd name="connsiteY2" fmla="*/ 78934 h 78933"/>
              <a:gd name="connsiteX3" fmla="*/ 13362 w 27177"/>
              <a:gd name="connsiteY3" fmla="*/ 184 h 78933"/>
              <a:gd name="connsiteX4" fmla="*/ 27153 w 27177"/>
              <a:gd name="connsiteY4" fmla="*/ 27022 h 78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177" h="78933">
                <a:moveTo>
                  <a:pt x="27153" y="27016"/>
                </a:moveTo>
                <a:cubicBezTo>
                  <a:pt x="26558" y="42012"/>
                  <a:pt x="21320" y="67573"/>
                  <a:pt x="248" y="78815"/>
                </a:cubicBezTo>
                <a:cubicBezTo>
                  <a:pt x="165" y="78856"/>
                  <a:pt x="83" y="78897"/>
                  <a:pt x="0" y="78934"/>
                </a:cubicBezTo>
                <a:cubicBezTo>
                  <a:pt x="8512" y="50529"/>
                  <a:pt x="8398" y="23283"/>
                  <a:pt x="13362" y="184"/>
                </a:cubicBezTo>
                <a:cubicBezTo>
                  <a:pt x="24686" y="-2174"/>
                  <a:pt x="27479" y="18769"/>
                  <a:pt x="27153" y="27022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87" name="Freeform: Shape 2686">
            <a:extLst>
              <a:ext uri="{FF2B5EF4-FFF2-40B4-BE49-F238E27FC236}">
                <a16:creationId xmlns:a16="http://schemas.microsoft.com/office/drawing/2014/main" id="{4C549453-B0A2-57C5-DFA2-9CD489924C54}"/>
              </a:ext>
            </a:extLst>
          </p:cNvPr>
          <p:cNvSpPr/>
          <p:nvPr/>
        </p:nvSpPr>
        <p:spPr>
          <a:xfrm>
            <a:off x="5602197" y="3561979"/>
            <a:ext cx="48287" cy="170702"/>
          </a:xfrm>
          <a:custGeom>
            <a:avLst/>
            <a:gdLst>
              <a:gd name="connsiteX0" fmla="*/ 48282 w 48287"/>
              <a:gd name="connsiteY0" fmla="*/ 77235 h 170702"/>
              <a:gd name="connsiteX1" fmla="*/ 42149 w 48287"/>
              <a:gd name="connsiteY1" fmla="*/ 78150 h 170702"/>
              <a:gd name="connsiteX2" fmla="*/ 30504 w 48287"/>
              <a:gd name="connsiteY2" fmla="*/ 24376 h 170702"/>
              <a:gd name="connsiteX3" fmla="*/ 13088 w 48287"/>
              <a:gd name="connsiteY3" fmla="*/ 3501 h 170702"/>
              <a:gd name="connsiteX4" fmla="*/ 0 w 48287"/>
              <a:gd name="connsiteY4" fmla="*/ 0 h 170702"/>
              <a:gd name="connsiteX5" fmla="*/ 15430 w 48287"/>
              <a:gd name="connsiteY5" fmla="*/ 44528 h 170702"/>
              <a:gd name="connsiteX6" fmla="*/ 17189 w 48287"/>
              <a:gd name="connsiteY6" fmla="*/ 167081 h 170702"/>
              <a:gd name="connsiteX7" fmla="*/ 26450 w 48287"/>
              <a:gd name="connsiteY7" fmla="*/ 170163 h 170702"/>
              <a:gd name="connsiteX8" fmla="*/ 39233 w 48287"/>
              <a:gd name="connsiteY8" fmla="*/ 165752 h 170702"/>
              <a:gd name="connsiteX9" fmla="*/ 32774 w 48287"/>
              <a:gd name="connsiteY9" fmla="*/ 105039 h 170702"/>
              <a:gd name="connsiteX10" fmla="*/ 48287 w 48287"/>
              <a:gd name="connsiteY10" fmla="*/ 99589 h 170702"/>
              <a:gd name="connsiteX11" fmla="*/ 48287 w 48287"/>
              <a:gd name="connsiteY11" fmla="*/ 77235 h 17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8287" h="170702">
                <a:moveTo>
                  <a:pt x="48282" y="77235"/>
                </a:moveTo>
                <a:cubicBezTo>
                  <a:pt x="45298" y="77943"/>
                  <a:pt x="43013" y="78341"/>
                  <a:pt x="42149" y="78150"/>
                </a:cubicBezTo>
                <a:cubicBezTo>
                  <a:pt x="38509" y="77343"/>
                  <a:pt x="33312" y="37893"/>
                  <a:pt x="30504" y="24376"/>
                </a:cubicBezTo>
                <a:cubicBezTo>
                  <a:pt x="26884" y="6965"/>
                  <a:pt x="13088" y="3501"/>
                  <a:pt x="13088" y="3501"/>
                </a:cubicBezTo>
                <a:lnTo>
                  <a:pt x="0" y="0"/>
                </a:lnTo>
                <a:cubicBezTo>
                  <a:pt x="0" y="0"/>
                  <a:pt x="14991" y="37030"/>
                  <a:pt x="15430" y="44528"/>
                </a:cubicBezTo>
                <a:cubicBezTo>
                  <a:pt x="15870" y="52021"/>
                  <a:pt x="17189" y="167081"/>
                  <a:pt x="17189" y="167081"/>
                </a:cubicBezTo>
                <a:cubicBezTo>
                  <a:pt x="17189" y="167081"/>
                  <a:pt x="16309" y="172371"/>
                  <a:pt x="26450" y="170163"/>
                </a:cubicBezTo>
                <a:cubicBezTo>
                  <a:pt x="36590" y="167966"/>
                  <a:pt x="39233" y="165752"/>
                  <a:pt x="39233" y="165752"/>
                </a:cubicBezTo>
                <a:cubicBezTo>
                  <a:pt x="39233" y="165752"/>
                  <a:pt x="34837" y="133588"/>
                  <a:pt x="32774" y="105039"/>
                </a:cubicBezTo>
                <a:cubicBezTo>
                  <a:pt x="36151" y="104460"/>
                  <a:pt x="41978" y="102273"/>
                  <a:pt x="48287" y="99589"/>
                </a:cubicBezTo>
                <a:lnTo>
                  <a:pt x="48287" y="77235"/>
                </a:ln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88" name="Freeform: Shape 2687">
            <a:extLst>
              <a:ext uri="{FF2B5EF4-FFF2-40B4-BE49-F238E27FC236}">
                <a16:creationId xmlns:a16="http://schemas.microsoft.com/office/drawing/2014/main" id="{5798F95A-14F1-21A4-34C9-FCF423085C70}"/>
              </a:ext>
            </a:extLst>
          </p:cNvPr>
          <p:cNvSpPr/>
          <p:nvPr/>
        </p:nvSpPr>
        <p:spPr>
          <a:xfrm>
            <a:off x="5606830" y="3508822"/>
            <a:ext cx="13970" cy="24840"/>
          </a:xfrm>
          <a:custGeom>
            <a:avLst/>
            <a:gdLst>
              <a:gd name="connsiteX0" fmla="*/ 0 w 13970"/>
              <a:gd name="connsiteY0" fmla="*/ 4420 h 24840"/>
              <a:gd name="connsiteX1" fmla="*/ 12700 w 13970"/>
              <a:gd name="connsiteY1" fmla="*/ 24840 h 24840"/>
              <a:gd name="connsiteX2" fmla="*/ 10425 w 13970"/>
              <a:gd name="connsiteY2" fmla="*/ 3344 h 24840"/>
              <a:gd name="connsiteX3" fmla="*/ 0 w 13970"/>
              <a:gd name="connsiteY3" fmla="*/ 4420 h 24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970" h="24840">
                <a:moveTo>
                  <a:pt x="0" y="4420"/>
                </a:moveTo>
                <a:cubicBezTo>
                  <a:pt x="13450" y="12306"/>
                  <a:pt x="9220" y="17679"/>
                  <a:pt x="12700" y="24840"/>
                </a:cubicBezTo>
                <a:cubicBezTo>
                  <a:pt x="12700" y="24840"/>
                  <a:pt x="16733" y="10982"/>
                  <a:pt x="10425" y="3344"/>
                </a:cubicBezTo>
                <a:cubicBezTo>
                  <a:pt x="3733" y="-4764"/>
                  <a:pt x="0" y="4420"/>
                  <a:pt x="0" y="4420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89" name="Freeform: Shape 2688">
            <a:extLst>
              <a:ext uri="{FF2B5EF4-FFF2-40B4-BE49-F238E27FC236}">
                <a16:creationId xmlns:a16="http://schemas.microsoft.com/office/drawing/2014/main" id="{89BBAF03-BAB2-9A26-D87E-9E832D5E66C9}"/>
              </a:ext>
            </a:extLst>
          </p:cNvPr>
          <p:cNvSpPr/>
          <p:nvPr/>
        </p:nvSpPr>
        <p:spPr>
          <a:xfrm>
            <a:off x="5609845" y="3509737"/>
            <a:ext cx="3961" cy="7295"/>
          </a:xfrm>
          <a:custGeom>
            <a:avLst/>
            <a:gdLst>
              <a:gd name="connsiteX0" fmla="*/ 3713 w 3961"/>
              <a:gd name="connsiteY0" fmla="*/ 522 h 7295"/>
              <a:gd name="connsiteX1" fmla="*/ 0 w 3961"/>
              <a:gd name="connsiteY1" fmla="*/ 1039 h 7295"/>
              <a:gd name="connsiteX2" fmla="*/ 3961 w 3961"/>
              <a:gd name="connsiteY2" fmla="*/ 7296 h 7295"/>
              <a:gd name="connsiteX3" fmla="*/ 3708 w 3961"/>
              <a:gd name="connsiteY3" fmla="*/ 516 h 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1" h="7295">
                <a:moveTo>
                  <a:pt x="3713" y="522"/>
                </a:moveTo>
                <a:cubicBezTo>
                  <a:pt x="1929" y="-316"/>
                  <a:pt x="688" y="-145"/>
                  <a:pt x="0" y="1039"/>
                </a:cubicBezTo>
                <a:cubicBezTo>
                  <a:pt x="460" y="3857"/>
                  <a:pt x="1784" y="5941"/>
                  <a:pt x="3961" y="7296"/>
                </a:cubicBezTo>
                <a:cubicBezTo>
                  <a:pt x="3237" y="6070"/>
                  <a:pt x="3154" y="3810"/>
                  <a:pt x="3708" y="516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90" name="Freeform: Shape 2689">
            <a:extLst>
              <a:ext uri="{FF2B5EF4-FFF2-40B4-BE49-F238E27FC236}">
                <a16:creationId xmlns:a16="http://schemas.microsoft.com/office/drawing/2014/main" id="{AAA4E56C-1CCB-AA21-564C-2B523D216FBB}"/>
              </a:ext>
            </a:extLst>
          </p:cNvPr>
          <p:cNvSpPr/>
          <p:nvPr/>
        </p:nvSpPr>
        <p:spPr>
          <a:xfrm>
            <a:off x="5587842" y="3498547"/>
            <a:ext cx="8846" cy="6292"/>
          </a:xfrm>
          <a:custGeom>
            <a:avLst/>
            <a:gdLst>
              <a:gd name="connsiteX0" fmla="*/ 5729 w 8846"/>
              <a:gd name="connsiteY0" fmla="*/ 6292 h 6292"/>
              <a:gd name="connsiteX1" fmla="*/ 8791 w 8846"/>
              <a:gd name="connsiteY1" fmla="*/ 2796 h 6292"/>
              <a:gd name="connsiteX2" fmla="*/ 0 w 8846"/>
              <a:gd name="connsiteY2" fmla="*/ 133 h 6292"/>
              <a:gd name="connsiteX3" fmla="*/ 5729 w 8846"/>
              <a:gd name="connsiteY3" fmla="*/ 6292 h 6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46" h="6292">
                <a:moveTo>
                  <a:pt x="5729" y="6292"/>
                </a:moveTo>
                <a:cubicBezTo>
                  <a:pt x="8087" y="5635"/>
                  <a:pt x="9106" y="4467"/>
                  <a:pt x="8791" y="2796"/>
                </a:cubicBezTo>
                <a:cubicBezTo>
                  <a:pt x="6076" y="526"/>
                  <a:pt x="3144" y="-363"/>
                  <a:pt x="0" y="133"/>
                </a:cubicBezTo>
                <a:cubicBezTo>
                  <a:pt x="1675" y="697"/>
                  <a:pt x="3584" y="2750"/>
                  <a:pt x="5729" y="6292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91" name="Freeform: Shape 2690">
            <a:extLst>
              <a:ext uri="{FF2B5EF4-FFF2-40B4-BE49-F238E27FC236}">
                <a16:creationId xmlns:a16="http://schemas.microsoft.com/office/drawing/2014/main" id="{248115EB-6DE4-E57E-1254-31625F8EB488}"/>
              </a:ext>
            </a:extLst>
          </p:cNvPr>
          <p:cNvSpPr/>
          <p:nvPr/>
        </p:nvSpPr>
        <p:spPr>
          <a:xfrm>
            <a:off x="5579336" y="3526729"/>
            <a:ext cx="7580" cy="15140"/>
          </a:xfrm>
          <a:custGeom>
            <a:avLst/>
            <a:gdLst>
              <a:gd name="connsiteX0" fmla="*/ 0 w 7580"/>
              <a:gd name="connsiteY0" fmla="*/ 2569 h 15140"/>
              <a:gd name="connsiteX1" fmla="*/ 7146 w 7580"/>
              <a:gd name="connsiteY1" fmla="*/ 966 h 15140"/>
              <a:gd name="connsiteX2" fmla="*/ 4209 w 7580"/>
              <a:gd name="connsiteY2" fmla="*/ 15140 h 15140"/>
              <a:gd name="connsiteX3" fmla="*/ 0 w 7580"/>
              <a:gd name="connsiteY3" fmla="*/ 2569 h 15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80" h="15140">
                <a:moveTo>
                  <a:pt x="0" y="2569"/>
                </a:moveTo>
                <a:cubicBezTo>
                  <a:pt x="2684" y="-192"/>
                  <a:pt x="5068" y="-730"/>
                  <a:pt x="7146" y="966"/>
                </a:cubicBezTo>
                <a:cubicBezTo>
                  <a:pt x="8243" y="6437"/>
                  <a:pt x="7260" y="11159"/>
                  <a:pt x="4209" y="15140"/>
                </a:cubicBezTo>
                <a:cubicBezTo>
                  <a:pt x="4690" y="12400"/>
                  <a:pt x="3284" y="8206"/>
                  <a:pt x="0" y="2569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92" name="Freeform: Shape 2691">
            <a:extLst>
              <a:ext uri="{FF2B5EF4-FFF2-40B4-BE49-F238E27FC236}">
                <a16:creationId xmlns:a16="http://schemas.microsoft.com/office/drawing/2014/main" id="{093850EE-8756-507C-A635-A1C3EBF5EF26}"/>
              </a:ext>
            </a:extLst>
          </p:cNvPr>
          <p:cNvSpPr/>
          <p:nvPr/>
        </p:nvSpPr>
        <p:spPr>
          <a:xfrm>
            <a:off x="5614431" y="3514300"/>
            <a:ext cx="5493" cy="25692"/>
          </a:xfrm>
          <a:custGeom>
            <a:avLst/>
            <a:gdLst>
              <a:gd name="connsiteX0" fmla="*/ 0 w 5493"/>
              <a:gd name="connsiteY0" fmla="*/ 5779 h 25692"/>
              <a:gd name="connsiteX1" fmla="*/ 4545 w 5493"/>
              <a:gd name="connsiteY1" fmla="*/ 980 h 25692"/>
              <a:gd name="connsiteX2" fmla="*/ 4240 w 5493"/>
              <a:gd name="connsiteY2" fmla="*/ 25692 h 25692"/>
              <a:gd name="connsiteX3" fmla="*/ 0 w 5493"/>
              <a:gd name="connsiteY3" fmla="*/ 5784 h 25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3" h="25692">
                <a:moveTo>
                  <a:pt x="0" y="5779"/>
                </a:moveTo>
                <a:cubicBezTo>
                  <a:pt x="1458" y="339"/>
                  <a:pt x="2973" y="-1259"/>
                  <a:pt x="4545" y="980"/>
                </a:cubicBezTo>
                <a:cubicBezTo>
                  <a:pt x="5905" y="9859"/>
                  <a:pt x="5802" y="18096"/>
                  <a:pt x="4240" y="25692"/>
                </a:cubicBezTo>
                <a:cubicBezTo>
                  <a:pt x="4240" y="20940"/>
                  <a:pt x="2829" y="14300"/>
                  <a:pt x="0" y="5784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93" name="Freeform: Shape 2692">
            <a:extLst>
              <a:ext uri="{FF2B5EF4-FFF2-40B4-BE49-F238E27FC236}">
                <a16:creationId xmlns:a16="http://schemas.microsoft.com/office/drawing/2014/main" id="{1DFA3199-462F-B94D-A338-238C4D87EE99}"/>
              </a:ext>
            </a:extLst>
          </p:cNvPr>
          <p:cNvSpPr/>
          <p:nvPr/>
        </p:nvSpPr>
        <p:spPr>
          <a:xfrm>
            <a:off x="5601411" y="3509988"/>
            <a:ext cx="20440" cy="21011"/>
          </a:xfrm>
          <a:custGeom>
            <a:avLst/>
            <a:gdLst>
              <a:gd name="connsiteX0" fmla="*/ 393 w 20440"/>
              <a:gd name="connsiteY0" fmla="*/ 4583 h 21011"/>
              <a:gd name="connsiteX1" fmla="*/ 6577 w 20440"/>
              <a:gd name="connsiteY1" fmla="*/ 550 h 21011"/>
              <a:gd name="connsiteX2" fmla="*/ 20441 w 20440"/>
              <a:gd name="connsiteY2" fmla="*/ 21011 h 21011"/>
              <a:gd name="connsiteX3" fmla="*/ 393 w 20440"/>
              <a:gd name="connsiteY3" fmla="*/ 4588 h 21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0" h="21011">
                <a:moveTo>
                  <a:pt x="393" y="4583"/>
                </a:moveTo>
                <a:cubicBezTo>
                  <a:pt x="-1515" y="-712"/>
                  <a:pt x="4013" y="-392"/>
                  <a:pt x="6577" y="550"/>
                </a:cubicBezTo>
                <a:cubicBezTo>
                  <a:pt x="12767" y="7065"/>
                  <a:pt x="17385" y="13886"/>
                  <a:pt x="20441" y="21011"/>
                </a:cubicBezTo>
                <a:cubicBezTo>
                  <a:pt x="15709" y="16921"/>
                  <a:pt x="-104" y="9268"/>
                  <a:pt x="393" y="4588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94" name="Freeform: Shape 2693">
            <a:extLst>
              <a:ext uri="{FF2B5EF4-FFF2-40B4-BE49-F238E27FC236}">
                <a16:creationId xmlns:a16="http://schemas.microsoft.com/office/drawing/2014/main" id="{5FE73E47-1C45-E153-A2C2-3313243FE614}"/>
              </a:ext>
            </a:extLst>
          </p:cNvPr>
          <p:cNvSpPr/>
          <p:nvPr/>
        </p:nvSpPr>
        <p:spPr>
          <a:xfrm>
            <a:off x="5592810" y="3498010"/>
            <a:ext cx="3445" cy="6292"/>
          </a:xfrm>
          <a:custGeom>
            <a:avLst/>
            <a:gdLst>
              <a:gd name="connsiteX0" fmla="*/ 1216 w 3445"/>
              <a:gd name="connsiteY0" fmla="*/ 6292 h 6292"/>
              <a:gd name="connsiteX1" fmla="*/ 22 w 3445"/>
              <a:gd name="connsiteY1" fmla="*/ 2796 h 6292"/>
              <a:gd name="connsiteX2" fmla="*/ 3445 w 3445"/>
              <a:gd name="connsiteY2" fmla="*/ 133 h 6292"/>
              <a:gd name="connsiteX3" fmla="*/ 1216 w 3445"/>
              <a:gd name="connsiteY3" fmla="*/ 6292 h 6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5" h="6292">
                <a:moveTo>
                  <a:pt x="1216" y="6292"/>
                </a:moveTo>
                <a:cubicBezTo>
                  <a:pt x="301" y="5635"/>
                  <a:pt x="-102" y="4467"/>
                  <a:pt x="22" y="2796"/>
                </a:cubicBezTo>
                <a:cubicBezTo>
                  <a:pt x="1082" y="526"/>
                  <a:pt x="2220" y="-363"/>
                  <a:pt x="3445" y="133"/>
                </a:cubicBezTo>
                <a:cubicBezTo>
                  <a:pt x="2794" y="697"/>
                  <a:pt x="2054" y="2750"/>
                  <a:pt x="1216" y="6292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95" name="Freeform: Shape 2694">
            <a:extLst>
              <a:ext uri="{FF2B5EF4-FFF2-40B4-BE49-F238E27FC236}">
                <a16:creationId xmlns:a16="http://schemas.microsoft.com/office/drawing/2014/main" id="{51C1E1B4-582B-66C4-A7CA-EFD76A25F87B}"/>
              </a:ext>
            </a:extLst>
          </p:cNvPr>
          <p:cNvSpPr/>
          <p:nvPr/>
        </p:nvSpPr>
        <p:spPr>
          <a:xfrm>
            <a:off x="5594432" y="3568877"/>
            <a:ext cx="5441" cy="7716"/>
          </a:xfrm>
          <a:custGeom>
            <a:avLst/>
            <a:gdLst>
              <a:gd name="connsiteX0" fmla="*/ 2062 w 5441"/>
              <a:gd name="connsiteY0" fmla="*/ 27 h 7716"/>
              <a:gd name="connsiteX1" fmla="*/ 5361 w 5441"/>
              <a:gd name="connsiteY1" fmla="*/ 3403 h 7716"/>
              <a:gd name="connsiteX2" fmla="*/ 3380 w 5441"/>
              <a:gd name="connsiteY2" fmla="*/ 7690 h 7716"/>
              <a:gd name="connsiteX3" fmla="*/ 81 w 5441"/>
              <a:gd name="connsiteY3" fmla="*/ 4313 h 7716"/>
              <a:gd name="connsiteX4" fmla="*/ 2062 w 5441"/>
              <a:gd name="connsiteY4" fmla="*/ 32 h 7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1" h="7716">
                <a:moveTo>
                  <a:pt x="2062" y="27"/>
                </a:moveTo>
                <a:cubicBezTo>
                  <a:pt x="3520" y="-222"/>
                  <a:pt x="4994" y="1288"/>
                  <a:pt x="5361" y="3403"/>
                </a:cubicBezTo>
                <a:cubicBezTo>
                  <a:pt x="5723" y="5518"/>
                  <a:pt x="4838" y="7437"/>
                  <a:pt x="3380" y="7690"/>
                </a:cubicBezTo>
                <a:cubicBezTo>
                  <a:pt x="1922" y="7938"/>
                  <a:pt x="448" y="6428"/>
                  <a:pt x="81" y="4313"/>
                </a:cubicBezTo>
                <a:cubicBezTo>
                  <a:pt x="-281" y="2199"/>
                  <a:pt x="603" y="280"/>
                  <a:pt x="2062" y="32"/>
                </a:cubicBezTo>
                <a:close/>
              </a:path>
            </a:pathLst>
          </a:custGeom>
          <a:solidFill>
            <a:srgbClr val="4F8DC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96" name="Freeform: Shape 2695">
            <a:extLst>
              <a:ext uri="{FF2B5EF4-FFF2-40B4-BE49-F238E27FC236}">
                <a16:creationId xmlns:a16="http://schemas.microsoft.com/office/drawing/2014/main" id="{3A35DB87-D413-E7D8-8433-A903279F103E}"/>
              </a:ext>
            </a:extLst>
          </p:cNvPr>
          <p:cNvSpPr/>
          <p:nvPr/>
        </p:nvSpPr>
        <p:spPr>
          <a:xfrm>
            <a:off x="5596868" y="3575371"/>
            <a:ext cx="3356" cy="4754"/>
          </a:xfrm>
          <a:custGeom>
            <a:avLst/>
            <a:gdLst>
              <a:gd name="connsiteX0" fmla="*/ 1275 w 3356"/>
              <a:gd name="connsiteY0" fmla="*/ 17 h 4754"/>
              <a:gd name="connsiteX1" fmla="*/ 3307 w 3356"/>
              <a:gd name="connsiteY1" fmla="*/ 2101 h 4754"/>
              <a:gd name="connsiteX2" fmla="*/ 2082 w 3356"/>
              <a:gd name="connsiteY2" fmla="*/ 4738 h 4754"/>
              <a:gd name="connsiteX3" fmla="*/ 49 w 3356"/>
              <a:gd name="connsiteY3" fmla="*/ 2659 h 4754"/>
              <a:gd name="connsiteX4" fmla="*/ 1275 w 3356"/>
              <a:gd name="connsiteY4" fmla="*/ 17 h 4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6" h="4754">
                <a:moveTo>
                  <a:pt x="1275" y="17"/>
                </a:moveTo>
                <a:cubicBezTo>
                  <a:pt x="2175" y="-138"/>
                  <a:pt x="3085" y="798"/>
                  <a:pt x="3307" y="2101"/>
                </a:cubicBezTo>
                <a:cubicBezTo>
                  <a:pt x="3530" y="3404"/>
                  <a:pt x="2981" y="4583"/>
                  <a:pt x="2082" y="4738"/>
                </a:cubicBezTo>
                <a:cubicBezTo>
                  <a:pt x="1187" y="4893"/>
                  <a:pt x="277" y="3962"/>
                  <a:pt x="49" y="2659"/>
                </a:cubicBezTo>
                <a:cubicBezTo>
                  <a:pt x="-173" y="1351"/>
                  <a:pt x="375" y="172"/>
                  <a:pt x="1275" y="17"/>
                </a:cubicBezTo>
                <a:close/>
              </a:path>
            </a:pathLst>
          </a:custGeom>
          <a:solidFill>
            <a:srgbClr val="4F8DC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97" name="Freeform: Shape 2696">
            <a:extLst>
              <a:ext uri="{FF2B5EF4-FFF2-40B4-BE49-F238E27FC236}">
                <a16:creationId xmlns:a16="http://schemas.microsoft.com/office/drawing/2014/main" id="{70D51AC5-68D5-B18E-8FD7-D0EABA01819B}"/>
              </a:ext>
            </a:extLst>
          </p:cNvPr>
          <p:cNvSpPr/>
          <p:nvPr/>
        </p:nvSpPr>
        <p:spPr>
          <a:xfrm>
            <a:off x="5597897" y="3579433"/>
            <a:ext cx="2942" cy="4176"/>
          </a:xfrm>
          <a:custGeom>
            <a:avLst/>
            <a:gdLst>
              <a:gd name="connsiteX0" fmla="*/ 1114 w 2942"/>
              <a:gd name="connsiteY0" fmla="*/ 14 h 4176"/>
              <a:gd name="connsiteX1" fmla="*/ 2898 w 2942"/>
              <a:gd name="connsiteY1" fmla="*/ 1845 h 4176"/>
              <a:gd name="connsiteX2" fmla="*/ 1828 w 2942"/>
              <a:gd name="connsiteY2" fmla="*/ 4162 h 4176"/>
              <a:gd name="connsiteX3" fmla="*/ 44 w 2942"/>
              <a:gd name="connsiteY3" fmla="*/ 2336 h 4176"/>
              <a:gd name="connsiteX4" fmla="*/ 1114 w 2942"/>
              <a:gd name="connsiteY4" fmla="*/ 14 h 4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42" h="4176">
                <a:moveTo>
                  <a:pt x="1114" y="14"/>
                </a:moveTo>
                <a:cubicBezTo>
                  <a:pt x="1906" y="-120"/>
                  <a:pt x="2702" y="697"/>
                  <a:pt x="2898" y="1845"/>
                </a:cubicBezTo>
                <a:cubicBezTo>
                  <a:pt x="3095" y="2988"/>
                  <a:pt x="2614" y="4027"/>
                  <a:pt x="1828" y="4162"/>
                </a:cubicBezTo>
                <a:cubicBezTo>
                  <a:pt x="1037" y="4296"/>
                  <a:pt x="240" y="3479"/>
                  <a:pt x="44" y="2336"/>
                </a:cubicBezTo>
                <a:cubicBezTo>
                  <a:pt x="-153" y="1193"/>
                  <a:pt x="328" y="154"/>
                  <a:pt x="1114" y="14"/>
                </a:cubicBezTo>
                <a:close/>
              </a:path>
            </a:pathLst>
          </a:custGeom>
          <a:solidFill>
            <a:srgbClr val="4F8DC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98" name="Freeform: Shape 2697">
            <a:extLst>
              <a:ext uri="{FF2B5EF4-FFF2-40B4-BE49-F238E27FC236}">
                <a16:creationId xmlns:a16="http://schemas.microsoft.com/office/drawing/2014/main" id="{E672B944-4506-7C99-D5F5-4F5ACC7EB29F}"/>
              </a:ext>
            </a:extLst>
          </p:cNvPr>
          <p:cNvSpPr/>
          <p:nvPr/>
        </p:nvSpPr>
        <p:spPr>
          <a:xfrm>
            <a:off x="5540323" y="3574426"/>
            <a:ext cx="84035" cy="102831"/>
          </a:xfrm>
          <a:custGeom>
            <a:avLst/>
            <a:gdLst>
              <a:gd name="connsiteX0" fmla="*/ 1911 w 84035"/>
              <a:gd name="connsiteY0" fmla="*/ 36099 h 102831"/>
              <a:gd name="connsiteX1" fmla="*/ 22978 w 84035"/>
              <a:gd name="connsiteY1" fmla="*/ 0 h 102831"/>
              <a:gd name="connsiteX2" fmla="*/ 19529 w 84035"/>
              <a:gd name="connsiteY2" fmla="*/ 81201 h 102831"/>
              <a:gd name="connsiteX3" fmla="*/ 57505 w 84035"/>
              <a:gd name="connsiteY3" fmla="*/ 56214 h 102831"/>
              <a:gd name="connsiteX4" fmla="*/ 68938 w 84035"/>
              <a:gd name="connsiteY4" fmla="*/ 56685 h 102831"/>
              <a:gd name="connsiteX5" fmla="*/ 83913 w 84035"/>
              <a:gd name="connsiteY5" fmla="*/ 62078 h 102831"/>
              <a:gd name="connsiteX6" fmla="*/ 71461 w 84035"/>
              <a:gd name="connsiteY6" fmla="*/ 61297 h 102831"/>
              <a:gd name="connsiteX7" fmla="*/ 59956 w 84035"/>
              <a:gd name="connsiteY7" fmla="*/ 66412 h 102831"/>
              <a:gd name="connsiteX8" fmla="*/ 3959 w 84035"/>
              <a:gd name="connsiteY8" fmla="*/ 100877 h 102831"/>
              <a:gd name="connsiteX9" fmla="*/ 256 w 84035"/>
              <a:gd name="connsiteY9" fmla="*/ 78083 h 102831"/>
              <a:gd name="connsiteX10" fmla="*/ 1911 w 84035"/>
              <a:gd name="connsiteY10" fmla="*/ 36094 h 10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035" h="102831">
                <a:moveTo>
                  <a:pt x="1911" y="36099"/>
                </a:moveTo>
                <a:cubicBezTo>
                  <a:pt x="6006" y="14603"/>
                  <a:pt x="13029" y="2570"/>
                  <a:pt x="22978" y="0"/>
                </a:cubicBezTo>
                <a:cubicBezTo>
                  <a:pt x="19725" y="50940"/>
                  <a:pt x="17171" y="80027"/>
                  <a:pt x="19529" y="81201"/>
                </a:cubicBezTo>
                <a:cubicBezTo>
                  <a:pt x="45063" y="65238"/>
                  <a:pt x="57505" y="56214"/>
                  <a:pt x="57505" y="56214"/>
                </a:cubicBezTo>
                <a:cubicBezTo>
                  <a:pt x="61569" y="53867"/>
                  <a:pt x="65597" y="54725"/>
                  <a:pt x="68938" y="56685"/>
                </a:cubicBezTo>
                <a:cubicBezTo>
                  <a:pt x="78918" y="60279"/>
                  <a:pt x="83913" y="62078"/>
                  <a:pt x="83913" y="62078"/>
                </a:cubicBezTo>
                <a:cubicBezTo>
                  <a:pt x="84895" y="64622"/>
                  <a:pt x="79900" y="63293"/>
                  <a:pt x="71461" y="61297"/>
                </a:cubicBezTo>
                <a:cubicBezTo>
                  <a:pt x="70722" y="65315"/>
                  <a:pt x="63922" y="69597"/>
                  <a:pt x="59956" y="66412"/>
                </a:cubicBezTo>
                <a:cubicBezTo>
                  <a:pt x="50746" y="72431"/>
                  <a:pt x="14389" y="111979"/>
                  <a:pt x="3959" y="100877"/>
                </a:cubicBezTo>
                <a:cubicBezTo>
                  <a:pt x="266" y="96941"/>
                  <a:pt x="530" y="89950"/>
                  <a:pt x="256" y="78083"/>
                </a:cubicBezTo>
                <a:cubicBezTo>
                  <a:pt x="8" y="67244"/>
                  <a:pt x="-628" y="53205"/>
                  <a:pt x="1911" y="36094"/>
                </a:cubicBezTo>
                <a:close/>
              </a:path>
            </a:pathLst>
          </a:custGeom>
          <a:solidFill>
            <a:srgbClr val="FFB17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99" name="Freeform: Shape 2698">
            <a:extLst>
              <a:ext uri="{FF2B5EF4-FFF2-40B4-BE49-F238E27FC236}">
                <a16:creationId xmlns:a16="http://schemas.microsoft.com/office/drawing/2014/main" id="{BA76FE47-4395-26AA-EBFA-27368D85E97F}"/>
              </a:ext>
            </a:extLst>
          </p:cNvPr>
          <p:cNvSpPr/>
          <p:nvPr/>
        </p:nvSpPr>
        <p:spPr>
          <a:xfrm>
            <a:off x="5538942" y="3562890"/>
            <a:ext cx="61353" cy="114789"/>
          </a:xfrm>
          <a:custGeom>
            <a:avLst/>
            <a:gdLst>
              <a:gd name="connsiteX0" fmla="*/ 40657 w 61353"/>
              <a:gd name="connsiteY0" fmla="*/ 0 h 114789"/>
              <a:gd name="connsiteX1" fmla="*/ 16281 w 61353"/>
              <a:gd name="connsiteY1" fmla="*/ 11516 h 114789"/>
              <a:gd name="connsiteX2" fmla="*/ 7035 w 61353"/>
              <a:gd name="connsiteY2" fmla="*/ 26719 h 114789"/>
              <a:gd name="connsiteX3" fmla="*/ 302 w 61353"/>
              <a:gd name="connsiteY3" fmla="*/ 73863 h 114789"/>
              <a:gd name="connsiteX4" fmla="*/ 8080 w 61353"/>
              <a:gd name="connsiteY4" fmla="*/ 114507 h 114789"/>
              <a:gd name="connsiteX5" fmla="*/ 61026 w 61353"/>
              <a:gd name="connsiteY5" fmla="*/ 79665 h 114789"/>
              <a:gd name="connsiteX6" fmla="*/ 60648 w 61353"/>
              <a:gd name="connsiteY6" fmla="*/ 74003 h 114789"/>
              <a:gd name="connsiteX7" fmla="*/ 56170 w 61353"/>
              <a:gd name="connsiteY7" fmla="*/ 67797 h 114789"/>
              <a:gd name="connsiteX8" fmla="*/ 22026 w 61353"/>
              <a:gd name="connsiteY8" fmla="*/ 90229 h 114789"/>
              <a:gd name="connsiteX9" fmla="*/ 23474 w 61353"/>
              <a:gd name="connsiteY9" fmla="*/ 69980 h 114789"/>
              <a:gd name="connsiteX10" fmla="*/ 40264 w 61353"/>
              <a:gd name="connsiteY10" fmla="*/ 36901 h 114789"/>
              <a:gd name="connsiteX11" fmla="*/ 40652 w 61353"/>
              <a:gd name="connsiteY11" fmla="*/ 0 h 11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1353" h="114789">
                <a:moveTo>
                  <a:pt x="40657" y="0"/>
                </a:moveTo>
                <a:cubicBezTo>
                  <a:pt x="40657" y="0"/>
                  <a:pt x="20180" y="5740"/>
                  <a:pt x="16281" y="11516"/>
                </a:cubicBezTo>
                <a:cubicBezTo>
                  <a:pt x="14962" y="13471"/>
                  <a:pt x="10076" y="18187"/>
                  <a:pt x="7035" y="26719"/>
                </a:cubicBezTo>
                <a:cubicBezTo>
                  <a:pt x="1104" y="43385"/>
                  <a:pt x="-815" y="67601"/>
                  <a:pt x="302" y="73863"/>
                </a:cubicBezTo>
                <a:cubicBezTo>
                  <a:pt x="1507" y="95649"/>
                  <a:pt x="-1058" y="111684"/>
                  <a:pt x="8080" y="114507"/>
                </a:cubicBezTo>
                <a:cubicBezTo>
                  <a:pt x="18773" y="117812"/>
                  <a:pt x="49138" y="91196"/>
                  <a:pt x="61026" y="79665"/>
                </a:cubicBezTo>
                <a:cubicBezTo>
                  <a:pt x="61910" y="78807"/>
                  <a:pt x="60736" y="75176"/>
                  <a:pt x="60648" y="74003"/>
                </a:cubicBezTo>
                <a:cubicBezTo>
                  <a:pt x="60648" y="74003"/>
                  <a:pt x="60162" y="64684"/>
                  <a:pt x="56170" y="67797"/>
                </a:cubicBezTo>
                <a:cubicBezTo>
                  <a:pt x="50327" y="72363"/>
                  <a:pt x="32120" y="80834"/>
                  <a:pt x="22026" y="90229"/>
                </a:cubicBezTo>
                <a:cubicBezTo>
                  <a:pt x="17936" y="94040"/>
                  <a:pt x="23148" y="70698"/>
                  <a:pt x="23474" y="69980"/>
                </a:cubicBezTo>
                <a:cubicBezTo>
                  <a:pt x="24156" y="68464"/>
                  <a:pt x="36789" y="32360"/>
                  <a:pt x="40264" y="36901"/>
                </a:cubicBezTo>
                <a:cubicBezTo>
                  <a:pt x="43258" y="40820"/>
                  <a:pt x="40652" y="0"/>
                  <a:pt x="40652" y="0"/>
                </a:cubicBezTo>
                <a:close/>
              </a:path>
            </a:pathLst>
          </a:custGeom>
          <a:solidFill>
            <a:schemeClr val="accent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00" name="Freeform: Shape 2699">
            <a:extLst>
              <a:ext uri="{FF2B5EF4-FFF2-40B4-BE49-F238E27FC236}">
                <a16:creationId xmlns:a16="http://schemas.microsoft.com/office/drawing/2014/main" id="{8D3992F0-7E8C-FC7F-B8E5-41A3D707DB16}"/>
              </a:ext>
            </a:extLst>
          </p:cNvPr>
          <p:cNvSpPr/>
          <p:nvPr/>
        </p:nvSpPr>
        <p:spPr>
          <a:xfrm>
            <a:off x="5544620" y="3651661"/>
            <a:ext cx="45476" cy="28078"/>
          </a:xfrm>
          <a:custGeom>
            <a:avLst/>
            <a:gdLst>
              <a:gd name="connsiteX0" fmla="*/ 12579 w 45476"/>
              <a:gd name="connsiteY0" fmla="*/ 23440 h 28078"/>
              <a:gd name="connsiteX1" fmla="*/ 2407 w 45476"/>
              <a:gd name="connsiteY1" fmla="*/ 25736 h 28078"/>
              <a:gd name="connsiteX2" fmla="*/ 763 w 45476"/>
              <a:gd name="connsiteY2" fmla="*/ 25017 h 28078"/>
              <a:gd name="connsiteX3" fmla="*/ 737 w 45476"/>
              <a:gd name="connsiteY3" fmla="*/ 25002 h 28078"/>
              <a:gd name="connsiteX4" fmla="*/ 8 w 45476"/>
              <a:gd name="connsiteY4" fmla="*/ 24506 h 28078"/>
              <a:gd name="connsiteX5" fmla="*/ 670 w 45476"/>
              <a:gd name="connsiteY5" fmla="*/ 25297 h 28078"/>
              <a:gd name="connsiteX6" fmla="*/ 696 w 45476"/>
              <a:gd name="connsiteY6" fmla="*/ 25317 h 28078"/>
              <a:gd name="connsiteX7" fmla="*/ 9936 w 45476"/>
              <a:gd name="connsiteY7" fmla="*/ 27308 h 28078"/>
              <a:gd name="connsiteX8" fmla="*/ 45477 w 45476"/>
              <a:gd name="connsiteY8" fmla="*/ 0 h 28078"/>
              <a:gd name="connsiteX9" fmla="*/ 12579 w 45476"/>
              <a:gd name="connsiteY9" fmla="*/ 23440 h 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476" h="28078">
                <a:moveTo>
                  <a:pt x="12579" y="23440"/>
                </a:moveTo>
                <a:cubicBezTo>
                  <a:pt x="8457" y="25535"/>
                  <a:pt x="4905" y="26512"/>
                  <a:pt x="2407" y="25736"/>
                </a:cubicBezTo>
                <a:cubicBezTo>
                  <a:pt x="1813" y="25550"/>
                  <a:pt x="1264" y="25312"/>
                  <a:pt x="763" y="25017"/>
                </a:cubicBezTo>
                <a:cubicBezTo>
                  <a:pt x="752" y="25007"/>
                  <a:pt x="742" y="25007"/>
                  <a:pt x="737" y="25002"/>
                </a:cubicBezTo>
                <a:cubicBezTo>
                  <a:pt x="478" y="24847"/>
                  <a:pt x="235" y="24681"/>
                  <a:pt x="8" y="24506"/>
                </a:cubicBezTo>
                <a:cubicBezTo>
                  <a:pt x="-70" y="24811"/>
                  <a:pt x="447" y="25121"/>
                  <a:pt x="670" y="25297"/>
                </a:cubicBezTo>
                <a:cubicBezTo>
                  <a:pt x="680" y="25297"/>
                  <a:pt x="690" y="25307"/>
                  <a:pt x="696" y="25317"/>
                </a:cubicBezTo>
                <a:cubicBezTo>
                  <a:pt x="3224" y="27282"/>
                  <a:pt x="5562" y="29185"/>
                  <a:pt x="9936" y="27308"/>
                </a:cubicBezTo>
                <a:cubicBezTo>
                  <a:pt x="19834" y="23078"/>
                  <a:pt x="36091" y="9515"/>
                  <a:pt x="45477" y="0"/>
                </a:cubicBezTo>
                <a:cubicBezTo>
                  <a:pt x="35797" y="8910"/>
                  <a:pt x="21855" y="18724"/>
                  <a:pt x="12579" y="23440"/>
                </a:cubicBezTo>
                <a:close/>
              </a:path>
            </a:pathLst>
          </a:custGeom>
          <a:solidFill>
            <a:srgbClr val="4F8DC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01" name="Freeform: Shape 2700">
            <a:extLst>
              <a:ext uri="{FF2B5EF4-FFF2-40B4-BE49-F238E27FC236}">
                <a16:creationId xmlns:a16="http://schemas.microsoft.com/office/drawing/2014/main" id="{93BD9165-468B-B015-5D45-C996116DBF3F}"/>
              </a:ext>
            </a:extLst>
          </p:cNvPr>
          <p:cNvSpPr/>
          <p:nvPr/>
        </p:nvSpPr>
        <p:spPr>
          <a:xfrm>
            <a:off x="5590165" y="3614455"/>
            <a:ext cx="120612" cy="70124"/>
          </a:xfrm>
          <a:custGeom>
            <a:avLst/>
            <a:gdLst>
              <a:gd name="connsiteX0" fmla="*/ 40296 w 120612"/>
              <a:gd name="connsiteY0" fmla="*/ 0 h 70124"/>
              <a:gd name="connsiteX1" fmla="*/ 43916 w 120612"/>
              <a:gd name="connsiteY1" fmla="*/ 21 h 70124"/>
              <a:gd name="connsiteX2" fmla="*/ 113125 w 120612"/>
              <a:gd name="connsiteY2" fmla="*/ 424 h 70124"/>
              <a:gd name="connsiteX3" fmla="*/ 120613 w 120612"/>
              <a:gd name="connsiteY3" fmla="*/ 2679 h 70124"/>
              <a:gd name="connsiteX4" fmla="*/ 74032 w 120612"/>
              <a:gd name="connsiteY4" fmla="*/ 68857 h 70124"/>
              <a:gd name="connsiteX5" fmla="*/ 3132 w 120612"/>
              <a:gd name="connsiteY5" fmla="*/ 70124 h 70124"/>
              <a:gd name="connsiteX6" fmla="*/ 1622 w 120612"/>
              <a:gd name="connsiteY6" fmla="*/ 61515 h 70124"/>
              <a:gd name="connsiteX7" fmla="*/ 34407 w 120612"/>
              <a:gd name="connsiteY7" fmla="*/ 5559 h 70124"/>
              <a:gd name="connsiteX8" fmla="*/ 40291 w 120612"/>
              <a:gd name="connsiteY8" fmla="*/ 0 h 7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0612" h="70124">
                <a:moveTo>
                  <a:pt x="40296" y="0"/>
                </a:moveTo>
                <a:lnTo>
                  <a:pt x="43916" y="21"/>
                </a:lnTo>
                <a:lnTo>
                  <a:pt x="113125" y="424"/>
                </a:lnTo>
                <a:cubicBezTo>
                  <a:pt x="116672" y="445"/>
                  <a:pt x="117391" y="1215"/>
                  <a:pt x="120613" y="2679"/>
                </a:cubicBezTo>
                <a:lnTo>
                  <a:pt x="74032" y="68857"/>
                </a:lnTo>
                <a:lnTo>
                  <a:pt x="3132" y="70124"/>
                </a:lnTo>
                <a:cubicBezTo>
                  <a:pt x="593" y="67968"/>
                  <a:pt x="-1625" y="67404"/>
                  <a:pt x="1622" y="61515"/>
                </a:cubicBezTo>
                <a:lnTo>
                  <a:pt x="34407" y="5559"/>
                </a:lnTo>
                <a:cubicBezTo>
                  <a:pt x="35798" y="3051"/>
                  <a:pt x="38130" y="57"/>
                  <a:pt x="40291" y="0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02" name="Freeform: Shape 2701">
            <a:extLst>
              <a:ext uri="{FF2B5EF4-FFF2-40B4-BE49-F238E27FC236}">
                <a16:creationId xmlns:a16="http://schemas.microsoft.com/office/drawing/2014/main" id="{30581114-7FC7-3274-B2A1-5BCF0D5FC234}"/>
              </a:ext>
            </a:extLst>
          </p:cNvPr>
          <p:cNvSpPr/>
          <p:nvPr/>
        </p:nvSpPr>
        <p:spPr>
          <a:xfrm>
            <a:off x="5593385" y="3616196"/>
            <a:ext cx="117555" cy="68373"/>
          </a:xfrm>
          <a:custGeom>
            <a:avLst/>
            <a:gdLst>
              <a:gd name="connsiteX0" fmla="*/ 55040 w 117555"/>
              <a:gd name="connsiteY0" fmla="*/ 214 h 68373"/>
              <a:gd name="connsiteX1" fmla="*/ 114538 w 117555"/>
              <a:gd name="connsiteY1" fmla="*/ 560 h 68373"/>
              <a:gd name="connsiteX2" fmla="*/ 116493 w 117555"/>
              <a:gd name="connsiteY2" fmla="*/ 4004 h 68373"/>
              <a:gd name="connsiteX3" fmla="*/ 78543 w 117555"/>
              <a:gd name="connsiteY3" fmla="*/ 64883 h 68373"/>
              <a:gd name="connsiteX4" fmla="*/ 73997 w 117555"/>
              <a:gd name="connsiteY4" fmla="*/ 67055 h 68373"/>
              <a:gd name="connsiteX5" fmla="*/ 0 w 117555"/>
              <a:gd name="connsiteY5" fmla="*/ 68373 h 68373"/>
              <a:gd name="connsiteX6" fmla="*/ 35846 w 117555"/>
              <a:gd name="connsiteY6" fmla="*/ 7236 h 68373"/>
              <a:gd name="connsiteX7" fmla="*/ 55030 w 117555"/>
              <a:gd name="connsiteY7" fmla="*/ 209 h 6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555" h="68373">
                <a:moveTo>
                  <a:pt x="55040" y="214"/>
                </a:moveTo>
                <a:lnTo>
                  <a:pt x="114538" y="560"/>
                </a:lnTo>
                <a:cubicBezTo>
                  <a:pt x="116410" y="560"/>
                  <a:pt x="119058" y="-107"/>
                  <a:pt x="116493" y="4004"/>
                </a:cubicBezTo>
                <a:lnTo>
                  <a:pt x="78543" y="64883"/>
                </a:lnTo>
                <a:cubicBezTo>
                  <a:pt x="77353" y="66786"/>
                  <a:pt x="77338" y="66993"/>
                  <a:pt x="73997" y="67055"/>
                </a:cubicBezTo>
                <a:lnTo>
                  <a:pt x="0" y="68373"/>
                </a:lnTo>
                <a:lnTo>
                  <a:pt x="35846" y="7236"/>
                </a:lnTo>
                <a:cubicBezTo>
                  <a:pt x="41105" y="-1730"/>
                  <a:pt x="42423" y="136"/>
                  <a:pt x="55030" y="209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03" name="Freeform: Shape 2702">
            <a:extLst>
              <a:ext uri="{FF2B5EF4-FFF2-40B4-BE49-F238E27FC236}">
                <a16:creationId xmlns:a16="http://schemas.microsoft.com/office/drawing/2014/main" id="{4574B1F0-97E8-2721-3DE4-24D85D335273}"/>
              </a:ext>
            </a:extLst>
          </p:cNvPr>
          <p:cNvSpPr/>
          <p:nvPr/>
        </p:nvSpPr>
        <p:spPr>
          <a:xfrm>
            <a:off x="5677349" y="3650464"/>
            <a:ext cx="10062" cy="21681"/>
          </a:xfrm>
          <a:custGeom>
            <a:avLst/>
            <a:gdLst>
              <a:gd name="connsiteX0" fmla="*/ 2569 w 10062"/>
              <a:gd name="connsiteY0" fmla="*/ 10530 h 21681"/>
              <a:gd name="connsiteX1" fmla="*/ 640 w 10062"/>
              <a:gd name="connsiteY1" fmla="*/ 21534 h 21681"/>
              <a:gd name="connsiteX2" fmla="*/ 9622 w 10062"/>
              <a:gd name="connsiteY2" fmla="*/ 3823 h 21681"/>
              <a:gd name="connsiteX3" fmla="*/ 9126 w 10062"/>
              <a:gd name="connsiteY3" fmla="*/ 3384 h 21681"/>
              <a:gd name="connsiteX4" fmla="*/ 2796 w 10062"/>
              <a:gd name="connsiteY4" fmla="*/ 1977 h 21681"/>
              <a:gd name="connsiteX5" fmla="*/ 2558 w 10062"/>
              <a:gd name="connsiteY5" fmla="*/ 10530 h 21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62" h="21681">
                <a:moveTo>
                  <a:pt x="2569" y="10530"/>
                </a:moveTo>
                <a:cubicBezTo>
                  <a:pt x="-916" y="22258"/>
                  <a:pt x="-79" y="21958"/>
                  <a:pt x="640" y="21534"/>
                </a:cubicBezTo>
                <a:cubicBezTo>
                  <a:pt x="9369" y="16399"/>
                  <a:pt x="11018" y="11704"/>
                  <a:pt x="9622" y="3823"/>
                </a:cubicBezTo>
                <a:cubicBezTo>
                  <a:pt x="9451" y="3673"/>
                  <a:pt x="9286" y="3528"/>
                  <a:pt x="9126" y="3384"/>
                </a:cubicBezTo>
                <a:cubicBezTo>
                  <a:pt x="5739" y="328"/>
                  <a:pt x="5278" y="-1700"/>
                  <a:pt x="2796" y="1977"/>
                </a:cubicBezTo>
                <a:cubicBezTo>
                  <a:pt x="914" y="4764"/>
                  <a:pt x="650" y="7877"/>
                  <a:pt x="2558" y="10530"/>
                </a:cubicBezTo>
                <a:close/>
              </a:path>
            </a:pathLst>
          </a:custGeom>
          <a:solidFill>
            <a:srgbClr val="FFB17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04" name="Freeform: Shape 2703">
            <a:extLst>
              <a:ext uri="{FF2B5EF4-FFF2-40B4-BE49-F238E27FC236}">
                <a16:creationId xmlns:a16="http://schemas.microsoft.com/office/drawing/2014/main" id="{459CF081-464D-E3D0-010B-92C529A09CFC}"/>
              </a:ext>
            </a:extLst>
          </p:cNvPr>
          <p:cNvSpPr/>
          <p:nvPr/>
        </p:nvSpPr>
        <p:spPr>
          <a:xfrm>
            <a:off x="5584879" y="3506968"/>
            <a:ext cx="25829" cy="27703"/>
          </a:xfrm>
          <a:custGeom>
            <a:avLst/>
            <a:gdLst>
              <a:gd name="connsiteX0" fmla="*/ 25819 w 25829"/>
              <a:gd name="connsiteY0" fmla="*/ 5845 h 27703"/>
              <a:gd name="connsiteX1" fmla="*/ 0 w 25829"/>
              <a:gd name="connsiteY1" fmla="*/ 27703 h 27703"/>
              <a:gd name="connsiteX2" fmla="*/ 21630 w 25829"/>
              <a:gd name="connsiteY2" fmla="*/ 5773 h 27703"/>
              <a:gd name="connsiteX3" fmla="*/ 25824 w 25829"/>
              <a:gd name="connsiteY3" fmla="*/ 5845 h 2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829" h="27703">
                <a:moveTo>
                  <a:pt x="25819" y="5845"/>
                </a:moveTo>
                <a:cubicBezTo>
                  <a:pt x="25819" y="5845"/>
                  <a:pt x="15606" y="24751"/>
                  <a:pt x="0" y="27703"/>
                </a:cubicBezTo>
                <a:cubicBezTo>
                  <a:pt x="0" y="27703"/>
                  <a:pt x="17095" y="18799"/>
                  <a:pt x="21630" y="5773"/>
                </a:cubicBezTo>
                <a:cubicBezTo>
                  <a:pt x="26165" y="-7258"/>
                  <a:pt x="25824" y="5845"/>
                  <a:pt x="25824" y="5845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05" name="Freeform: Shape 2704">
            <a:extLst>
              <a:ext uri="{FF2B5EF4-FFF2-40B4-BE49-F238E27FC236}">
                <a16:creationId xmlns:a16="http://schemas.microsoft.com/office/drawing/2014/main" id="{A6AFAB42-F3FE-767F-D971-03ECFCAD8A48}"/>
              </a:ext>
            </a:extLst>
          </p:cNvPr>
          <p:cNvSpPr/>
          <p:nvPr/>
        </p:nvSpPr>
        <p:spPr>
          <a:xfrm>
            <a:off x="5571729" y="3504392"/>
            <a:ext cx="35271" cy="27541"/>
          </a:xfrm>
          <a:custGeom>
            <a:avLst/>
            <a:gdLst>
              <a:gd name="connsiteX0" fmla="*/ 35272 w 35271"/>
              <a:gd name="connsiteY0" fmla="*/ 3447 h 27541"/>
              <a:gd name="connsiteX1" fmla="*/ 16397 w 35271"/>
              <a:gd name="connsiteY1" fmla="*/ 26261 h 27541"/>
              <a:gd name="connsiteX2" fmla="*/ 0 w 35271"/>
              <a:gd name="connsiteY2" fmla="*/ 26142 h 27541"/>
              <a:gd name="connsiteX3" fmla="*/ 10585 w 35271"/>
              <a:gd name="connsiteY3" fmla="*/ 7020 h 27541"/>
              <a:gd name="connsiteX4" fmla="*/ 35272 w 35271"/>
              <a:gd name="connsiteY4" fmla="*/ 3447 h 27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71" h="27541">
                <a:moveTo>
                  <a:pt x="35272" y="3447"/>
                </a:moveTo>
                <a:cubicBezTo>
                  <a:pt x="35272" y="3447"/>
                  <a:pt x="27820" y="23329"/>
                  <a:pt x="16397" y="26261"/>
                </a:cubicBezTo>
                <a:cubicBezTo>
                  <a:pt x="4964" y="29209"/>
                  <a:pt x="0" y="26142"/>
                  <a:pt x="0" y="26142"/>
                </a:cubicBezTo>
                <a:cubicBezTo>
                  <a:pt x="0" y="26142"/>
                  <a:pt x="8770" y="19172"/>
                  <a:pt x="10585" y="7020"/>
                </a:cubicBezTo>
                <a:cubicBezTo>
                  <a:pt x="10585" y="7020"/>
                  <a:pt x="29661" y="-6022"/>
                  <a:pt x="35272" y="3447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06" name="Freeform: Shape 2705">
            <a:extLst>
              <a:ext uri="{FF2B5EF4-FFF2-40B4-BE49-F238E27FC236}">
                <a16:creationId xmlns:a16="http://schemas.microsoft.com/office/drawing/2014/main" id="{C21CF34E-0CF8-AAC7-5E9E-233D12A6777F}"/>
              </a:ext>
            </a:extLst>
          </p:cNvPr>
          <p:cNvSpPr/>
          <p:nvPr/>
        </p:nvSpPr>
        <p:spPr>
          <a:xfrm>
            <a:off x="5570938" y="3503940"/>
            <a:ext cx="36569" cy="28456"/>
          </a:xfrm>
          <a:custGeom>
            <a:avLst/>
            <a:gdLst>
              <a:gd name="connsiteX0" fmla="*/ 8051 w 36569"/>
              <a:gd name="connsiteY0" fmla="*/ 28456 h 28456"/>
              <a:gd name="connsiteX1" fmla="*/ 553 w 36569"/>
              <a:gd name="connsiteY1" fmla="*/ 26988 h 28456"/>
              <a:gd name="connsiteX2" fmla="*/ 0 w 36569"/>
              <a:gd name="connsiteY2" fmla="*/ 26646 h 28456"/>
              <a:gd name="connsiteX3" fmla="*/ 507 w 36569"/>
              <a:gd name="connsiteY3" fmla="*/ 26243 h 28456"/>
              <a:gd name="connsiteX4" fmla="*/ 10921 w 36569"/>
              <a:gd name="connsiteY4" fmla="*/ 7410 h 28456"/>
              <a:gd name="connsiteX5" fmla="*/ 10952 w 36569"/>
              <a:gd name="connsiteY5" fmla="*/ 7214 h 28456"/>
              <a:gd name="connsiteX6" fmla="*/ 11118 w 36569"/>
              <a:gd name="connsiteY6" fmla="*/ 7100 h 28456"/>
              <a:gd name="connsiteX7" fmla="*/ 29330 w 36569"/>
              <a:gd name="connsiteY7" fmla="*/ 0 h 28456"/>
              <a:gd name="connsiteX8" fmla="*/ 36456 w 36569"/>
              <a:gd name="connsiteY8" fmla="*/ 3671 h 28456"/>
              <a:gd name="connsiteX9" fmla="*/ 36570 w 36569"/>
              <a:gd name="connsiteY9" fmla="*/ 3858 h 28456"/>
              <a:gd name="connsiteX10" fmla="*/ 36492 w 36569"/>
              <a:gd name="connsiteY10" fmla="*/ 4064 h 28456"/>
              <a:gd name="connsiteX11" fmla="*/ 17302 w 36569"/>
              <a:gd name="connsiteY11" fmla="*/ 27163 h 28456"/>
              <a:gd name="connsiteX12" fmla="*/ 8051 w 36569"/>
              <a:gd name="connsiteY12" fmla="*/ 28456 h 28456"/>
              <a:gd name="connsiteX13" fmla="*/ 1619 w 36569"/>
              <a:gd name="connsiteY13" fmla="*/ 26491 h 28456"/>
              <a:gd name="connsiteX14" fmla="*/ 8051 w 36569"/>
              <a:gd name="connsiteY14" fmla="*/ 27546 h 28456"/>
              <a:gd name="connsiteX15" fmla="*/ 17080 w 36569"/>
              <a:gd name="connsiteY15" fmla="*/ 26279 h 28456"/>
              <a:gd name="connsiteX16" fmla="*/ 35561 w 36569"/>
              <a:gd name="connsiteY16" fmla="*/ 3951 h 28456"/>
              <a:gd name="connsiteX17" fmla="*/ 29335 w 36569"/>
              <a:gd name="connsiteY17" fmla="*/ 915 h 28456"/>
              <a:gd name="connsiteX18" fmla="*/ 11800 w 36569"/>
              <a:gd name="connsiteY18" fmla="*/ 7746 h 28456"/>
              <a:gd name="connsiteX19" fmla="*/ 1619 w 36569"/>
              <a:gd name="connsiteY19" fmla="*/ 26486 h 28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6569" h="28456">
                <a:moveTo>
                  <a:pt x="8051" y="28456"/>
                </a:moveTo>
                <a:cubicBezTo>
                  <a:pt x="2989" y="28456"/>
                  <a:pt x="652" y="27050"/>
                  <a:pt x="553" y="26988"/>
                </a:cubicBezTo>
                <a:lnTo>
                  <a:pt x="0" y="26646"/>
                </a:lnTo>
                <a:lnTo>
                  <a:pt x="507" y="26243"/>
                </a:lnTo>
                <a:cubicBezTo>
                  <a:pt x="595" y="26176"/>
                  <a:pt x="9158" y="19236"/>
                  <a:pt x="10921" y="7410"/>
                </a:cubicBezTo>
                <a:lnTo>
                  <a:pt x="10952" y="7214"/>
                </a:lnTo>
                <a:lnTo>
                  <a:pt x="11118" y="7100"/>
                </a:lnTo>
                <a:cubicBezTo>
                  <a:pt x="11542" y="6810"/>
                  <a:pt x="21594" y="0"/>
                  <a:pt x="29330" y="0"/>
                </a:cubicBezTo>
                <a:cubicBezTo>
                  <a:pt x="32614" y="0"/>
                  <a:pt x="35013" y="1236"/>
                  <a:pt x="36456" y="3671"/>
                </a:cubicBezTo>
                <a:lnTo>
                  <a:pt x="36570" y="3858"/>
                </a:lnTo>
                <a:lnTo>
                  <a:pt x="36492" y="4064"/>
                </a:lnTo>
                <a:cubicBezTo>
                  <a:pt x="36182" y="4887"/>
                  <a:pt x="28828" y="24200"/>
                  <a:pt x="17302" y="27163"/>
                </a:cubicBezTo>
                <a:cubicBezTo>
                  <a:pt x="13972" y="28022"/>
                  <a:pt x="10859" y="28456"/>
                  <a:pt x="8051" y="28456"/>
                </a:cubicBezTo>
                <a:close/>
                <a:moveTo>
                  <a:pt x="1619" y="26491"/>
                </a:moveTo>
                <a:cubicBezTo>
                  <a:pt x="2565" y="26879"/>
                  <a:pt x="4664" y="27546"/>
                  <a:pt x="8051" y="27546"/>
                </a:cubicBezTo>
                <a:cubicBezTo>
                  <a:pt x="10787" y="27546"/>
                  <a:pt x="13822" y="27122"/>
                  <a:pt x="17080" y="26279"/>
                </a:cubicBezTo>
                <a:cubicBezTo>
                  <a:pt x="27525" y="23595"/>
                  <a:pt x="34729" y="6060"/>
                  <a:pt x="35561" y="3951"/>
                </a:cubicBezTo>
                <a:cubicBezTo>
                  <a:pt x="34284" y="1939"/>
                  <a:pt x="32190" y="915"/>
                  <a:pt x="29335" y="915"/>
                </a:cubicBezTo>
                <a:cubicBezTo>
                  <a:pt x="22396" y="915"/>
                  <a:pt x="13140" y="6862"/>
                  <a:pt x="11800" y="7746"/>
                </a:cubicBezTo>
                <a:cubicBezTo>
                  <a:pt x="10187" y="18057"/>
                  <a:pt x="3568" y="24723"/>
                  <a:pt x="1619" y="26486"/>
                </a:cubicBezTo>
                <a:close/>
              </a:path>
            </a:pathLst>
          </a:custGeom>
          <a:solidFill>
            <a:srgbClr val="28419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795" name="Group 2794">
            <a:extLst>
              <a:ext uri="{FF2B5EF4-FFF2-40B4-BE49-F238E27FC236}">
                <a16:creationId xmlns:a16="http://schemas.microsoft.com/office/drawing/2014/main" id="{B889B2D8-07E5-30FA-5499-F8323447614D}"/>
              </a:ext>
            </a:extLst>
          </p:cNvPr>
          <p:cNvGrpSpPr/>
          <p:nvPr/>
        </p:nvGrpSpPr>
        <p:grpSpPr>
          <a:xfrm>
            <a:off x="7147466" y="3553852"/>
            <a:ext cx="522473" cy="634103"/>
            <a:chOff x="7181990" y="3595891"/>
            <a:chExt cx="453266" cy="550109"/>
          </a:xfrm>
        </p:grpSpPr>
        <p:sp>
          <p:nvSpPr>
            <p:cNvPr id="2713" name="Freeform: Shape 2712">
              <a:extLst>
                <a:ext uri="{FF2B5EF4-FFF2-40B4-BE49-F238E27FC236}">
                  <a16:creationId xmlns:a16="http://schemas.microsoft.com/office/drawing/2014/main" id="{9B0C2C42-A4FF-10CD-BAD9-579904369909}"/>
                </a:ext>
              </a:extLst>
            </p:cNvPr>
            <p:cNvSpPr/>
            <p:nvPr/>
          </p:nvSpPr>
          <p:spPr>
            <a:xfrm>
              <a:off x="7270847" y="4119920"/>
              <a:ext cx="59989" cy="26080"/>
            </a:xfrm>
            <a:custGeom>
              <a:avLst/>
              <a:gdLst>
                <a:gd name="connsiteX0" fmla="*/ 3790 w 59989"/>
                <a:gd name="connsiteY0" fmla="*/ 4 h 26080"/>
                <a:gd name="connsiteX1" fmla="*/ 11 w 59989"/>
                <a:gd name="connsiteY1" fmla="*/ 14906 h 26080"/>
                <a:gd name="connsiteX2" fmla="*/ 333 w 59989"/>
                <a:gd name="connsiteY2" fmla="*/ 18800 h 26080"/>
                <a:gd name="connsiteX3" fmla="*/ 712 w 59989"/>
                <a:gd name="connsiteY3" fmla="*/ 20954 h 26080"/>
                <a:gd name="connsiteX4" fmla="*/ 624 w 59989"/>
                <a:gd name="connsiteY4" fmla="*/ 25121 h 26080"/>
                <a:gd name="connsiteX5" fmla="*/ 1065 w 59989"/>
                <a:gd name="connsiteY5" fmla="*/ 25577 h 26080"/>
                <a:gd name="connsiteX6" fmla="*/ 15948 w 59989"/>
                <a:gd name="connsiteY6" fmla="*/ 25688 h 26080"/>
                <a:gd name="connsiteX7" fmla="*/ 16396 w 59989"/>
                <a:gd name="connsiteY7" fmla="*/ 25247 h 26080"/>
                <a:gd name="connsiteX8" fmla="*/ 16411 w 59989"/>
                <a:gd name="connsiteY8" fmla="*/ 22993 h 26080"/>
                <a:gd name="connsiteX9" fmla="*/ 17044 w 59989"/>
                <a:gd name="connsiteY9" fmla="*/ 22311 h 26080"/>
                <a:gd name="connsiteX10" fmla="*/ 27626 w 59989"/>
                <a:gd name="connsiteY10" fmla="*/ 23472 h 26080"/>
                <a:gd name="connsiteX11" fmla="*/ 44453 w 59989"/>
                <a:gd name="connsiteY11" fmla="*/ 25899 h 26080"/>
                <a:gd name="connsiteX12" fmla="*/ 58381 w 59989"/>
                <a:gd name="connsiteY12" fmla="*/ 22223 h 26080"/>
                <a:gd name="connsiteX13" fmla="*/ 53671 w 59989"/>
                <a:gd name="connsiteY13" fmla="*/ 14618 h 26080"/>
                <a:gd name="connsiteX14" fmla="*/ 33678 w 59989"/>
                <a:gd name="connsiteY14" fmla="*/ 7133 h 26080"/>
                <a:gd name="connsiteX15" fmla="*/ 23487 w 59989"/>
                <a:gd name="connsiteY15" fmla="*/ 590 h 26080"/>
                <a:gd name="connsiteX16" fmla="*/ 3786 w 59989"/>
                <a:gd name="connsiteY16" fmla="*/ 0 h 26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989" h="26080">
                  <a:moveTo>
                    <a:pt x="3790" y="4"/>
                  </a:moveTo>
                  <a:cubicBezTo>
                    <a:pt x="3790" y="4"/>
                    <a:pt x="130" y="10556"/>
                    <a:pt x="11" y="14906"/>
                  </a:cubicBezTo>
                  <a:cubicBezTo>
                    <a:pt x="-47" y="17079"/>
                    <a:pt x="137" y="18214"/>
                    <a:pt x="333" y="18800"/>
                  </a:cubicBezTo>
                  <a:cubicBezTo>
                    <a:pt x="566" y="19498"/>
                    <a:pt x="727" y="20218"/>
                    <a:pt x="712" y="20954"/>
                  </a:cubicBezTo>
                  <a:lnTo>
                    <a:pt x="624" y="25121"/>
                  </a:lnTo>
                  <a:cubicBezTo>
                    <a:pt x="620" y="25370"/>
                    <a:pt x="819" y="25573"/>
                    <a:pt x="1065" y="25577"/>
                  </a:cubicBezTo>
                  <a:lnTo>
                    <a:pt x="15948" y="25688"/>
                  </a:lnTo>
                  <a:cubicBezTo>
                    <a:pt x="16193" y="25688"/>
                    <a:pt x="16396" y="25492"/>
                    <a:pt x="16396" y="25247"/>
                  </a:cubicBezTo>
                  <a:lnTo>
                    <a:pt x="16411" y="22993"/>
                  </a:lnTo>
                  <a:cubicBezTo>
                    <a:pt x="16411" y="22633"/>
                    <a:pt x="16687" y="22338"/>
                    <a:pt x="17044" y="22311"/>
                  </a:cubicBezTo>
                  <a:cubicBezTo>
                    <a:pt x="18776" y="22185"/>
                    <a:pt x="23759" y="21989"/>
                    <a:pt x="27626" y="23472"/>
                  </a:cubicBezTo>
                  <a:cubicBezTo>
                    <a:pt x="32391" y="25301"/>
                    <a:pt x="37956" y="26569"/>
                    <a:pt x="44453" y="25899"/>
                  </a:cubicBezTo>
                  <a:cubicBezTo>
                    <a:pt x="51831" y="25140"/>
                    <a:pt x="56250" y="23285"/>
                    <a:pt x="58381" y="22223"/>
                  </a:cubicBezTo>
                  <a:cubicBezTo>
                    <a:pt x="59903" y="21468"/>
                    <a:pt x="62620" y="15538"/>
                    <a:pt x="53671" y="14618"/>
                  </a:cubicBezTo>
                  <a:cubicBezTo>
                    <a:pt x="44721" y="13699"/>
                    <a:pt x="38841" y="12633"/>
                    <a:pt x="33678" y="7133"/>
                  </a:cubicBezTo>
                  <a:cubicBezTo>
                    <a:pt x="28516" y="1633"/>
                    <a:pt x="25284" y="-249"/>
                    <a:pt x="23487" y="590"/>
                  </a:cubicBezTo>
                  <a:cubicBezTo>
                    <a:pt x="21689" y="1430"/>
                    <a:pt x="3786" y="0"/>
                    <a:pt x="3786" y="0"/>
                  </a:cubicBezTo>
                  <a:close/>
                </a:path>
              </a:pathLst>
            </a:custGeom>
            <a:solidFill>
              <a:srgbClr val="1A1A1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4" name="Freeform: Shape 2713">
              <a:extLst>
                <a:ext uri="{FF2B5EF4-FFF2-40B4-BE49-F238E27FC236}">
                  <a16:creationId xmlns:a16="http://schemas.microsoft.com/office/drawing/2014/main" id="{17CC4966-D85D-D582-AF88-70F3676CD9CD}"/>
                </a:ext>
              </a:extLst>
            </p:cNvPr>
            <p:cNvSpPr/>
            <p:nvPr/>
          </p:nvSpPr>
          <p:spPr>
            <a:xfrm>
              <a:off x="7181990" y="4105409"/>
              <a:ext cx="54925" cy="40586"/>
            </a:xfrm>
            <a:custGeom>
              <a:avLst/>
              <a:gdLst>
                <a:gd name="connsiteX0" fmla="*/ 16416 w 54925"/>
                <a:gd name="connsiteY0" fmla="*/ 8 h 40586"/>
                <a:gd name="connsiteX1" fmla="*/ 5128 w 54925"/>
                <a:gd name="connsiteY1" fmla="*/ 10445 h 40586"/>
                <a:gd name="connsiteX2" fmla="*/ 3277 w 54925"/>
                <a:gd name="connsiteY2" fmla="*/ 13886 h 40586"/>
                <a:gd name="connsiteX3" fmla="*/ 2422 w 54925"/>
                <a:gd name="connsiteY3" fmla="*/ 15899 h 40586"/>
                <a:gd name="connsiteX4" fmla="*/ 76 w 54925"/>
                <a:gd name="connsiteY4" fmla="*/ 19344 h 40586"/>
                <a:gd name="connsiteX5" fmla="*/ 199 w 54925"/>
                <a:gd name="connsiteY5" fmla="*/ 19965 h 40586"/>
                <a:gd name="connsiteX6" fmla="*/ 12621 w 54925"/>
                <a:gd name="connsiteY6" fmla="*/ 28168 h 40586"/>
                <a:gd name="connsiteX7" fmla="*/ 13238 w 54925"/>
                <a:gd name="connsiteY7" fmla="*/ 28041 h 40586"/>
                <a:gd name="connsiteX8" fmla="*/ 14480 w 54925"/>
                <a:gd name="connsiteY8" fmla="*/ 26159 h 40586"/>
                <a:gd name="connsiteX9" fmla="*/ 15381 w 54925"/>
                <a:gd name="connsiteY9" fmla="*/ 25933 h 40586"/>
                <a:gd name="connsiteX10" fmla="*/ 23622 w 54925"/>
                <a:gd name="connsiteY10" fmla="*/ 32671 h 40586"/>
                <a:gd name="connsiteX11" fmla="*/ 36136 w 54925"/>
                <a:gd name="connsiteY11" fmla="*/ 40586 h 40586"/>
                <a:gd name="connsiteX12" fmla="*/ 50302 w 54925"/>
                <a:gd name="connsiteY12" fmla="*/ 40586 h 40586"/>
                <a:gd name="connsiteX13" fmla="*/ 50222 w 54925"/>
                <a:gd name="connsiteY13" fmla="*/ 31537 h 40586"/>
                <a:gd name="connsiteX14" fmla="*/ 37788 w 54925"/>
                <a:gd name="connsiteY14" fmla="*/ 20755 h 40586"/>
                <a:gd name="connsiteX15" fmla="*/ 34561 w 54925"/>
                <a:gd name="connsiteY15" fmla="*/ 9099 h 40586"/>
                <a:gd name="connsiteX16" fmla="*/ 16412 w 54925"/>
                <a:gd name="connsiteY16" fmla="*/ 0 h 40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925" h="40586">
                  <a:moveTo>
                    <a:pt x="16416" y="8"/>
                  </a:moveTo>
                  <a:cubicBezTo>
                    <a:pt x="16416" y="8"/>
                    <a:pt x="7596" y="6861"/>
                    <a:pt x="5128" y="10445"/>
                  </a:cubicBezTo>
                  <a:cubicBezTo>
                    <a:pt x="3894" y="12238"/>
                    <a:pt x="3430" y="13285"/>
                    <a:pt x="3277" y="13886"/>
                  </a:cubicBezTo>
                  <a:cubicBezTo>
                    <a:pt x="3093" y="14599"/>
                    <a:pt x="2836" y="15293"/>
                    <a:pt x="2422" y="15899"/>
                  </a:cubicBezTo>
                  <a:lnTo>
                    <a:pt x="76" y="19344"/>
                  </a:lnTo>
                  <a:cubicBezTo>
                    <a:pt x="-62" y="19551"/>
                    <a:pt x="-8" y="19831"/>
                    <a:pt x="199" y="19965"/>
                  </a:cubicBezTo>
                  <a:lnTo>
                    <a:pt x="12621" y="28168"/>
                  </a:lnTo>
                  <a:cubicBezTo>
                    <a:pt x="12828" y="28302"/>
                    <a:pt x="13104" y="28248"/>
                    <a:pt x="13238" y="28041"/>
                  </a:cubicBezTo>
                  <a:lnTo>
                    <a:pt x="14480" y="26159"/>
                  </a:lnTo>
                  <a:cubicBezTo>
                    <a:pt x="14680" y="25860"/>
                    <a:pt x="15067" y="25761"/>
                    <a:pt x="15381" y="25933"/>
                  </a:cubicBezTo>
                  <a:cubicBezTo>
                    <a:pt x="16903" y="26772"/>
                    <a:pt x="21188" y="29321"/>
                    <a:pt x="23622" y="32671"/>
                  </a:cubicBezTo>
                  <a:cubicBezTo>
                    <a:pt x="26623" y="36799"/>
                    <a:pt x="29835" y="39655"/>
                    <a:pt x="36136" y="40586"/>
                  </a:cubicBezTo>
                  <a:lnTo>
                    <a:pt x="50302" y="40586"/>
                  </a:lnTo>
                  <a:cubicBezTo>
                    <a:pt x="53817" y="40586"/>
                    <a:pt x="58696" y="34569"/>
                    <a:pt x="50222" y="31537"/>
                  </a:cubicBezTo>
                  <a:cubicBezTo>
                    <a:pt x="43035" y="28965"/>
                    <a:pt x="39122" y="28179"/>
                    <a:pt x="37788" y="20755"/>
                  </a:cubicBezTo>
                  <a:cubicBezTo>
                    <a:pt x="36454" y="13331"/>
                    <a:pt x="36527" y="9375"/>
                    <a:pt x="34561" y="9099"/>
                  </a:cubicBezTo>
                  <a:cubicBezTo>
                    <a:pt x="32594" y="8823"/>
                    <a:pt x="16412" y="0"/>
                    <a:pt x="16412" y="0"/>
                  </a:cubicBezTo>
                  <a:close/>
                </a:path>
              </a:pathLst>
            </a:custGeom>
            <a:solidFill>
              <a:srgbClr val="1A1A1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5" name="Freeform: Shape 2714">
              <a:extLst>
                <a:ext uri="{FF2B5EF4-FFF2-40B4-BE49-F238E27FC236}">
                  <a16:creationId xmlns:a16="http://schemas.microsoft.com/office/drawing/2014/main" id="{0DA90845-5232-423F-7BEB-06CD8C53F172}"/>
                </a:ext>
              </a:extLst>
            </p:cNvPr>
            <p:cNvSpPr/>
            <p:nvPr/>
          </p:nvSpPr>
          <p:spPr>
            <a:xfrm>
              <a:off x="7263430" y="3903663"/>
              <a:ext cx="52513" cy="219016"/>
            </a:xfrm>
            <a:custGeom>
              <a:avLst/>
              <a:gdLst>
                <a:gd name="connsiteX0" fmla="*/ 52514 w 52513"/>
                <a:gd name="connsiteY0" fmla="*/ 0 h 219016"/>
                <a:gd name="connsiteX1" fmla="*/ 36366 w 52513"/>
                <a:gd name="connsiteY1" fmla="*/ 219017 h 219016"/>
                <a:gd name="connsiteX2" fmla="*/ 10686 w 52513"/>
                <a:gd name="connsiteY2" fmla="*/ 217568 h 219016"/>
                <a:gd name="connsiteX3" fmla="*/ 0 w 52513"/>
                <a:gd name="connsiteY3" fmla="*/ 4511 h 219016"/>
                <a:gd name="connsiteX4" fmla="*/ 52514 w 52513"/>
                <a:gd name="connsiteY4" fmla="*/ 0 h 21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513" h="219016">
                  <a:moveTo>
                    <a:pt x="52514" y="0"/>
                  </a:moveTo>
                  <a:lnTo>
                    <a:pt x="36366" y="219017"/>
                  </a:lnTo>
                  <a:lnTo>
                    <a:pt x="10686" y="217568"/>
                  </a:lnTo>
                  <a:lnTo>
                    <a:pt x="0" y="4511"/>
                  </a:lnTo>
                  <a:lnTo>
                    <a:pt x="52514" y="0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6" name="Freeform: Shape 2715">
              <a:extLst>
                <a:ext uri="{FF2B5EF4-FFF2-40B4-BE49-F238E27FC236}">
                  <a16:creationId xmlns:a16="http://schemas.microsoft.com/office/drawing/2014/main" id="{E34B7CE2-A3AC-7A8E-8AD7-706FB892C35B}"/>
                </a:ext>
              </a:extLst>
            </p:cNvPr>
            <p:cNvSpPr/>
            <p:nvPr/>
          </p:nvSpPr>
          <p:spPr>
            <a:xfrm>
              <a:off x="7376334" y="3790943"/>
              <a:ext cx="248123" cy="354592"/>
            </a:xfrm>
            <a:custGeom>
              <a:avLst/>
              <a:gdLst>
                <a:gd name="connsiteX0" fmla="*/ 248123 w 248123"/>
                <a:gd name="connsiteY0" fmla="*/ 0 h 354592"/>
                <a:gd name="connsiteX1" fmla="*/ 248123 w 248123"/>
                <a:gd name="connsiteY1" fmla="*/ 354592 h 354592"/>
                <a:gd name="connsiteX2" fmla="*/ 0 w 248123"/>
                <a:gd name="connsiteY2" fmla="*/ 354592 h 354592"/>
                <a:gd name="connsiteX3" fmla="*/ 0 w 248123"/>
                <a:gd name="connsiteY3" fmla="*/ 236533 h 354592"/>
                <a:gd name="connsiteX4" fmla="*/ 11046 w 248123"/>
                <a:gd name="connsiteY4" fmla="*/ 191857 h 354592"/>
                <a:gd name="connsiteX5" fmla="*/ 111659 w 248123"/>
                <a:gd name="connsiteY5" fmla="*/ 0 h 354592"/>
                <a:gd name="connsiteX6" fmla="*/ 248123 w 248123"/>
                <a:gd name="connsiteY6" fmla="*/ 0 h 354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8123" h="354592">
                  <a:moveTo>
                    <a:pt x="248123" y="0"/>
                  </a:moveTo>
                  <a:lnTo>
                    <a:pt x="248123" y="354592"/>
                  </a:lnTo>
                  <a:lnTo>
                    <a:pt x="0" y="354592"/>
                  </a:lnTo>
                  <a:lnTo>
                    <a:pt x="0" y="236533"/>
                  </a:lnTo>
                  <a:cubicBezTo>
                    <a:pt x="0" y="221017"/>
                    <a:pt x="3779" y="205709"/>
                    <a:pt x="11046" y="191857"/>
                  </a:cubicBezTo>
                  <a:lnTo>
                    <a:pt x="111659" y="0"/>
                  </a:lnTo>
                  <a:lnTo>
                    <a:pt x="248123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7" name="Freeform: Shape 2716">
              <a:extLst>
                <a:ext uri="{FF2B5EF4-FFF2-40B4-BE49-F238E27FC236}">
                  <a16:creationId xmlns:a16="http://schemas.microsoft.com/office/drawing/2014/main" id="{6ECF9508-6114-CE07-F846-E63028A94EBC}"/>
                </a:ext>
              </a:extLst>
            </p:cNvPr>
            <p:cNvSpPr/>
            <p:nvPr/>
          </p:nvSpPr>
          <p:spPr>
            <a:xfrm>
              <a:off x="7567177" y="3790943"/>
              <a:ext cx="57280" cy="354592"/>
            </a:xfrm>
            <a:custGeom>
              <a:avLst/>
              <a:gdLst>
                <a:gd name="connsiteX0" fmla="*/ 57280 w 57280"/>
                <a:gd name="connsiteY0" fmla="*/ 0 h 354592"/>
                <a:gd name="connsiteX1" fmla="*/ 57280 w 57280"/>
                <a:gd name="connsiteY1" fmla="*/ 354592 h 354592"/>
                <a:gd name="connsiteX2" fmla="*/ 224 w 57280"/>
                <a:gd name="connsiteY2" fmla="*/ 354592 h 354592"/>
                <a:gd name="connsiteX3" fmla="*/ 224 w 57280"/>
                <a:gd name="connsiteY3" fmla="*/ 281147 h 354592"/>
                <a:gd name="connsiteX4" fmla="*/ 1167 w 57280"/>
                <a:gd name="connsiteY4" fmla="*/ 228430 h 354592"/>
                <a:gd name="connsiteX5" fmla="*/ 5859 w 57280"/>
                <a:gd name="connsiteY5" fmla="*/ 212877 h 354592"/>
                <a:gd name="connsiteX6" fmla="*/ 22754 w 57280"/>
                <a:gd name="connsiteY6" fmla="*/ 192616 h 354592"/>
                <a:gd name="connsiteX7" fmla="*/ 29300 w 57280"/>
                <a:gd name="connsiteY7" fmla="*/ 163057 h 354592"/>
                <a:gd name="connsiteX8" fmla="*/ 29331 w 57280"/>
                <a:gd name="connsiteY8" fmla="*/ 129566 h 354592"/>
                <a:gd name="connsiteX9" fmla="*/ 29454 w 57280"/>
                <a:gd name="connsiteY9" fmla="*/ 0 h 354592"/>
                <a:gd name="connsiteX10" fmla="*/ 57280 w 57280"/>
                <a:gd name="connsiteY10" fmla="*/ 0 h 354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280" h="354592">
                  <a:moveTo>
                    <a:pt x="57280" y="0"/>
                  </a:moveTo>
                  <a:lnTo>
                    <a:pt x="57280" y="354592"/>
                  </a:lnTo>
                  <a:lnTo>
                    <a:pt x="224" y="354592"/>
                  </a:lnTo>
                  <a:lnTo>
                    <a:pt x="224" y="281147"/>
                  </a:lnTo>
                  <a:cubicBezTo>
                    <a:pt x="224" y="263685"/>
                    <a:pt x="-688" y="245831"/>
                    <a:pt x="1167" y="228430"/>
                  </a:cubicBezTo>
                  <a:cubicBezTo>
                    <a:pt x="1765" y="222811"/>
                    <a:pt x="2884" y="217783"/>
                    <a:pt x="5859" y="212877"/>
                  </a:cubicBezTo>
                  <a:cubicBezTo>
                    <a:pt x="10466" y="205264"/>
                    <a:pt x="17794" y="199921"/>
                    <a:pt x="22754" y="192616"/>
                  </a:cubicBezTo>
                  <a:cubicBezTo>
                    <a:pt x="28480" y="184191"/>
                    <a:pt x="29047" y="172938"/>
                    <a:pt x="29300" y="163057"/>
                  </a:cubicBezTo>
                  <a:cubicBezTo>
                    <a:pt x="29592" y="151904"/>
                    <a:pt x="29316" y="140719"/>
                    <a:pt x="29331" y="129566"/>
                  </a:cubicBezTo>
                  <a:cubicBezTo>
                    <a:pt x="29354" y="111582"/>
                    <a:pt x="29469" y="38673"/>
                    <a:pt x="29454" y="0"/>
                  </a:cubicBezTo>
                  <a:lnTo>
                    <a:pt x="57280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8" name="Freeform: Shape 2717">
              <a:extLst>
                <a:ext uri="{FF2B5EF4-FFF2-40B4-BE49-F238E27FC236}">
                  <a16:creationId xmlns:a16="http://schemas.microsoft.com/office/drawing/2014/main" id="{B16670E5-9B9B-F8B7-DFB1-2E8161C231F3}"/>
                </a:ext>
              </a:extLst>
            </p:cNvPr>
            <p:cNvSpPr/>
            <p:nvPr/>
          </p:nvSpPr>
          <p:spPr>
            <a:xfrm>
              <a:off x="7382023" y="3595891"/>
              <a:ext cx="224037" cy="383079"/>
            </a:xfrm>
            <a:custGeom>
              <a:avLst/>
              <a:gdLst>
                <a:gd name="connsiteX0" fmla="*/ 213351 w 224037"/>
                <a:gd name="connsiteY0" fmla="*/ 5 h 383079"/>
                <a:gd name="connsiteX1" fmla="*/ 35285 w 224037"/>
                <a:gd name="connsiteY1" fmla="*/ 2995 h 383079"/>
                <a:gd name="connsiteX2" fmla="*/ 23487 w 224037"/>
                <a:gd name="connsiteY2" fmla="*/ 14256 h 383079"/>
                <a:gd name="connsiteX3" fmla="*/ 26 w 224037"/>
                <a:gd name="connsiteY3" fmla="*/ 371478 h 383079"/>
                <a:gd name="connsiteX4" fmla="*/ 10593 w 224037"/>
                <a:gd name="connsiteY4" fmla="*/ 383080 h 383079"/>
                <a:gd name="connsiteX5" fmla="*/ 192834 w 224037"/>
                <a:gd name="connsiteY5" fmla="*/ 383080 h 383079"/>
                <a:gd name="connsiteX6" fmla="*/ 204976 w 224037"/>
                <a:gd name="connsiteY6" fmla="*/ 371370 h 383079"/>
                <a:gd name="connsiteX7" fmla="*/ 224022 w 224037"/>
                <a:gd name="connsiteY7" fmla="*/ 10983 h 383079"/>
                <a:gd name="connsiteX8" fmla="*/ 213355 w 224037"/>
                <a:gd name="connsiteY8" fmla="*/ 2 h 383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037" h="383079">
                  <a:moveTo>
                    <a:pt x="213351" y="5"/>
                  </a:moveTo>
                  <a:lnTo>
                    <a:pt x="35285" y="2995"/>
                  </a:lnTo>
                  <a:cubicBezTo>
                    <a:pt x="29167" y="3099"/>
                    <a:pt x="23889" y="8139"/>
                    <a:pt x="23487" y="14256"/>
                  </a:cubicBezTo>
                  <a:lnTo>
                    <a:pt x="26" y="371478"/>
                  </a:lnTo>
                  <a:cubicBezTo>
                    <a:pt x="-395" y="377882"/>
                    <a:pt x="4334" y="383080"/>
                    <a:pt x="10593" y="383080"/>
                  </a:cubicBezTo>
                  <a:lnTo>
                    <a:pt x="192834" y="383080"/>
                  </a:lnTo>
                  <a:cubicBezTo>
                    <a:pt x="199196" y="383080"/>
                    <a:pt x="204635" y="377836"/>
                    <a:pt x="204976" y="371370"/>
                  </a:cubicBezTo>
                  <a:lnTo>
                    <a:pt x="224022" y="10983"/>
                  </a:lnTo>
                  <a:cubicBezTo>
                    <a:pt x="224347" y="4812"/>
                    <a:pt x="219572" y="-102"/>
                    <a:pt x="213355" y="2"/>
                  </a:cubicBezTo>
                  <a:close/>
                </a:path>
              </a:pathLst>
            </a:custGeom>
            <a:solidFill>
              <a:srgbClr val="E9F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9" name="Freeform: Shape 2718">
              <a:extLst>
                <a:ext uri="{FF2B5EF4-FFF2-40B4-BE49-F238E27FC236}">
                  <a16:creationId xmlns:a16="http://schemas.microsoft.com/office/drawing/2014/main" id="{80F745BE-3B60-B269-F965-E795D352AD37}"/>
                </a:ext>
              </a:extLst>
            </p:cNvPr>
            <p:cNvSpPr/>
            <p:nvPr/>
          </p:nvSpPr>
          <p:spPr>
            <a:xfrm>
              <a:off x="7372912" y="3595891"/>
              <a:ext cx="224037" cy="383079"/>
            </a:xfrm>
            <a:custGeom>
              <a:avLst/>
              <a:gdLst>
                <a:gd name="connsiteX0" fmla="*/ 213351 w 224037"/>
                <a:gd name="connsiteY0" fmla="*/ 5 h 383079"/>
                <a:gd name="connsiteX1" fmla="*/ 35285 w 224037"/>
                <a:gd name="connsiteY1" fmla="*/ 2995 h 383079"/>
                <a:gd name="connsiteX2" fmla="*/ 23487 w 224037"/>
                <a:gd name="connsiteY2" fmla="*/ 14256 h 383079"/>
                <a:gd name="connsiteX3" fmla="*/ 26 w 224037"/>
                <a:gd name="connsiteY3" fmla="*/ 371478 h 383079"/>
                <a:gd name="connsiteX4" fmla="*/ 10593 w 224037"/>
                <a:gd name="connsiteY4" fmla="*/ 383080 h 383079"/>
                <a:gd name="connsiteX5" fmla="*/ 192834 w 224037"/>
                <a:gd name="connsiteY5" fmla="*/ 383080 h 383079"/>
                <a:gd name="connsiteX6" fmla="*/ 204976 w 224037"/>
                <a:gd name="connsiteY6" fmla="*/ 371370 h 383079"/>
                <a:gd name="connsiteX7" fmla="*/ 224022 w 224037"/>
                <a:gd name="connsiteY7" fmla="*/ 10983 h 383079"/>
                <a:gd name="connsiteX8" fmla="*/ 213355 w 224037"/>
                <a:gd name="connsiteY8" fmla="*/ 2 h 383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037" h="383079">
                  <a:moveTo>
                    <a:pt x="213351" y="5"/>
                  </a:moveTo>
                  <a:lnTo>
                    <a:pt x="35285" y="2995"/>
                  </a:lnTo>
                  <a:cubicBezTo>
                    <a:pt x="29167" y="3099"/>
                    <a:pt x="23889" y="8139"/>
                    <a:pt x="23487" y="14256"/>
                  </a:cubicBezTo>
                  <a:lnTo>
                    <a:pt x="26" y="371478"/>
                  </a:lnTo>
                  <a:cubicBezTo>
                    <a:pt x="-395" y="377882"/>
                    <a:pt x="4334" y="383080"/>
                    <a:pt x="10593" y="383080"/>
                  </a:cubicBezTo>
                  <a:lnTo>
                    <a:pt x="192834" y="383080"/>
                  </a:lnTo>
                  <a:cubicBezTo>
                    <a:pt x="199196" y="383080"/>
                    <a:pt x="204635" y="377836"/>
                    <a:pt x="204976" y="371370"/>
                  </a:cubicBezTo>
                  <a:lnTo>
                    <a:pt x="224022" y="10983"/>
                  </a:lnTo>
                  <a:cubicBezTo>
                    <a:pt x="224347" y="4812"/>
                    <a:pt x="219572" y="-102"/>
                    <a:pt x="213355" y="2"/>
                  </a:cubicBezTo>
                  <a:close/>
                </a:path>
              </a:pathLst>
            </a:custGeom>
            <a:solidFill>
              <a:srgbClr val="383CA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0" name="Freeform: Shape 2719">
              <a:extLst>
                <a:ext uri="{FF2B5EF4-FFF2-40B4-BE49-F238E27FC236}">
                  <a16:creationId xmlns:a16="http://schemas.microsoft.com/office/drawing/2014/main" id="{BF2D5F48-3316-DB7F-4A74-DE9E08E353D5}"/>
                </a:ext>
              </a:extLst>
            </p:cNvPr>
            <p:cNvSpPr/>
            <p:nvPr/>
          </p:nvSpPr>
          <p:spPr>
            <a:xfrm>
              <a:off x="7390631" y="3615812"/>
              <a:ext cx="188449" cy="341633"/>
            </a:xfrm>
            <a:custGeom>
              <a:avLst/>
              <a:gdLst>
                <a:gd name="connsiteX0" fmla="*/ 188450 w 188449"/>
                <a:gd name="connsiteY0" fmla="*/ 0 h 341633"/>
                <a:gd name="connsiteX1" fmla="*/ 170025 w 188449"/>
                <a:gd name="connsiteY1" fmla="*/ 341472 h 341633"/>
                <a:gd name="connsiteX2" fmla="*/ 0 w 188449"/>
                <a:gd name="connsiteY2" fmla="*/ 341633 h 341633"/>
                <a:gd name="connsiteX3" fmla="*/ 21905 w 188449"/>
                <a:gd name="connsiteY3" fmla="*/ 2652 h 341633"/>
                <a:gd name="connsiteX4" fmla="*/ 188450 w 188449"/>
                <a:gd name="connsiteY4" fmla="*/ 0 h 34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449" h="341633">
                  <a:moveTo>
                    <a:pt x="188450" y="0"/>
                  </a:moveTo>
                  <a:lnTo>
                    <a:pt x="170025" y="341472"/>
                  </a:lnTo>
                  <a:lnTo>
                    <a:pt x="0" y="341633"/>
                  </a:lnTo>
                  <a:lnTo>
                    <a:pt x="21905" y="2652"/>
                  </a:lnTo>
                  <a:lnTo>
                    <a:pt x="188450" y="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1" name="Freeform: Shape 2720">
              <a:extLst>
                <a:ext uri="{FF2B5EF4-FFF2-40B4-BE49-F238E27FC236}">
                  <a16:creationId xmlns:a16="http://schemas.microsoft.com/office/drawing/2014/main" id="{58D0F4A4-B96E-6D72-0782-91BA473C3E94}"/>
                </a:ext>
              </a:extLst>
            </p:cNvPr>
            <p:cNvSpPr/>
            <p:nvPr/>
          </p:nvSpPr>
          <p:spPr>
            <a:xfrm>
              <a:off x="7414640" y="3676007"/>
              <a:ext cx="16419" cy="32456"/>
            </a:xfrm>
            <a:custGeom>
              <a:avLst/>
              <a:gdLst>
                <a:gd name="connsiteX0" fmla="*/ 14381 w 16419"/>
                <a:gd name="connsiteY0" fmla="*/ 32284 h 32456"/>
                <a:gd name="connsiteX1" fmla="*/ 0 w 16419"/>
                <a:gd name="connsiteY1" fmla="*/ 32457 h 32456"/>
                <a:gd name="connsiteX2" fmla="*/ 2066 w 16419"/>
                <a:gd name="connsiteY2" fmla="*/ 195 h 32456"/>
                <a:gd name="connsiteX3" fmla="*/ 16420 w 16419"/>
                <a:gd name="connsiteY3" fmla="*/ 0 h 32456"/>
                <a:gd name="connsiteX4" fmla="*/ 14381 w 16419"/>
                <a:gd name="connsiteY4" fmla="*/ 32284 h 32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19" h="32456">
                  <a:moveTo>
                    <a:pt x="14381" y="32284"/>
                  </a:moveTo>
                  <a:lnTo>
                    <a:pt x="0" y="32457"/>
                  </a:lnTo>
                  <a:lnTo>
                    <a:pt x="2066" y="195"/>
                  </a:lnTo>
                  <a:lnTo>
                    <a:pt x="16420" y="0"/>
                  </a:lnTo>
                  <a:lnTo>
                    <a:pt x="14381" y="32284"/>
                  </a:ln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2" name="Freeform: Shape 2721">
              <a:extLst>
                <a:ext uri="{FF2B5EF4-FFF2-40B4-BE49-F238E27FC236}">
                  <a16:creationId xmlns:a16="http://schemas.microsoft.com/office/drawing/2014/main" id="{C7847322-E4FE-8104-8833-81CE5D27C2A9}"/>
                </a:ext>
              </a:extLst>
            </p:cNvPr>
            <p:cNvSpPr/>
            <p:nvPr/>
          </p:nvSpPr>
          <p:spPr>
            <a:xfrm>
              <a:off x="7418656" y="3660453"/>
              <a:ext cx="42410" cy="6232"/>
            </a:xfrm>
            <a:custGeom>
              <a:avLst/>
              <a:gdLst>
                <a:gd name="connsiteX0" fmla="*/ 41767 w 42410"/>
                <a:gd name="connsiteY0" fmla="*/ 6060 h 6232"/>
                <a:gd name="connsiteX1" fmla="*/ 0 w 42410"/>
                <a:gd name="connsiteY1" fmla="*/ 6232 h 6232"/>
                <a:gd name="connsiteX2" fmla="*/ 333 w 42410"/>
                <a:gd name="connsiteY2" fmla="*/ 180 h 6232"/>
                <a:gd name="connsiteX3" fmla="*/ 42410 w 42410"/>
                <a:gd name="connsiteY3" fmla="*/ 0 h 6232"/>
                <a:gd name="connsiteX4" fmla="*/ 41767 w 42410"/>
                <a:gd name="connsiteY4" fmla="*/ 6060 h 6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10" h="6232">
                  <a:moveTo>
                    <a:pt x="41767" y="6060"/>
                  </a:moveTo>
                  <a:lnTo>
                    <a:pt x="0" y="6232"/>
                  </a:lnTo>
                  <a:lnTo>
                    <a:pt x="333" y="180"/>
                  </a:lnTo>
                  <a:lnTo>
                    <a:pt x="42410" y="0"/>
                  </a:lnTo>
                  <a:lnTo>
                    <a:pt x="41767" y="6060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3" name="Freeform: Shape 2722">
              <a:extLst>
                <a:ext uri="{FF2B5EF4-FFF2-40B4-BE49-F238E27FC236}">
                  <a16:creationId xmlns:a16="http://schemas.microsoft.com/office/drawing/2014/main" id="{FCCB1147-8F90-12C3-F5C4-E7A00DE84D90}"/>
                </a:ext>
              </a:extLst>
            </p:cNvPr>
            <p:cNvSpPr/>
            <p:nvPr/>
          </p:nvSpPr>
          <p:spPr>
            <a:xfrm>
              <a:off x="7464014" y="3660453"/>
              <a:ext cx="32954" cy="6232"/>
            </a:xfrm>
            <a:custGeom>
              <a:avLst/>
              <a:gdLst>
                <a:gd name="connsiteX0" fmla="*/ 32311 w 32954"/>
                <a:gd name="connsiteY0" fmla="*/ 6060 h 6232"/>
                <a:gd name="connsiteX1" fmla="*/ 0 w 32954"/>
                <a:gd name="connsiteY1" fmla="*/ 6232 h 6232"/>
                <a:gd name="connsiteX2" fmla="*/ 330 w 32954"/>
                <a:gd name="connsiteY2" fmla="*/ 180 h 6232"/>
                <a:gd name="connsiteX3" fmla="*/ 32955 w 32954"/>
                <a:gd name="connsiteY3" fmla="*/ 0 h 6232"/>
                <a:gd name="connsiteX4" fmla="*/ 32311 w 32954"/>
                <a:gd name="connsiteY4" fmla="*/ 6060 h 6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954" h="6232">
                  <a:moveTo>
                    <a:pt x="32311" y="6060"/>
                  </a:moveTo>
                  <a:lnTo>
                    <a:pt x="0" y="6232"/>
                  </a:lnTo>
                  <a:lnTo>
                    <a:pt x="330" y="180"/>
                  </a:lnTo>
                  <a:lnTo>
                    <a:pt x="32955" y="0"/>
                  </a:lnTo>
                  <a:lnTo>
                    <a:pt x="32311" y="6060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4" name="Freeform: Shape 2723">
              <a:extLst>
                <a:ext uri="{FF2B5EF4-FFF2-40B4-BE49-F238E27FC236}">
                  <a16:creationId xmlns:a16="http://schemas.microsoft.com/office/drawing/2014/main" id="{F76631E8-8188-50A3-82B2-7C2C23F7EB08}"/>
                </a:ext>
              </a:extLst>
            </p:cNvPr>
            <p:cNvSpPr/>
            <p:nvPr/>
          </p:nvSpPr>
          <p:spPr>
            <a:xfrm>
              <a:off x="7412206" y="3713814"/>
              <a:ext cx="16465" cy="32586"/>
            </a:xfrm>
            <a:custGeom>
              <a:avLst/>
              <a:gdLst>
                <a:gd name="connsiteX0" fmla="*/ 14415 w 16465"/>
                <a:gd name="connsiteY0" fmla="*/ 32437 h 32586"/>
                <a:gd name="connsiteX1" fmla="*/ 0 w 16465"/>
                <a:gd name="connsiteY1" fmla="*/ 32587 h 32586"/>
                <a:gd name="connsiteX2" fmla="*/ 2077 w 16465"/>
                <a:gd name="connsiteY2" fmla="*/ 169 h 32586"/>
                <a:gd name="connsiteX3" fmla="*/ 16466 w 16465"/>
                <a:gd name="connsiteY3" fmla="*/ 0 h 32586"/>
                <a:gd name="connsiteX4" fmla="*/ 14415 w 16465"/>
                <a:gd name="connsiteY4" fmla="*/ 32437 h 3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65" h="32586">
                  <a:moveTo>
                    <a:pt x="14415" y="32437"/>
                  </a:moveTo>
                  <a:lnTo>
                    <a:pt x="0" y="32587"/>
                  </a:lnTo>
                  <a:lnTo>
                    <a:pt x="2077" y="169"/>
                  </a:lnTo>
                  <a:lnTo>
                    <a:pt x="16466" y="0"/>
                  </a:lnTo>
                  <a:lnTo>
                    <a:pt x="14415" y="32437"/>
                  </a:ln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5" name="Freeform: Shape 2724">
              <a:extLst>
                <a:ext uri="{FF2B5EF4-FFF2-40B4-BE49-F238E27FC236}">
                  <a16:creationId xmlns:a16="http://schemas.microsoft.com/office/drawing/2014/main" id="{08C5504C-1975-BA96-A7F0-2E6C268A226D}"/>
                </a:ext>
              </a:extLst>
            </p:cNvPr>
            <p:cNvSpPr/>
            <p:nvPr/>
          </p:nvSpPr>
          <p:spPr>
            <a:xfrm>
              <a:off x="7409760" y="3751844"/>
              <a:ext cx="16508" cy="32717"/>
            </a:xfrm>
            <a:custGeom>
              <a:avLst/>
              <a:gdLst>
                <a:gd name="connsiteX0" fmla="*/ 14450 w 16508"/>
                <a:gd name="connsiteY0" fmla="*/ 32595 h 32717"/>
                <a:gd name="connsiteX1" fmla="*/ 0 w 16508"/>
                <a:gd name="connsiteY1" fmla="*/ 32717 h 32717"/>
                <a:gd name="connsiteX2" fmla="*/ 2089 w 16508"/>
                <a:gd name="connsiteY2" fmla="*/ 146 h 32717"/>
                <a:gd name="connsiteX3" fmla="*/ 16508 w 16508"/>
                <a:gd name="connsiteY3" fmla="*/ 0 h 32717"/>
                <a:gd name="connsiteX4" fmla="*/ 14450 w 16508"/>
                <a:gd name="connsiteY4" fmla="*/ 32595 h 3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08" h="32717">
                  <a:moveTo>
                    <a:pt x="14450" y="32595"/>
                  </a:moveTo>
                  <a:lnTo>
                    <a:pt x="0" y="32717"/>
                  </a:lnTo>
                  <a:lnTo>
                    <a:pt x="2089" y="146"/>
                  </a:lnTo>
                  <a:lnTo>
                    <a:pt x="16508" y="0"/>
                  </a:lnTo>
                  <a:lnTo>
                    <a:pt x="14450" y="32595"/>
                  </a:ln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6" name="Freeform: Shape 2725">
              <a:extLst>
                <a:ext uri="{FF2B5EF4-FFF2-40B4-BE49-F238E27FC236}">
                  <a16:creationId xmlns:a16="http://schemas.microsoft.com/office/drawing/2014/main" id="{F95A2D2C-7361-6BD3-1B2C-7C843D73CE88}"/>
                </a:ext>
              </a:extLst>
            </p:cNvPr>
            <p:cNvSpPr/>
            <p:nvPr/>
          </p:nvSpPr>
          <p:spPr>
            <a:xfrm>
              <a:off x="7407304" y="3790015"/>
              <a:ext cx="16554" cy="32855"/>
            </a:xfrm>
            <a:custGeom>
              <a:avLst/>
              <a:gdLst>
                <a:gd name="connsiteX0" fmla="*/ 14484 w 16554"/>
                <a:gd name="connsiteY0" fmla="*/ 32756 h 32855"/>
                <a:gd name="connsiteX1" fmla="*/ 0 w 16554"/>
                <a:gd name="connsiteY1" fmla="*/ 32855 h 32855"/>
                <a:gd name="connsiteX2" fmla="*/ 2100 w 16554"/>
                <a:gd name="connsiteY2" fmla="*/ 123 h 32855"/>
                <a:gd name="connsiteX3" fmla="*/ 16554 w 16554"/>
                <a:gd name="connsiteY3" fmla="*/ 0 h 32855"/>
                <a:gd name="connsiteX4" fmla="*/ 14484 w 16554"/>
                <a:gd name="connsiteY4" fmla="*/ 32756 h 32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54" h="32855">
                  <a:moveTo>
                    <a:pt x="14484" y="32756"/>
                  </a:moveTo>
                  <a:lnTo>
                    <a:pt x="0" y="32855"/>
                  </a:lnTo>
                  <a:lnTo>
                    <a:pt x="2100" y="123"/>
                  </a:lnTo>
                  <a:lnTo>
                    <a:pt x="16554" y="0"/>
                  </a:lnTo>
                  <a:lnTo>
                    <a:pt x="14484" y="32756"/>
                  </a:ln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7" name="Freeform: Shape 2726">
              <a:extLst>
                <a:ext uri="{FF2B5EF4-FFF2-40B4-BE49-F238E27FC236}">
                  <a16:creationId xmlns:a16="http://schemas.microsoft.com/office/drawing/2014/main" id="{D3A69AC1-ADD9-33E5-2A07-8C6608EE9B9E}"/>
                </a:ext>
              </a:extLst>
            </p:cNvPr>
            <p:cNvSpPr/>
            <p:nvPr/>
          </p:nvSpPr>
          <p:spPr>
            <a:xfrm>
              <a:off x="7404835" y="3828413"/>
              <a:ext cx="16592" cy="32989"/>
            </a:xfrm>
            <a:custGeom>
              <a:avLst/>
              <a:gdLst>
                <a:gd name="connsiteX0" fmla="*/ 14515 w 16592"/>
                <a:gd name="connsiteY0" fmla="*/ 32917 h 32989"/>
                <a:gd name="connsiteX1" fmla="*/ 0 w 16592"/>
                <a:gd name="connsiteY1" fmla="*/ 32989 h 32989"/>
                <a:gd name="connsiteX2" fmla="*/ 2108 w 16592"/>
                <a:gd name="connsiteY2" fmla="*/ 100 h 32989"/>
                <a:gd name="connsiteX3" fmla="*/ 16592 w 16592"/>
                <a:gd name="connsiteY3" fmla="*/ 0 h 32989"/>
                <a:gd name="connsiteX4" fmla="*/ 14515 w 16592"/>
                <a:gd name="connsiteY4" fmla="*/ 32917 h 32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92" h="32989">
                  <a:moveTo>
                    <a:pt x="14515" y="32917"/>
                  </a:moveTo>
                  <a:lnTo>
                    <a:pt x="0" y="32989"/>
                  </a:lnTo>
                  <a:lnTo>
                    <a:pt x="2108" y="100"/>
                  </a:lnTo>
                  <a:lnTo>
                    <a:pt x="16592" y="0"/>
                  </a:lnTo>
                  <a:lnTo>
                    <a:pt x="14515" y="32917"/>
                  </a:ln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8" name="Freeform: Shape 2727">
              <a:extLst>
                <a:ext uri="{FF2B5EF4-FFF2-40B4-BE49-F238E27FC236}">
                  <a16:creationId xmlns:a16="http://schemas.microsoft.com/office/drawing/2014/main" id="{FA83681C-58C8-2B4F-065F-27AA74F1153F}"/>
                </a:ext>
              </a:extLst>
            </p:cNvPr>
            <p:cNvSpPr/>
            <p:nvPr/>
          </p:nvSpPr>
          <p:spPr>
            <a:xfrm>
              <a:off x="7402355" y="3866960"/>
              <a:ext cx="16638" cy="33123"/>
            </a:xfrm>
            <a:custGeom>
              <a:avLst/>
              <a:gdLst>
                <a:gd name="connsiteX0" fmla="*/ 14550 w 16638"/>
                <a:gd name="connsiteY0" fmla="*/ 33074 h 33123"/>
                <a:gd name="connsiteX1" fmla="*/ 0 w 16638"/>
                <a:gd name="connsiteY1" fmla="*/ 33123 h 33123"/>
                <a:gd name="connsiteX2" fmla="*/ 2120 w 16638"/>
                <a:gd name="connsiteY2" fmla="*/ 73 h 33123"/>
                <a:gd name="connsiteX3" fmla="*/ 16638 w 16638"/>
                <a:gd name="connsiteY3" fmla="*/ 0 h 33123"/>
                <a:gd name="connsiteX4" fmla="*/ 14550 w 16638"/>
                <a:gd name="connsiteY4" fmla="*/ 33074 h 33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38" h="33123">
                  <a:moveTo>
                    <a:pt x="14550" y="33074"/>
                  </a:moveTo>
                  <a:lnTo>
                    <a:pt x="0" y="33123"/>
                  </a:lnTo>
                  <a:lnTo>
                    <a:pt x="2120" y="73"/>
                  </a:lnTo>
                  <a:lnTo>
                    <a:pt x="16638" y="0"/>
                  </a:lnTo>
                  <a:lnTo>
                    <a:pt x="14550" y="33074"/>
                  </a:ln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9" name="Freeform: Shape 2728">
              <a:extLst>
                <a:ext uri="{FF2B5EF4-FFF2-40B4-BE49-F238E27FC236}">
                  <a16:creationId xmlns:a16="http://schemas.microsoft.com/office/drawing/2014/main" id="{51FBE558-9BB1-901B-BE01-F17DB182CB2A}"/>
                </a:ext>
              </a:extLst>
            </p:cNvPr>
            <p:cNvSpPr/>
            <p:nvPr/>
          </p:nvSpPr>
          <p:spPr>
            <a:xfrm>
              <a:off x="7399860" y="3905733"/>
              <a:ext cx="16684" cy="33261"/>
            </a:xfrm>
            <a:custGeom>
              <a:avLst/>
              <a:gdLst>
                <a:gd name="connsiteX0" fmla="*/ 14584 w 16684"/>
                <a:gd name="connsiteY0" fmla="*/ 33238 h 33261"/>
                <a:gd name="connsiteX1" fmla="*/ 0 w 16684"/>
                <a:gd name="connsiteY1" fmla="*/ 33261 h 33261"/>
                <a:gd name="connsiteX2" fmla="*/ 2131 w 16684"/>
                <a:gd name="connsiteY2" fmla="*/ 50 h 33261"/>
                <a:gd name="connsiteX3" fmla="*/ 16684 w 16684"/>
                <a:gd name="connsiteY3" fmla="*/ 0 h 33261"/>
                <a:gd name="connsiteX4" fmla="*/ 14584 w 16684"/>
                <a:gd name="connsiteY4" fmla="*/ 33238 h 33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84" h="33261">
                  <a:moveTo>
                    <a:pt x="14584" y="33238"/>
                  </a:moveTo>
                  <a:lnTo>
                    <a:pt x="0" y="33261"/>
                  </a:lnTo>
                  <a:lnTo>
                    <a:pt x="2131" y="50"/>
                  </a:lnTo>
                  <a:lnTo>
                    <a:pt x="16684" y="0"/>
                  </a:lnTo>
                  <a:lnTo>
                    <a:pt x="14584" y="33238"/>
                  </a:ln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0" name="Freeform: Shape 2729">
              <a:extLst>
                <a:ext uri="{FF2B5EF4-FFF2-40B4-BE49-F238E27FC236}">
                  <a16:creationId xmlns:a16="http://schemas.microsoft.com/office/drawing/2014/main" id="{FF670361-3DD5-94C6-01F5-6A887BBD1E96}"/>
                </a:ext>
              </a:extLst>
            </p:cNvPr>
            <p:cNvSpPr/>
            <p:nvPr/>
          </p:nvSpPr>
          <p:spPr>
            <a:xfrm>
              <a:off x="7398680" y="3944655"/>
              <a:ext cx="15404" cy="12782"/>
            </a:xfrm>
            <a:custGeom>
              <a:avLst/>
              <a:gdLst>
                <a:gd name="connsiteX0" fmla="*/ 15404 w 15404"/>
                <a:gd name="connsiteY0" fmla="*/ 0 h 12782"/>
                <a:gd name="connsiteX1" fmla="*/ 14599 w 15404"/>
                <a:gd name="connsiteY1" fmla="*/ 12767 h 12782"/>
                <a:gd name="connsiteX2" fmla="*/ 0 w 15404"/>
                <a:gd name="connsiteY2" fmla="*/ 12783 h 12782"/>
                <a:gd name="connsiteX3" fmla="*/ 816 w 15404"/>
                <a:gd name="connsiteY3" fmla="*/ 23 h 12782"/>
                <a:gd name="connsiteX4" fmla="*/ 15404 w 15404"/>
                <a:gd name="connsiteY4" fmla="*/ 0 h 1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04" h="12782">
                  <a:moveTo>
                    <a:pt x="15404" y="0"/>
                  </a:moveTo>
                  <a:lnTo>
                    <a:pt x="14599" y="12767"/>
                  </a:lnTo>
                  <a:lnTo>
                    <a:pt x="0" y="12783"/>
                  </a:lnTo>
                  <a:lnTo>
                    <a:pt x="816" y="23"/>
                  </a:lnTo>
                  <a:lnTo>
                    <a:pt x="15404" y="0"/>
                  </a:ln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1" name="Freeform: Shape 2730">
              <a:extLst>
                <a:ext uri="{FF2B5EF4-FFF2-40B4-BE49-F238E27FC236}">
                  <a16:creationId xmlns:a16="http://schemas.microsoft.com/office/drawing/2014/main" id="{B217CDC3-05F3-1E73-4DE9-94AB041B4941}"/>
                </a:ext>
              </a:extLst>
            </p:cNvPr>
            <p:cNvSpPr/>
            <p:nvPr/>
          </p:nvSpPr>
          <p:spPr>
            <a:xfrm>
              <a:off x="7434205" y="3675428"/>
              <a:ext cx="42538" cy="67232"/>
            </a:xfrm>
            <a:custGeom>
              <a:avLst/>
              <a:gdLst>
                <a:gd name="connsiteX0" fmla="*/ 36505 w 42538"/>
                <a:gd name="connsiteY0" fmla="*/ 66876 h 67232"/>
                <a:gd name="connsiteX1" fmla="*/ 2324 w 42538"/>
                <a:gd name="connsiteY1" fmla="*/ 67232 h 67232"/>
                <a:gd name="connsiteX2" fmla="*/ 5 w 42538"/>
                <a:gd name="connsiteY2" fmla="*/ 64787 h 67232"/>
                <a:gd name="connsiteX3" fmla="*/ 3907 w 42538"/>
                <a:gd name="connsiteY3" fmla="*/ 2610 h 67232"/>
                <a:gd name="connsiteX4" fmla="*/ 6172 w 42538"/>
                <a:gd name="connsiteY4" fmla="*/ 456 h 67232"/>
                <a:gd name="connsiteX5" fmla="*/ 40207 w 42538"/>
                <a:gd name="connsiteY5" fmla="*/ 0 h 67232"/>
                <a:gd name="connsiteX6" fmla="*/ 42534 w 42538"/>
                <a:gd name="connsiteY6" fmla="*/ 2438 h 67232"/>
                <a:gd name="connsiteX7" fmla="*/ 38782 w 42538"/>
                <a:gd name="connsiteY7" fmla="*/ 64714 h 67232"/>
                <a:gd name="connsiteX8" fmla="*/ 36509 w 42538"/>
                <a:gd name="connsiteY8" fmla="*/ 66876 h 67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538" h="67232">
                  <a:moveTo>
                    <a:pt x="36505" y="66876"/>
                  </a:moveTo>
                  <a:lnTo>
                    <a:pt x="2324" y="67232"/>
                  </a:lnTo>
                  <a:cubicBezTo>
                    <a:pt x="986" y="67248"/>
                    <a:pt x="-80" y="66121"/>
                    <a:pt x="5" y="64787"/>
                  </a:cubicBezTo>
                  <a:lnTo>
                    <a:pt x="3907" y="2610"/>
                  </a:lnTo>
                  <a:cubicBezTo>
                    <a:pt x="3983" y="1411"/>
                    <a:pt x="4968" y="472"/>
                    <a:pt x="6172" y="456"/>
                  </a:cubicBezTo>
                  <a:lnTo>
                    <a:pt x="40207" y="0"/>
                  </a:lnTo>
                  <a:cubicBezTo>
                    <a:pt x="41545" y="-19"/>
                    <a:pt x="42614" y="1104"/>
                    <a:pt x="42534" y="2438"/>
                  </a:cubicBezTo>
                  <a:lnTo>
                    <a:pt x="38782" y="64714"/>
                  </a:lnTo>
                  <a:cubicBezTo>
                    <a:pt x="38709" y="65918"/>
                    <a:pt x="37716" y="66864"/>
                    <a:pt x="36509" y="66876"/>
                  </a:cubicBez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2" name="Freeform: Shape 2731">
              <a:extLst>
                <a:ext uri="{FF2B5EF4-FFF2-40B4-BE49-F238E27FC236}">
                  <a16:creationId xmlns:a16="http://schemas.microsoft.com/office/drawing/2014/main" id="{7E4DD751-BCFB-3BCB-5F21-2404991DFDE4}"/>
                </a:ext>
              </a:extLst>
            </p:cNvPr>
            <p:cNvSpPr/>
            <p:nvPr/>
          </p:nvSpPr>
          <p:spPr>
            <a:xfrm>
              <a:off x="7478928" y="3674826"/>
              <a:ext cx="42522" cy="67362"/>
            </a:xfrm>
            <a:custGeom>
              <a:avLst/>
              <a:gdLst>
                <a:gd name="connsiteX0" fmla="*/ 36658 w 42522"/>
                <a:gd name="connsiteY0" fmla="*/ 67006 h 67362"/>
                <a:gd name="connsiteX1" fmla="*/ 2323 w 42522"/>
                <a:gd name="connsiteY1" fmla="*/ 67363 h 67362"/>
                <a:gd name="connsiteX2" fmla="*/ 4 w 42522"/>
                <a:gd name="connsiteY2" fmla="*/ 64925 h 67362"/>
                <a:gd name="connsiteX3" fmla="*/ 3737 w 42522"/>
                <a:gd name="connsiteY3" fmla="*/ 2618 h 67362"/>
                <a:gd name="connsiteX4" fmla="*/ 6003 w 42522"/>
                <a:gd name="connsiteY4" fmla="*/ 456 h 67362"/>
                <a:gd name="connsiteX5" fmla="*/ 40192 w 42522"/>
                <a:gd name="connsiteY5" fmla="*/ 0 h 67362"/>
                <a:gd name="connsiteX6" fmla="*/ 42518 w 42522"/>
                <a:gd name="connsiteY6" fmla="*/ 2430 h 67362"/>
                <a:gd name="connsiteX7" fmla="*/ 38935 w 42522"/>
                <a:gd name="connsiteY7" fmla="*/ 64833 h 67362"/>
                <a:gd name="connsiteX8" fmla="*/ 36662 w 42522"/>
                <a:gd name="connsiteY8" fmla="*/ 67002 h 67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522" h="67362">
                  <a:moveTo>
                    <a:pt x="36658" y="67006"/>
                  </a:moveTo>
                  <a:lnTo>
                    <a:pt x="2323" y="67363"/>
                  </a:lnTo>
                  <a:cubicBezTo>
                    <a:pt x="989" y="67378"/>
                    <a:pt x="-76" y="66255"/>
                    <a:pt x="4" y="64925"/>
                  </a:cubicBezTo>
                  <a:lnTo>
                    <a:pt x="3737" y="2618"/>
                  </a:lnTo>
                  <a:cubicBezTo>
                    <a:pt x="3810" y="1415"/>
                    <a:pt x="4799" y="472"/>
                    <a:pt x="6003" y="456"/>
                  </a:cubicBezTo>
                  <a:lnTo>
                    <a:pt x="40192" y="0"/>
                  </a:lnTo>
                  <a:cubicBezTo>
                    <a:pt x="41526" y="-19"/>
                    <a:pt x="42595" y="1100"/>
                    <a:pt x="42518" y="2430"/>
                  </a:cubicBezTo>
                  <a:lnTo>
                    <a:pt x="38935" y="64833"/>
                  </a:lnTo>
                  <a:cubicBezTo>
                    <a:pt x="38866" y="66040"/>
                    <a:pt x="37873" y="66987"/>
                    <a:pt x="36662" y="67002"/>
                  </a:cubicBez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3" name="Freeform: Shape 2732">
              <a:extLst>
                <a:ext uri="{FF2B5EF4-FFF2-40B4-BE49-F238E27FC236}">
                  <a16:creationId xmlns:a16="http://schemas.microsoft.com/office/drawing/2014/main" id="{B523643F-10FD-5914-7378-EDDE34B127CA}"/>
                </a:ext>
              </a:extLst>
            </p:cNvPr>
            <p:cNvSpPr/>
            <p:nvPr/>
          </p:nvSpPr>
          <p:spPr>
            <a:xfrm>
              <a:off x="7429230" y="3754208"/>
              <a:ext cx="42764" cy="67787"/>
            </a:xfrm>
            <a:custGeom>
              <a:avLst/>
              <a:gdLst>
                <a:gd name="connsiteX0" fmla="*/ 36685 w 42764"/>
                <a:gd name="connsiteY0" fmla="*/ 67550 h 67787"/>
                <a:gd name="connsiteX1" fmla="*/ 2316 w 42764"/>
                <a:gd name="connsiteY1" fmla="*/ 67788 h 67787"/>
                <a:gd name="connsiteX2" fmla="*/ 5 w 42764"/>
                <a:gd name="connsiteY2" fmla="*/ 65343 h 67787"/>
                <a:gd name="connsiteX3" fmla="*/ 3949 w 42764"/>
                <a:gd name="connsiteY3" fmla="*/ 2491 h 67787"/>
                <a:gd name="connsiteX4" fmla="*/ 6222 w 42764"/>
                <a:gd name="connsiteY4" fmla="*/ 337 h 67787"/>
                <a:gd name="connsiteX5" fmla="*/ 40441 w 42764"/>
                <a:gd name="connsiteY5" fmla="*/ 0 h 67787"/>
                <a:gd name="connsiteX6" fmla="*/ 42760 w 42764"/>
                <a:gd name="connsiteY6" fmla="*/ 2438 h 67787"/>
                <a:gd name="connsiteX7" fmla="*/ 38966 w 42764"/>
                <a:gd name="connsiteY7" fmla="*/ 65389 h 67787"/>
                <a:gd name="connsiteX8" fmla="*/ 36685 w 42764"/>
                <a:gd name="connsiteY8" fmla="*/ 67550 h 67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64" h="67787">
                  <a:moveTo>
                    <a:pt x="36685" y="67550"/>
                  </a:moveTo>
                  <a:lnTo>
                    <a:pt x="2316" y="67788"/>
                  </a:lnTo>
                  <a:cubicBezTo>
                    <a:pt x="982" y="67796"/>
                    <a:pt x="-80" y="66676"/>
                    <a:pt x="5" y="65343"/>
                  </a:cubicBezTo>
                  <a:lnTo>
                    <a:pt x="3949" y="2491"/>
                  </a:lnTo>
                  <a:cubicBezTo>
                    <a:pt x="4025" y="1288"/>
                    <a:pt x="5014" y="349"/>
                    <a:pt x="6222" y="337"/>
                  </a:cubicBezTo>
                  <a:lnTo>
                    <a:pt x="40441" y="0"/>
                  </a:lnTo>
                  <a:cubicBezTo>
                    <a:pt x="41775" y="-11"/>
                    <a:pt x="42841" y="1108"/>
                    <a:pt x="42760" y="2438"/>
                  </a:cubicBezTo>
                  <a:lnTo>
                    <a:pt x="38966" y="65389"/>
                  </a:lnTo>
                  <a:cubicBezTo>
                    <a:pt x="38893" y="66596"/>
                    <a:pt x="37896" y="67543"/>
                    <a:pt x="36685" y="67550"/>
                  </a:cubicBez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4" name="Freeform: Shape 2733">
              <a:extLst>
                <a:ext uri="{FF2B5EF4-FFF2-40B4-BE49-F238E27FC236}">
                  <a16:creationId xmlns:a16="http://schemas.microsoft.com/office/drawing/2014/main" id="{26C7DC12-37A2-FDC8-3DCF-446B88763132}"/>
                </a:ext>
              </a:extLst>
            </p:cNvPr>
            <p:cNvSpPr/>
            <p:nvPr/>
          </p:nvSpPr>
          <p:spPr>
            <a:xfrm>
              <a:off x="7473015" y="3752613"/>
              <a:ext cx="45047" cy="70222"/>
            </a:xfrm>
            <a:custGeom>
              <a:avLst/>
              <a:gdLst>
                <a:gd name="connsiteX0" fmla="*/ 3448 w 45047"/>
                <a:gd name="connsiteY0" fmla="*/ 70222 h 70222"/>
                <a:gd name="connsiteX1" fmla="*/ 945 w 45047"/>
                <a:gd name="connsiteY1" fmla="*/ 69145 h 70222"/>
                <a:gd name="connsiteX2" fmla="*/ 6 w 45047"/>
                <a:gd name="connsiteY2" fmla="*/ 66566 h 70222"/>
                <a:gd name="connsiteX3" fmla="*/ 3778 w 45047"/>
                <a:gd name="connsiteY3" fmla="*/ 3584 h 70222"/>
                <a:gd name="connsiteX4" fmla="*/ 7185 w 45047"/>
                <a:gd name="connsiteY4" fmla="*/ 342 h 70222"/>
                <a:gd name="connsiteX5" fmla="*/ 41562 w 45047"/>
                <a:gd name="connsiteY5" fmla="*/ 1 h 70222"/>
                <a:gd name="connsiteX6" fmla="*/ 44092 w 45047"/>
                <a:gd name="connsiteY6" fmla="*/ 1070 h 70222"/>
                <a:gd name="connsiteX7" fmla="*/ 45042 w 45047"/>
                <a:gd name="connsiteY7" fmla="*/ 3650 h 70222"/>
                <a:gd name="connsiteX8" fmla="*/ 41420 w 45047"/>
                <a:gd name="connsiteY8" fmla="*/ 66734 h 70222"/>
                <a:gd name="connsiteX9" fmla="*/ 38001 w 45047"/>
                <a:gd name="connsiteY9" fmla="*/ 69985 h 70222"/>
                <a:gd name="connsiteX10" fmla="*/ 3475 w 45047"/>
                <a:gd name="connsiteY10" fmla="*/ 70222 h 70222"/>
                <a:gd name="connsiteX11" fmla="*/ 3452 w 45047"/>
                <a:gd name="connsiteY11" fmla="*/ 70222 h 70222"/>
                <a:gd name="connsiteX12" fmla="*/ 41596 w 45047"/>
                <a:gd name="connsiteY12" fmla="*/ 2300 h 70222"/>
                <a:gd name="connsiteX13" fmla="*/ 41585 w 45047"/>
                <a:gd name="connsiteY13" fmla="*/ 2300 h 70222"/>
                <a:gd name="connsiteX14" fmla="*/ 7208 w 45047"/>
                <a:gd name="connsiteY14" fmla="*/ 2641 h 70222"/>
                <a:gd name="connsiteX15" fmla="*/ 6074 w 45047"/>
                <a:gd name="connsiteY15" fmla="*/ 3722 h 70222"/>
                <a:gd name="connsiteX16" fmla="*/ 2302 w 45047"/>
                <a:gd name="connsiteY16" fmla="*/ 66704 h 70222"/>
                <a:gd name="connsiteX17" fmla="*/ 2616 w 45047"/>
                <a:gd name="connsiteY17" fmla="*/ 67562 h 70222"/>
                <a:gd name="connsiteX18" fmla="*/ 3460 w 45047"/>
                <a:gd name="connsiteY18" fmla="*/ 67923 h 70222"/>
                <a:gd name="connsiteX19" fmla="*/ 37986 w 45047"/>
                <a:gd name="connsiteY19" fmla="*/ 67685 h 70222"/>
                <a:gd name="connsiteX20" fmla="*/ 39128 w 45047"/>
                <a:gd name="connsiteY20" fmla="*/ 66600 h 70222"/>
                <a:gd name="connsiteX21" fmla="*/ 42750 w 45047"/>
                <a:gd name="connsiteY21" fmla="*/ 3515 h 70222"/>
                <a:gd name="connsiteX22" fmla="*/ 42432 w 45047"/>
                <a:gd name="connsiteY22" fmla="*/ 2657 h 70222"/>
                <a:gd name="connsiteX23" fmla="*/ 41600 w 45047"/>
                <a:gd name="connsiteY23" fmla="*/ 2300 h 7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5047" h="70222">
                  <a:moveTo>
                    <a:pt x="3448" y="70222"/>
                  </a:moveTo>
                  <a:cubicBezTo>
                    <a:pt x="2505" y="70222"/>
                    <a:pt x="1593" y="69831"/>
                    <a:pt x="945" y="69145"/>
                  </a:cubicBezTo>
                  <a:cubicBezTo>
                    <a:pt x="290" y="68455"/>
                    <a:pt x="-51" y="67516"/>
                    <a:pt x="6" y="66566"/>
                  </a:cubicBezTo>
                  <a:lnTo>
                    <a:pt x="3778" y="3584"/>
                  </a:lnTo>
                  <a:cubicBezTo>
                    <a:pt x="3885" y="1783"/>
                    <a:pt x="5384" y="357"/>
                    <a:pt x="7185" y="342"/>
                  </a:cubicBezTo>
                  <a:lnTo>
                    <a:pt x="41562" y="1"/>
                  </a:lnTo>
                  <a:cubicBezTo>
                    <a:pt x="42501" y="-19"/>
                    <a:pt x="43436" y="380"/>
                    <a:pt x="44092" y="1070"/>
                  </a:cubicBezTo>
                  <a:cubicBezTo>
                    <a:pt x="44747" y="1760"/>
                    <a:pt x="45096" y="2699"/>
                    <a:pt x="45042" y="3650"/>
                  </a:cubicBezTo>
                  <a:lnTo>
                    <a:pt x="41420" y="66734"/>
                  </a:lnTo>
                  <a:cubicBezTo>
                    <a:pt x="41317" y="68544"/>
                    <a:pt x="39814" y="69973"/>
                    <a:pt x="38001" y="69985"/>
                  </a:cubicBezTo>
                  <a:lnTo>
                    <a:pt x="3475" y="70222"/>
                  </a:lnTo>
                  <a:lnTo>
                    <a:pt x="3452" y="70222"/>
                  </a:lnTo>
                  <a:close/>
                  <a:moveTo>
                    <a:pt x="41596" y="2300"/>
                  </a:moveTo>
                  <a:lnTo>
                    <a:pt x="41585" y="2300"/>
                  </a:lnTo>
                  <a:lnTo>
                    <a:pt x="7208" y="2641"/>
                  </a:lnTo>
                  <a:cubicBezTo>
                    <a:pt x="6606" y="2649"/>
                    <a:pt x="6108" y="3121"/>
                    <a:pt x="6074" y="3722"/>
                  </a:cubicBezTo>
                  <a:lnTo>
                    <a:pt x="2302" y="66704"/>
                  </a:lnTo>
                  <a:cubicBezTo>
                    <a:pt x="2283" y="67026"/>
                    <a:pt x="2394" y="67329"/>
                    <a:pt x="2616" y="67562"/>
                  </a:cubicBezTo>
                  <a:cubicBezTo>
                    <a:pt x="2839" y="67796"/>
                    <a:pt x="3115" y="67926"/>
                    <a:pt x="3460" y="67923"/>
                  </a:cubicBezTo>
                  <a:lnTo>
                    <a:pt x="37986" y="67685"/>
                  </a:lnTo>
                  <a:cubicBezTo>
                    <a:pt x="38592" y="67681"/>
                    <a:pt x="39090" y="67206"/>
                    <a:pt x="39128" y="66600"/>
                  </a:cubicBezTo>
                  <a:lnTo>
                    <a:pt x="42750" y="3515"/>
                  </a:lnTo>
                  <a:cubicBezTo>
                    <a:pt x="42769" y="3193"/>
                    <a:pt x="42654" y="2891"/>
                    <a:pt x="42432" y="2657"/>
                  </a:cubicBezTo>
                  <a:cubicBezTo>
                    <a:pt x="42214" y="2427"/>
                    <a:pt x="41918" y="2300"/>
                    <a:pt x="41600" y="2300"/>
                  </a:cubicBez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5" name="Freeform: Shape 2734">
              <a:extLst>
                <a:ext uri="{FF2B5EF4-FFF2-40B4-BE49-F238E27FC236}">
                  <a16:creationId xmlns:a16="http://schemas.microsoft.com/office/drawing/2014/main" id="{E7BF65A4-F7F8-A0FB-84ED-D4D1F9CC200F}"/>
                </a:ext>
              </a:extLst>
            </p:cNvPr>
            <p:cNvSpPr/>
            <p:nvPr/>
          </p:nvSpPr>
          <p:spPr>
            <a:xfrm>
              <a:off x="7424198" y="3833786"/>
              <a:ext cx="42998" cy="68351"/>
            </a:xfrm>
            <a:custGeom>
              <a:avLst/>
              <a:gdLst>
                <a:gd name="connsiteX0" fmla="*/ 36869 w 42998"/>
                <a:gd name="connsiteY0" fmla="*/ 68232 h 68351"/>
                <a:gd name="connsiteX1" fmla="*/ 2308 w 42998"/>
                <a:gd name="connsiteY1" fmla="*/ 68351 h 68351"/>
                <a:gd name="connsiteX2" fmla="*/ 5 w 42998"/>
                <a:gd name="connsiteY2" fmla="*/ 65906 h 68351"/>
                <a:gd name="connsiteX3" fmla="*/ 3991 w 42998"/>
                <a:gd name="connsiteY3" fmla="*/ 2373 h 68351"/>
                <a:gd name="connsiteX4" fmla="*/ 6271 w 42998"/>
                <a:gd name="connsiteY4" fmla="*/ 219 h 68351"/>
                <a:gd name="connsiteX5" fmla="*/ 40683 w 42998"/>
                <a:gd name="connsiteY5" fmla="*/ 0 h 68351"/>
                <a:gd name="connsiteX6" fmla="*/ 42994 w 42998"/>
                <a:gd name="connsiteY6" fmla="*/ 2438 h 68351"/>
                <a:gd name="connsiteX7" fmla="*/ 39157 w 42998"/>
                <a:gd name="connsiteY7" fmla="*/ 66075 h 68351"/>
                <a:gd name="connsiteX8" fmla="*/ 36869 w 42998"/>
                <a:gd name="connsiteY8" fmla="*/ 68236 h 68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998" h="68351">
                  <a:moveTo>
                    <a:pt x="36869" y="68232"/>
                  </a:moveTo>
                  <a:lnTo>
                    <a:pt x="2308" y="68351"/>
                  </a:lnTo>
                  <a:cubicBezTo>
                    <a:pt x="978" y="68355"/>
                    <a:pt x="-80" y="67236"/>
                    <a:pt x="5" y="65906"/>
                  </a:cubicBezTo>
                  <a:lnTo>
                    <a:pt x="3991" y="2373"/>
                  </a:lnTo>
                  <a:cubicBezTo>
                    <a:pt x="4068" y="1165"/>
                    <a:pt x="5064" y="226"/>
                    <a:pt x="6271" y="219"/>
                  </a:cubicBezTo>
                  <a:lnTo>
                    <a:pt x="40683" y="0"/>
                  </a:lnTo>
                  <a:cubicBezTo>
                    <a:pt x="42013" y="-8"/>
                    <a:pt x="43074" y="1112"/>
                    <a:pt x="42994" y="2438"/>
                  </a:cubicBezTo>
                  <a:lnTo>
                    <a:pt x="39157" y="66075"/>
                  </a:lnTo>
                  <a:cubicBezTo>
                    <a:pt x="39084" y="67286"/>
                    <a:pt x="38084" y="68232"/>
                    <a:pt x="36869" y="68236"/>
                  </a:cubicBez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6" name="Freeform: Shape 2735">
              <a:extLst>
                <a:ext uri="{FF2B5EF4-FFF2-40B4-BE49-F238E27FC236}">
                  <a16:creationId xmlns:a16="http://schemas.microsoft.com/office/drawing/2014/main" id="{5815C4A7-A402-1FC5-ED26-D5532A3732AD}"/>
                </a:ext>
              </a:extLst>
            </p:cNvPr>
            <p:cNvSpPr/>
            <p:nvPr/>
          </p:nvSpPr>
          <p:spPr>
            <a:xfrm>
              <a:off x="7420584" y="3914169"/>
              <a:ext cx="41762" cy="43249"/>
            </a:xfrm>
            <a:custGeom>
              <a:avLst/>
              <a:gdLst>
                <a:gd name="connsiteX0" fmla="*/ 41759 w 41762"/>
                <a:gd name="connsiteY0" fmla="*/ 2438 h 43249"/>
                <a:gd name="connsiteX1" fmla="*/ 39302 w 41762"/>
                <a:gd name="connsiteY1" fmla="*/ 43212 h 43249"/>
                <a:gd name="connsiteX2" fmla="*/ 0 w 41762"/>
                <a:gd name="connsiteY2" fmla="*/ 43250 h 43249"/>
                <a:gd name="connsiteX3" fmla="*/ 2572 w 41762"/>
                <a:gd name="connsiteY3" fmla="*/ 2254 h 43249"/>
                <a:gd name="connsiteX4" fmla="*/ 4860 w 41762"/>
                <a:gd name="connsiteY4" fmla="*/ 100 h 43249"/>
                <a:gd name="connsiteX5" fmla="*/ 39455 w 41762"/>
                <a:gd name="connsiteY5" fmla="*/ 0 h 43249"/>
                <a:gd name="connsiteX6" fmla="*/ 41759 w 41762"/>
                <a:gd name="connsiteY6" fmla="*/ 2438 h 43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762" h="43249">
                  <a:moveTo>
                    <a:pt x="41759" y="2438"/>
                  </a:moveTo>
                  <a:lnTo>
                    <a:pt x="39302" y="43212"/>
                  </a:lnTo>
                  <a:lnTo>
                    <a:pt x="0" y="43250"/>
                  </a:lnTo>
                  <a:lnTo>
                    <a:pt x="2572" y="2254"/>
                  </a:lnTo>
                  <a:cubicBezTo>
                    <a:pt x="2648" y="1043"/>
                    <a:pt x="3649" y="100"/>
                    <a:pt x="4860" y="100"/>
                  </a:cubicBezTo>
                  <a:lnTo>
                    <a:pt x="39455" y="0"/>
                  </a:lnTo>
                  <a:cubicBezTo>
                    <a:pt x="40782" y="0"/>
                    <a:pt x="41836" y="1112"/>
                    <a:pt x="41759" y="2438"/>
                  </a:cubicBez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7" name="Freeform: Shape 2736">
              <a:extLst>
                <a:ext uri="{FF2B5EF4-FFF2-40B4-BE49-F238E27FC236}">
                  <a16:creationId xmlns:a16="http://schemas.microsoft.com/office/drawing/2014/main" id="{0FD28932-0EFF-7EC7-8E30-3502177B456D}"/>
                </a:ext>
              </a:extLst>
            </p:cNvPr>
            <p:cNvSpPr/>
            <p:nvPr/>
          </p:nvSpPr>
          <p:spPr>
            <a:xfrm>
              <a:off x="7469357" y="3833491"/>
              <a:ext cx="42978" cy="68493"/>
            </a:xfrm>
            <a:custGeom>
              <a:avLst/>
              <a:gdLst>
                <a:gd name="connsiteX0" fmla="*/ 37026 w 42978"/>
                <a:gd name="connsiteY0" fmla="*/ 68374 h 68493"/>
                <a:gd name="connsiteX1" fmla="*/ 2308 w 42978"/>
                <a:gd name="connsiteY1" fmla="*/ 68493 h 68493"/>
                <a:gd name="connsiteX2" fmla="*/ 4 w 42978"/>
                <a:gd name="connsiteY2" fmla="*/ 66055 h 68493"/>
                <a:gd name="connsiteX3" fmla="*/ 3818 w 42978"/>
                <a:gd name="connsiteY3" fmla="*/ 2384 h 68493"/>
                <a:gd name="connsiteX4" fmla="*/ 6099 w 42978"/>
                <a:gd name="connsiteY4" fmla="*/ 222 h 68493"/>
                <a:gd name="connsiteX5" fmla="*/ 40663 w 42978"/>
                <a:gd name="connsiteY5" fmla="*/ 0 h 68493"/>
                <a:gd name="connsiteX6" fmla="*/ 42974 w 42978"/>
                <a:gd name="connsiteY6" fmla="*/ 2430 h 68493"/>
                <a:gd name="connsiteX7" fmla="*/ 39314 w 42978"/>
                <a:gd name="connsiteY7" fmla="*/ 66205 h 68493"/>
                <a:gd name="connsiteX8" fmla="*/ 37026 w 42978"/>
                <a:gd name="connsiteY8" fmla="*/ 68374 h 68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978" h="68493">
                  <a:moveTo>
                    <a:pt x="37026" y="68374"/>
                  </a:moveTo>
                  <a:lnTo>
                    <a:pt x="2308" y="68493"/>
                  </a:lnTo>
                  <a:cubicBezTo>
                    <a:pt x="982" y="68497"/>
                    <a:pt x="-76" y="67382"/>
                    <a:pt x="4" y="66055"/>
                  </a:cubicBezTo>
                  <a:lnTo>
                    <a:pt x="3818" y="2384"/>
                  </a:lnTo>
                  <a:cubicBezTo>
                    <a:pt x="3891" y="1177"/>
                    <a:pt x="4887" y="230"/>
                    <a:pt x="6099" y="222"/>
                  </a:cubicBezTo>
                  <a:lnTo>
                    <a:pt x="40663" y="0"/>
                  </a:lnTo>
                  <a:cubicBezTo>
                    <a:pt x="41989" y="-8"/>
                    <a:pt x="43051" y="1108"/>
                    <a:pt x="42974" y="2430"/>
                  </a:cubicBezTo>
                  <a:lnTo>
                    <a:pt x="39314" y="66205"/>
                  </a:lnTo>
                  <a:cubicBezTo>
                    <a:pt x="39245" y="67420"/>
                    <a:pt x="38241" y="68370"/>
                    <a:pt x="37026" y="68374"/>
                  </a:cubicBez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8" name="Freeform: Shape 2737">
              <a:extLst>
                <a:ext uri="{FF2B5EF4-FFF2-40B4-BE49-F238E27FC236}">
                  <a16:creationId xmlns:a16="http://schemas.microsoft.com/office/drawing/2014/main" id="{78966F6D-92AB-EFBE-FA13-50A60FBB98E5}"/>
                </a:ext>
              </a:extLst>
            </p:cNvPr>
            <p:cNvSpPr/>
            <p:nvPr/>
          </p:nvSpPr>
          <p:spPr>
            <a:xfrm>
              <a:off x="7432907" y="3810567"/>
              <a:ext cx="19313" cy="2958"/>
            </a:xfrm>
            <a:custGeom>
              <a:avLst/>
              <a:gdLst>
                <a:gd name="connsiteX0" fmla="*/ 19141 w 19313"/>
                <a:gd name="connsiteY0" fmla="*/ 2821 h 2958"/>
                <a:gd name="connsiteX1" fmla="*/ 0 w 19313"/>
                <a:gd name="connsiteY1" fmla="*/ 2959 h 2958"/>
                <a:gd name="connsiteX2" fmla="*/ 176 w 19313"/>
                <a:gd name="connsiteY2" fmla="*/ 142 h 2958"/>
                <a:gd name="connsiteX3" fmla="*/ 19314 w 19313"/>
                <a:gd name="connsiteY3" fmla="*/ 0 h 2958"/>
                <a:gd name="connsiteX4" fmla="*/ 19141 w 19313"/>
                <a:gd name="connsiteY4" fmla="*/ 2821 h 2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13" h="2958">
                  <a:moveTo>
                    <a:pt x="19141" y="2821"/>
                  </a:moveTo>
                  <a:lnTo>
                    <a:pt x="0" y="2959"/>
                  </a:lnTo>
                  <a:lnTo>
                    <a:pt x="176" y="142"/>
                  </a:lnTo>
                  <a:lnTo>
                    <a:pt x="19314" y="0"/>
                  </a:lnTo>
                  <a:lnTo>
                    <a:pt x="19141" y="2821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9" name="Freeform: Shape 2738">
              <a:extLst>
                <a:ext uri="{FF2B5EF4-FFF2-40B4-BE49-F238E27FC236}">
                  <a16:creationId xmlns:a16="http://schemas.microsoft.com/office/drawing/2014/main" id="{B1072748-3195-75C5-B9F6-09D52A7F087B}"/>
                </a:ext>
              </a:extLst>
            </p:cNvPr>
            <p:cNvSpPr/>
            <p:nvPr/>
          </p:nvSpPr>
          <p:spPr>
            <a:xfrm>
              <a:off x="7427587" y="3895652"/>
              <a:ext cx="19417" cy="2920"/>
            </a:xfrm>
            <a:custGeom>
              <a:avLst/>
              <a:gdLst>
                <a:gd name="connsiteX0" fmla="*/ 19241 w 19417"/>
                <a:gd name="connsiteY0" fmla="*/ 2852 h 2920"/>
                <a:gd name="connsiteX1" fmla="*/ 0 w 19417"/>
                <a:gd name="connsiteY1" fmla="*/ 2921 h 2920"/>
                <a:gd name="connsiteX2" fmla="*/ 180 w 19417"/>
                <a:gd name="connsiteY2" fmla="*/ 69 h 2920"/>
                <a:gd name="connsiteX3" fmla="*/ 19417 w 19417"/>
                <a:gd name="connsiteY3" fmla="*/ 0 h 2920"/>
                <a:gd name="connsiteX4" fmla="*/ 19241 w 19417"/>
                <a:gd name="connsiteY4" fmla="*/ 2852 h 2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17" h="2920">
                  <a:moveTo>
                    <a:pt x="19241" y="2852"/>
                  </a:moveTo>
                  <a:lnTo>
                    <a:pt x="0" y="2921"/>
                  </a:lnTo>
                  <a:lnTo>
                    <a:pt x="180" y="69"/>
                  </a:lnTo>
                  <a:lnTo>
                    <a:pt x="19417" y="0"/>
                  </a:lnTo>
                  <a:lnTo>
                    <a:pt x="19241" y="2852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0" name="Freeform: Shape 2739">
              <a:extLst>
                <a:ext uri="{FF2B5EF4-FFF2-40B4-BE49-F238E27FC236}">
                  <a16:creationId xmlns:a16="http://schemas.microsoft.com/office/drawing/2014/main" id="{39FA4A73-0408-912A-414C-7C778C2CC780}"/>
                </a:ext>
              </a:extLst>
            </p:cNvPr>
            <p:cNvSpPr/>
            <p:nvPr/>
          </p:nvSpPr>
          <p:spPr>
            <a:xfrm>
              <a:off x="7474087" y="3895480"/>
              <a:ext cx="19486" cy="2928"/>
            </a:xfrm>
            <a:custGeom>
              <a:avLst/>
              <a:gdLst>
                <a:gd name="connsiteX0" fmla="*/ 19318 w 19486"/>
                <a:gd name="connsiteY0" fmla="*/ 2859 h 2928"/>
                <a:gd name="connsiteX1" fmla="*/ 0 w 19486"/>
                <a:gd name="connsiteY1" fmla="*/ 2928 h 2928"/>
                <a:gd name="connsiteX2" fmla="*/ 169 w 19486"/>
                <a:gd name="connsiteY2" fmla="*/ 73 h 2928"/>
                <a:gd name="connsiteX3" fmla="*/ 19486 w 19486"/>
                <a:gd name="connsiteY3" fmla="*/ 0 h 2928"/>
                <a:gd name="connsiteX4" fmla="*/ 19318 w 19486"/>
                <a:gd name="connsiteY4" fmla="*/ 2859 h 2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86" h="2928">
                  <a:moveTo>
                    <a:pt x="19318" y="2859"/>
                  </a:moveTo>
                  <a:lnTo>
                    <a:pt x="0" y="2928"/>
                  </a:lnTo>
                  <a:lnTo>
                    <a:pt x="169" y="73"/>
                  </a:lnTo>
                  <a:lnTo>
                    <a:pt x="19486" y="0"/>
                  </a:lnTo>
                  <a:lnTo>
                    <a:pt x="19318" y="2859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1" name="Freeform: Shape 2740">
              <a:extLst>
                <a:ext uri="{FF2B5EF4-FFF2-40B4-BE49-F238E27FC236}">
                  <a16:creationId xmlns:a16="http://schemas.microsoft.com/office/drawing/2014/main" id="{3F5E1A4C-F201-08DD-D9D6-61367D4A2815}"/>
                </a:ext>
              </a:extLst>
            </p:cNvPr>
            <p:cNvSpPr/>
            <p:nvPr/>
          </p:nvSpPr>
          <p:spPr>
            <a:xfrm>
              <a:off x="7428078" y="3890738"/>
              <a:ext cx="12107" cy="2893"/>
            </a:xfrm>
            <a:custGeom>
              <a:avLst/>
              <a:gdLst>
                <a:gd name="connsiteX0" fmla="*/ 11932 w 12107"/>
                <a:gd name="connsiteY0" fmla="*/ 2848 h 2893"/>
                <a:gd name="connsiteX1" fmla="*/ 0 w 12107"/>
                <a:gd name="connsiteY1" fmla="*/ 2894 h 2893"/>
                <a:gd name="connsiteX2" fmla="*/ 180 w 12107"/>
                <a:gd name="connsiteY2" fmla="*/ 46 h 2893"/>
                <a:gd name="connsiteX3" fmla="*/ 12108 w 12107"/>
                <a:gd name="connsiteY3" fmla="*/ 0 h 2893"/>
                <a:gd name="connsiteX4" fmla="*/ 11932 w 12107"/>
                <a:gd name="connsiteY4" fmla="*/ 2848 h 2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07" h="2893">
                  <a:moveTo>
                    <a:pt x="11932" y="2848"/>
                  </a:moveTo>
                  <a:lnTo>
                    <a:pt x="0" y="2894"/>
                  </a:lnTo>
                  <a:lnTo>
                    <a:pt x="180" y="46"/>
                  </a:lnTo>
                  <a:lnTo>
                    <a:pt x="12108" y="0"/>
                  </a:lnTo>
                  <a:lnTo>
                    <a:pt x="11932" y="2848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2" name="Freeform: Shape 2741">
              <a:extLst>
                <a:ext uri="{FF2B5EF4-FFF2-40B4-BE49-F238E27FC236}">
                  <a16:creationId xmlns:a16="http://schemas.microsoft.com/office/drawing/2014/main" id="{9D55AAB6-308A-4ACD-367E-841BF681F30B}"/>
                </a:ext>
              </a:extLst>
            </p:cNvPr>
            <p:cNvSpPr/>
            <p:nvPr/>
          </p:nvSpPr>
          <p:spPr>
            <a:xfrm>
              <a:off x="7483198" y="3731476"/>
              <a:ext cx="19290" cy="3004"/>
            </a:xfrm>
            <a:custGeom>
              <a:avLst/>
              <a:gdLst>
                <a:gd name="connsiteX0" fmla="*/ 19126 w 19290"/>
                <a:gd name="connsiteY0" fmla="*/ 2798 h 3004"/>
                <a:gd name="connsiteX1" fmla="*/ 0 w 19290"/>
                <a:gd name="connsiteY1" fmla="*/ 3005 h 3004"/>
                <a:gd name="connsiteX2" fmla="*/ 165 w 19290"/>
                <a:gd name="connsiteY2" fmla="*/ 207 h 3004"/>
                <a:gd name="connsiteX3" fmla="*/ 19291 w 19290"/>
                <a:gd name="connsiteY3" fmla="*/ 0 h 3004"/>
                <a:gd name="connsiteX4" fmla="*/ 19126 w 19290"/>
                <a:gd name="connsiteY4" fmla="*/ 2798 h 3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90" h="3004">
                  <a:moveTo>
                    <a:pt x="19126" y="2798"/>
                  </a:moveTo>
                  <a:lnTo>
                    <a:pt x="0" y="3005"/>
                  </a:lnTo>
                  <a:lnTo>
                    <a:pt x="165" y="207"/>
                  </a:lnTo>
                  <a:lnTo>
                    <a:pt x="19291" y="0"/>
                  </a:lnTo>
                  <a:lnTo>
                    <a:pt x="19126" y="2798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3" name="Freeform: Shape 2742">
              <a:extLst>
                <a:ext uri="{FF2B5EF4-FFF2-40B4-BE49-F238E27FC236}">
                  <a16:creationId xmlns:a16="http://schemas.microsoft.com/office/drawing/2014/main" id="{3FB17652-F0E1-9173-75C0-CEF1EEECE12D}"/>
                </a:ext>
              </a:extLst>
            </p:cNvPr>
            <p:cNvSpPr/>
            <p:nvPr/>
          </p:nvSpPr>
          <p:spPr>
            <a:xfrm>
              <a:off x="7437817" y="3731970"/>
              <a:ext cx="19221" cy="2997"/>
            </a:xfrm>
            <a:custGeom>
              <a:avLst/>
              <a:gdLst>
                <a:gd name="connsiteX0" fmla="*/ 19053 w 19221"/>
                <a:gd name="connsiteY0" fmla="*/ 2794 h 2997"/>
                <a:gd name="connsiteX1" fmla="*/ 0 w 19221"/>
                <a:gd name="connsiteY1" fmla="*/ 2997 h 2997"/>
                <a:gd name="connsiteX2" fmla="*/ 176 w 19221"/>
                <a:gd name="connsiteY2" fmla="*/ 207 h 2997"/>
                <a:gd name="connsiteX3" fmla="*/ 19222 w 19221"/>
                <a:gd name="connsiteY3" fmla="*/ 0 h 2997"/>
                <a:gd name="connsiteX4" fmla="*/ 19053 w 19221"/>
                <a:gd name="connsiteY4" fmla="*/ 2794 h 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21" h="2997">
                  <a:moveTo>
                    <a:pt x="19053" y="2794"/>
                  </a:moveTo>
                  <a:lnTo>
                    <a:pt x="0" y="2997"/>
                  </a:lnTo>
                  <a:lnTo>
                    <a:pt x="176" y="207"/>
                  </a:lnTo>
                  <a:lnTo>
                    <a:pt x="19222" y="0"/>
                  </a:lnTo>
                  <a:lnTo>
                    <a:pt x="19053" y="2794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4" name="Freeform: Shape 2743">
              <a:extLst>
                <a:ext uri="{FF2B5EF4-FFF2-40B4-BE49-F238E27FC236}">
                  <a16:creationId xmlns:a16="http://schemas.microsoft.com/office/drawing/2014/main" id="{8FA6699D-4E39-092D-981D-B58E1D33EB7E}"/>
                </a:ext>
              </a:extLst>
            </p:cNvPr>
            <p:cNvSpPr/>
            <p:nvPr/>
          </p:nvSpPr>
          <p:spPr>
            <a:xfrm>
              <a:off x="7437514" y="3736938"/>
              <a:ext cx="11996" cy="2920"/>
            </a:xfrm>
            <a:custGeom>
              <a:avLst/>
              <a:gdLst>
                <a:gd name="connsiteX0" fmla="*/ 11821 w 11996"/>
                <a:gd name="connsiteY0" fmla="*/ 2794 h 2920"/>
                <a:gd name="connsiteX1" fmla="*/ 0 w 11996"/>
                <a:gd name="connsiteY1" fmla="*/ 2921 h 2920"/>
                <a:gd name="connsiteX2" fmla="*/ 172 w 11996"/>
                <a:gd name="connsiteY2" fmla="*/ 126 h 2920"/>
                <a:gd name="connsiteX3" fmla="*/ 11997 w 11996"/>
                <a:gd name="connsiteY3" fmla="*/ 0 h 2920"/>
                <a:gd name="connsiteX4" fmla="*/ 11821 w 11996"/>
                <a:gd name="connsiteY4" fmla="*/ 2794 h 2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96" h="2920">
                  <a:moveTo>
                    <a:pt x="11821" y="2794"/>
                  </a:moveTo>
                  <a:lnTo>
                    <a:pt x="0" y="2921"/>
                  </a:lnTo>
                  <a:lnTo>
                    <a:pt x="172" y="126"/>
                  </a:lnTo>
                  <a:lnTo>
                    <a:pt x="11997" y="0"/>
                  </a:lnTo>
                  <a:lnTo>
                    <a:pt x="11821" y="2794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5" name="Freeform: Shape 2744">
              <a:extLst>
                <a:ext uri="{FF2B5EF4-FFF2-40B4-BE49-F238E27FC236}">
                  <a16:creationId xmlns:a16="http://schemas.microsoft.com/office/drawing/2014/main" id="{F3E014D3-BDEF-6C5E-F5F7-98A549360DC6}"/>
                </a:ext>
              </a:extLst>
            </p:cNvPr>
            <p:cNvSpPr/>
            <p:nvPr/>
          </p:nvSpPr>
          <p:spPr>
            <a:xfrm>
              <a:off x="7523527" y="3674236"/>
              <a:ext cx="42506" cy="67493"/>
            </a:xfrm>
            <a:custGeom>
              <a:avLst/>
              <a:gdLst>
                <a:gd name="connsiteX0" fmla="*/ 36815 w 42506"/>
                <a:gd name="connsiteY0" fmla="*/ 67133 h 67493"/>
                <a:gd name="connsiteX1" fmla="*/ 2323 w 42506"/>
                <a:gd name="connsiteY1" fmla="*/ 67493 h 67493"/>
                <a:gd name="connsiteX2" fmla="*/ 4 w 42506"/>
                <a:gd name="connsiteY2" fmla="*/ 65063 h 67493"/>
                <a:gd name="connsiteX3" fmla="*/ 3568 w 42506"/>
                <a:gd name="connsiteY3" fmla="*/ 2630 h 67493"/>
                <a:gd name="connsiteX4" fmla="*/ 5834 w 42506"/>
                <a:gd name="connsiteY4" fmla="*/ 460 h 67493"/>
                <a:gd name="connsiteX5" fmla="*/ 40176 w 42506"/>
                <a:gd name="connsiteY5" fmla="*/ 0 h 67493"/>
                <a:gd name="connsiteX6" fmla="*/ 42502 w 42506"/>
                <a:gd name="connsiteY6" fmla="*/ 2426 h 67493"/>
                <a:gd name="connsiteX7" fmla="*/ 39091 w 42506"/>
                <a:gd name="connsiteY7" fmla="*/ 64959 h 67493"/>
                <a:gd name="connsiteX8" fmla="*/ 36818 w 42506"/>
                <a:gd name="connsiteY8" fmla="*/ 67133 h 67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506" h="67493">
                  <a:moveTo>
                    <a:pt x="36815" y="67133"/>
                  </a:moveTo>
                  <a:lnTo>
                    <a:pt x="2323" y="67493"/>
                  </a:lnTo>
                  <a:cubicBezTo>
                    <a:pt x="993" y="67508"/>
                    <a:pt x="-73" y="66393"/>
                    <a:pt x="4" y="65063"/>
                  </a:cubicBezTo>
                  <a:lnTo>
                    <a:pt x="3568" y="2630"/>
                  </a:lnTo>
                  <a:cubicBezTo>
                    <a:pt x="3637" y="1426"/>
                    <a:pt x="4626" y="476"/>
                    <a:pt x="5834" y="460"/>
                  </a:cubicBezTo>
                  <a:lnTo>
                    <a:pt x="40176" y="0"/>
                  </a:lnTo>
                  <a:cubicBezTo>
                    <a:pt x="41506" y="-19"/>
                    <a:pt x="42575" y="1096"/>
                    <a:pt x="42502" y="2426"/>
                  </a:cubicBezTo>
                  <a:lnTo>
                    <a:pt x="39091" y="64959"/>
                  </a:lnTo>
                  <a:cubicBezTo>
                    <a:pt x="39026" y="66171"/>
                    <a:pt x="38030" y="67121"/>
                    <a:pt x="36818" y="67133"/>
                  </a:cubicBez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6" name="Freeform: Shape 2745">
              <a:extLst>
                <a:ext uri="{FF2B5EF4-FFF2-40B4-BE49-F238E27FC236}">
                  <a16:creationId xmlns:a16="http://schemas.microsoft.com/office/drawing/2014/main" id="{90466563-5C66-5ED2-7CC2-4B2B34203777}"/>
                </a:ext>
              </a:extLst>
            </p:cNvPr>
            <p:cNvSpPr/>
            <p:nvPr/>
          </p:nvSpPr>
          <p:spPr>
            <a:xfrm>
              <a:off x="7518981" y="3753319"/>
              <a:ext cx="42732" cy="68056"/>
            </a:xfrm>
            <a:custGeom>
              <a:avLst/>
              <a:gdLst>
                <a:gd name="connsiteX0" fmla="*/ 36999 w 42732"/>
                <a:gd name="connsiteY0" fmla="*/ 67815 h 68056"/>
                <a:gd name="connsiteX1" fmla="*/ 2315 w 42732"/>
                <a:gd name="connsiteY1" fmla="*/ 68056 h 68056"/>
                <a:gd name="connsiteX2" fmla="*/ 4 w 42732"/>
                <a:gd name="connsiteY2" fmla="*/ 65626 h 68056"/>
                <a:gd name="connsiteX3" fmla="*/ 3607 w 42732"/>
                <a:gd name="connsiteY3" fmla="*/ 2511 h 68056"/>
                <a:gd name="connsiteX4" fmla="*/ 5880 w 42732"/>
                <a:gd name="connsiteY4" fmla="*/ 341 h 68056"/>
                <a:gd name="connsiteX5" fmla="*/ 40410 w 42732"/>
                <a:gd name="connsiteY5" fmla="*/ 0 h 68056"/>
                <a:gd name="connsiteX6" fmla="*/ 42729 w 42732"/>
                <a:gd name="connsiteY6" fmla="*/ 2426 h 68056"/>
                <a:gd name="connsiteX7" fmla="*/ 39279 w 42732"/>
                <a:gd name="connsiteY7" fmla="*/ 65641 h 68056"/>
                <a:gd name="connsiteX8" fmla="*/ 36999 w 42732"/>
                <a:gd name="connsiteY8" fmla="*/ 67815 h 6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32" h="68056">
                  <a:moveTo>
                    <a:pt x="36999" y="67815"/>
                  </a:moveTo>
                  <a:lnTo>
                    <a:pt x="2315" y="68056"/>
                  </a:lnTo>
                  <a:cubicBezTo>
                    <a:pt x="989" y="68064"/>
                    <a:pt x="-73" y="66952"/>
                    <a:pt x="4" y="65626"/>
                  </a:cubicBezTo>
                  <a:lnTo>
                    <a:pt x="3607" y="2511"/>
                  </a:lnTo>
                  <a:cubicBezTo>
                    <a:pt x="3676" y="1303"/>
                    <a:pt x="4668" y="353"/>
                    <a:pt x="5880" y="341"/>
                  </a:cubicBezTo>
                  <a:lnTo>
                    <a:pt x="40410" y="0"/>
                  </a:lnTo>
                  <a:cubicBezTo>
                    <a:pt x="41740" y="-11"/>
                    <a:pt x="42802" y="1100"/>
                    <a:pt x="42729" y="2426"/>
                  </a:cubicBezTo>
                  <a:lnTo>
                    <a:pt x="39279" y="65641"/>
                  </a:lnTo>
                  <a:cubicBezTo>
                    <a:pt x="39214" y="66857"/>
                    <a:pt x="38214" y="67807"/>
                    <a:pt x="36999" y="67815"/>
                  </a:cubicBez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7" name="Freeform: Shape 2746">
              <a:extLst>
                <a:ext uri="{FF2B5EF4-FFF2-40B4-BE49-F238E27FC236}">
                  <a16:creationId xmlns:a16="http://schemas.microsoft.com/office/drawing/2014/main" id="{73DBDCD0-10CB-47AD-03D3-CBF15A14A2A9}"/>
                </a:ext>
              </a:extLst>
            </p:cNvPr>
            <p:cNvSpPr/>
            <p:nvPr/>
          </p:nvSpPr>
          <p:spPr>
            <a:xfrm>
              <a:off x="7514389" y="3833204"/>
              <a:ext cx="42962" cy="68627"/>
            </a:xfrm>
            <a:custGeom>
              <a:avLst/>
              <a:gdLst>
                <a:gd name="connsiteX0" fmla="*/ 37183 w 42962"/>
                <a:gd name="connsiteY0" fmla="*/ 68508 h 68627"/>
                <a:gd name="connsiteX1" fmla="*/ 2307 w 42962"/>
                <a:gd name="connsiteY1" fmla="*/ 68627 h 68627"/>
                <a:gd name="connsiteX2" fmla="*/ 4 w 42962"/>
                <a:gd name="connsiteY2" fmla="*/ 66197 h 68627"/>
                <a:gd name="connsiteX3" fmla="*/ 3645 w 42962"/>
                <a:gd name="connsiteY3" fmla="*/ 2392 h 68627"/>
                <a:gd name="connsiteX4" fmla="*/ 5926 w 42962"/>
                <a:gd name="connsiteY4" fmla="*/ 222 h 68627"/>
                <a:gd name="connsiteX5" fmla="*/ 40647 w 42962"/>
                <a:gd name="connsiteY5" fmla="*/ 0 h 68627"/>
                <a:gd name="connsiteX6" fmla="*/ 42959 w 42962"/>
                <a:gd name="connsiteY6" fmla="*/ 2426 h 68627"/>
                <a:gd name="connsiteX7" fmla="*/ 39471 w 42962"/>
                <a:gd name="connsiteY7" fmla="*/ 66335 h 68627"/>
                <a:gd name="connsiteX8" fmla="*/ 37183 w 42962"/>
                <a:gd name="connsiteY8" fmla="*/ 68508 h 6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962" h="68627">
                  <a:moveTo>
                    <a:pt x="37183" y="68508"/>
                  </a:moveTo>
                  <a:lnTo>
                    <a:pt x="2307" y="68627"/>
                  </a:lnTo>
                  <a:cubicBezTo>
                    <a:pt x="981" y="68631"/>
                    <a:pt x="-73" y="67520"/>
                    <a:pt x="4" y="66197"/>
                  </a:cubicBezTo>
                  <a:lnTo>
                    <a:pt x="3645" y="2392"/>
                  </a:lnTo>
                  <a:cubicBezTo>
                    <a:pt x="3714" y="1181"/>
                    <a:pt x="4714" y="230"/>
                    <a:pt x="5926" y="222"/>
                  </a:cubicBezTo>
                  <a:lnTo>
                    <a:pt x="40647" y="0"/>
                  </a:lnTo>
                  <a:cubicBezTo>
                    <a:pt x="41974" y="-8"/>
                    <a:pt x="43031" y="1100"/>
                    <a:pt x="42959" y="2426"/>
                  </a:cubicBezTo>
                  <a:lnTo>
                    <a:pt x="39471" y="66335"/>
                  </a:lnTo>
                  <a:cubicBezTo>
                    <a:pt x="39406" y="67550"/>
                    <a:pt x="38401" y="68505"/>
                    <a:pt x="37183" y="68508"/>
                  </a:cubicBez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8" name="Freeform: Shape 2747">
              <a:extLst>
                <a:ext uri="{FF2B5EF4-FFF2-40B4-BE49-F238E27FC236}">
                  <a16:creationId xmlns:a16="http://schemas.microsoft.com/office/drawing/2014/main" id="{8AA9E1C6-0754-C2A3-D689-E6461E9F3FBD}"/>
                </a:ext>
              </a:extLst>
            </p:cNvPr>
            <p:cNvSpPr/>
            <p:nvPr/>
          </p:nvSpPr>
          <p:spPr>
            <a:xfrm>
              <a:off x="7522653" y="3809900"/>
              <a:ext cx="19451" cy="2970"/>
            </a:xfrm>
            <a:custGeom>
              <a:avLst/>
              <a:gdLst>
                <a:gd name="connsiteX0" fmla="*/ 19295 w 19451"/>
                <a:gd name="connsiteY0" fmla="*/ 2832 h 2970"/>
                <a:gd name="connsiteX1" fmla="*/ 0 w 19451"/>
                <a:gd name="connsiteY1" fmla="*/ 2970 h 2970"/>
                <a:gd name="connsiteX2" fmla="*/ 161 w 19451"/>
                <a:gd name="connsiteY2" fmla="*/ 142 h 2970"/>
                <a:gd name="connsiteX3" fmla="*/ 19452 w 19451"/>
                <a:gd name="connsiteY3" fmla="*/ 0 h 2970"/>
                <a:gd name="connsiteX4" fmla="*/ 19295 w 19451"/>
                <a:gd name="connsiteY4" fmla="*/ 2832 h 2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51" h="2970">
                  <a:moveTo>
                    <a:pt x="19295" y="2832"/>
                  </a:moveTo>
                  <a:lnTo>
                    <a:pt x="0" y="2970"/>
                  </a:lnTo>
                  <a:lnTo>
                    <a:pt x="161" y="142"/>
                  </a:lnTo>
                  <a:lnTo>
                    <a:pt x="19452" y="0"/>
                  </a:lnTo>
                  <a:lnTo>
                    <a:pt x="19295" y="2832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9" name="Freeform: Shape 2748">
              <a:extLst>
                <a:ext uri="{FF2B5EF4-FFF2-40B4-BE49-F238E27FC236}">
                  <a16:creationId xmlns:a16="http://schemas.microsoft.com/office/drawing/2014/main" id="{AE7FA5F1-FDE9-0138-4623-C22C45A80BD4}"/>
                </a:ext>
              </a:extLst>
            </p:cNvPr>
            <p:cNvSpPr/>
            <p:nvPr/>
          </p:nvSpPr>
          <p:spPr>
            <a:xfrm>
              <a:off x="7517801" y="3895319"/>
              <a:ext cx="19551" cy="2932"/>
            </a:xfrm>
            <a:custGeom>
              <a:avLst/>
              <a:gdLst>
                <a:gd name="connsiteX0" fmla="*/ 19394 w 19551"/>
                <a:gd name="connsiteY0" fmla="*/ 2863 h 2932"/>
                <a:gd name="connsiteX1" fmla="*/ 0 w 19551"/>
                <a:gd name="connsiteY1" fmla="*/ 2932 h 2932"/>
                <a:gd name="connsiteX2" fmla="*/ 161 w 19551"/>
                <a:gd name="connsiteY2" fmla="*/ 73 h 2932"/>
                <a:gd name="connsiteX3" fmla="*/ 19551 w 19551"/>
                <a:gd name="connsiteY3" fmla="*/ 0 h 2932"/>
                <a:gd name="connsiteX4" fmla="*/ 19394 w 19551"/>
                <a:gd name="connsiteY4" fmla="*/ 2863 h 2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1" h="2932">
                  <a:moveTo>
                    <a:pt x="19394" y="2863"/>
                  </a:moveTo>
                  <a:lnTo>
                    <a:pt x="0" y="2932"/>
                  </a:lnTo>
                  <a:lnTo>
                    <a:pt x="161" y="73"/>
                  </a:lnTo>
                  <a:lnTo>
                    <a:pt x="19551" y="0"/>
                  </a:lnTo>
                  <a:lnTo>
                    <a:pt x="19394" y="2863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0" name="Freeform: Shape 2749">
              <a:extLst>
                <a:ext uri="{FF2B5EF4-FFF2-40B4-BE49-F238E27FC236}">
                  <a16:creationId xmlns:a16="http://schemas.microsoft.com/office/drawing/2014/main" id="{940FB748-70F8-8058-2CC3-3E538A1537F6}"/>
                </a:ext>
              </a:extLst>
            </p:cNvPr>
            <p:cNvSpPr/>
            <p:nvPr/>
          </p:nvSpPr>
          <p:spPr>
            <a:xfrm>
              <a:off x="7522373" y="3814909"/>
              <a:ext cx="12130" cy="2916"/>
            </a:xfrm>
            <a:custGeom>
              <a:avLst/>
              <a:gdLst>
                <a:gd name="connsiteX0" fmla="*/ 11974 w 12130"/>
                <a:gd name="connsiteY0" fmla="*/ 2832 h 2916"/>
                <a:gd name="connsiteX1" fmla="*/ 0 w 12130"/>
                <a:gd name="connsiteY1" fmla="*/ 2917 h 2916"/>
                <a:gd name="connsiteX2" fmla="*/ 161 w 12130"/>
                <a:gd name="connsiteY2" fmla="*/ 84 h 2916"/>
                <a:gd name="connsiteX3" fmla="*/ 12131 w 12130"/>
                <a:gd name="connsiteY3" fmla="*/ 0 h 2916"/>
                <a:gd name="connsiteX4" fmla="*/ 11974 w 12130"/>
                <a:gd name="connsiteY4" fmla="*/ 2832 h 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30" h="2916">
                  <a:moveTo>
                    <a:pt x="11974" y="2832"/>
                  </a:moveTo>
                  <a:lnTo>
                    <a:pt x="0" y="2917"/>
                  </a:lnTo>
                  <a:lnTo>
                    <a:pt x="161" y="84"/>
                  </a:lnTo>
                  <a:lnTo>
                    <a:pt x="12131" y="0"/>
                  </a:lnTo>
                  <a:lnTo>
                    <a:pt x="11974" y="2832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1" name="Freeform: Shape 2750">
              <a:extLst>
                <a:ext uri="{FF2B5EF4-FFF2-40B4-BE49-F238E27FC236}">
                  <a16:creationId xmlns:a16="http://schemas.microsoft.com/office/drawing/2014/main" id="{1CDDAD26-2915-C4A1-73E1-367004EB3D36}"/>
                </a:ext>
              </a:extLst>
            </p:cNvPr>
            <p:cNvSpPr/>
            <p:nvPr/>
          </p:nvSpPr>
          <p:spPr>
            <a:xfrm>
              <a:off x="7527138" y="3730997"/>
              <a:ext cx="19355" cy="3008"/>
            </a:xfrm>
            <a:custGeom>
              <a:avLst/>
              <a:gdLst>
                <a:gd name="connsiteX0" fmla="*/ 19203 w 19355"/>
                <a:gd name="connsiteY0" fmla="*/ 2806 h 3008"/>
                <a:gd name="connsiteX1" fmla="*/ 0 w 19355"/>
                <a:gd name="connsiteY1" fmla="*/ 3009 h 3008"/>
                <a:gd name="connsiteX2" fmla="*/ 161 w 19355"/>
                <a:gd name="connsiteY2" fmla="*/ 207 h 3008"/>
                <a:gd name="connsiteX3" fmla="*/ 19356 w 19355"/>
                <a:gd name="connsiteY3" fmla="*/ 0 h 3008"/>
                <a:gd name="connsiteX4" fmla="*/ 19203 w 19355"/>
                <a:gd name="connsiteY4" fmla="*/ 2806 h 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55" h="3008">
                  <a:moveTo>
                    <a:pt x="19203" y="2806"/>
                  </a:moveTo>
                  <a:lnTo>
                    <a:pt x="0" y="3009"/>
                  </a:lnTo>
                  <a:lnTo>
                    <a:pt x="161" y="207"/>
                  </a:lnTo>
                  <a:lnTo>
                    <a:pt x="19356" y="0"/>
                  </a:lnTo>
                  <a:lnTo>
                    <a:pt x="19203" y="2806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2" name="Freeform: Shape 2751">
              <a:extLst>
                <a:ext uri="{FF2B5EF4-FFF2-40B4-BE49-F238E27FC236}">
                  <a16:creationId xmlns:a16="http://schemas.microsoft.com/office/drawing/2014/main" id="{E92596F8-EBDD-0526-F9CC-CA31FE6CF494}"/>
                </a:ext>
              </a:extLst>
            </p:cNvPr>
            <p:cNvSpPr/>
            <p:nvPr/>
          </p:nvSpPr>
          <p:spPr>
            <a:xfrm>
              <a:off x="7526858" y="3735983"/>
              <a:ext cx="12077" cy="2928"/>
            </a:xfrm>
            <a:custGeom>
              <a:avLst/>
              <a:gdLst>
                <a:gd name="connsiteX0" fmla="*/ 11920 w 12077"/>
                <a:gd name="connsiteY0" fmla="*/ 2806 h 2928"/>
                <a:gd name="connsiteX1" fmla="*/ 0 w 12077"/>
                <a:gd name="connsiteY1" fmla="*/ 2928 h 2928"/>
                <a:gd name="connsiteX2" fmla="*/ 161 w 12077"/>
                <a:gd name="connsiteY2" fmla="*/ 126 h 2928"/>
                <a:gd name="connsiteX3" fmla="*/ 12077 w 12077"/>
                <a:gd name="connsiteY3" fmla="*/ 0 h 2928"/>
                <a:gd name="connsiteX4" fmla="*/ 11920 w 12077"/>
                <a:gd name="connsiteY4" fmla="*/ 2806 h 2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77" h="2928">
                  <a:moveTo>
                    <a:pt x="11920" y="2806"/>
                  </a:moveTo>
                  <a:lnTo>
                    <a:pt x="0" y="2928"/>
                  </a:lnTo>
                  <a:lnTo>
                    <a:pt x="161" y="126"/>
                  </a:lnTo>
                  <a:lnTo>
                    <a:pt x="12077" y="0"/>
                  </a:lnTo>
                  <a:lnTo>
                    <a:pt x="11920" y="2806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3" name="Freeform: Shape 2752">
              <a:extLst>
                <a:ext uri="{FF2B5EF4-FFF2-40B4-BE49-F238E27FC236}">
                  <a16:creationId xmlns:a16="http://schemas.microsoft.com/office/drawing/2014/main" id="{A5CCB537-2C52-1971-F9B0-654EF7110B89}"/>
                </a:ext>
              </a:extLst>
            </p:cNvPr>
            <p:cNvSpPr/>
            <p:nvPr/>
          </p:nvSpPr>
          <p:spPr>
            <a:xfrm>
              <a:off x="7479541" y="3808696"/>
              <a:ext cx="25354" cy="3008"/>
            </a:xfrm>
            <a:custGeom>
              <a:avLst/>
              <a:gdLst>
                <a:gd name="connsiteX0" fmla="*/ 25189 w 25354"/>
                <a:gd name="connsiteY0" fmla="*/ 2825 h 3008"/>
                <a:gd name="connsiteX1" fmla="*/ 0 w 25354"/>
                <a:gd name="connsiteY1" fmla="*/ 3009 h 3008"/>
                <a:gd name="connsiteX2" fmla="*/ 169 w 25354"/>
                <a:gd name="connsiteY2" fmla="*/ 184 h 3008"/>
                <a:gd name="connsiteX3" fmla="*/ 25354 w 25354"/>
                <a:gd name="connsiteY3" fmla="*/ 0 h 3008"/>
                <a:gd name="connsiteX4" fmla="*/ 25189 w 25354"/>
                <a:gd name="connsiteY4" fmla="*/ 2825 h 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54" h="3008">
                  <a:moveTo>
                    <a:pt x="25189" y="2825"/>
                  </a:moveTo>
                  <a:lnTo>
                    <a:pt x="0" y="3009"/>
                  </a:lnTo>
                  <a:lnTo>
                    <a:pt x="169" y="184"/>
                  </a:lnTo>
                  <a:lnTo>
                    <a:pt x="25354" y="0"/>
                  </a:lnTo>
                  <a:lnTo>
                    <a:pt x="25189" y="2825"/>
                  </a:ln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4" name="Freeform: Shape 2753">
              <a:extLst>
                <a:ext uri="{FF2B5EF4-FFF2-40B4-BE49-F238E27FC236}">
                  <a16:creationId xmlns:a16="http://schemas.microsoft.com/office/drawing/2014/main" id="{C6380A3C-2D47-22A7-216F-2AB4C0CB8FF7}"/>
                </a:ext>
              </a:extLst>
            </p:cNvPr>
            <p:cNvSpPr/>
            <p:nvPr/>
          </p:nvSpPr>
          <p:spPr>
            <a:xfrm>
              <a:off x="7479246" y="3813698"/>
              <a:ext cx="18064" cy="2955"/>
            </a:xfrm>
            <a:custGeom>
              <a:avLst/>
              <a:gdLst>
                <a:gd name="connsiteX0" fmla="*/ 17899 w 18064"/>
                <a:gd name="connsiteY0" fmla="*/ 2829 h 2955"/>
                <a:gd name="connsiteX1" fmla="*/ 0 w 18064"/>
                <a:gd name="connsiteY1" fmla="*/ 2955 h 2955"/>
                <a:gd name="connsiteX2" fmla="*/ 169 w 18064"/>
                <a:gd name="connsiteY2" fmla="*/ 126 h 2955"/>
                <a:gd name="connsiteX3" fmla="*/ 18064 w 18064"/>
                <a:gd name="connsiteY3" fmla="*/ 0 h 2955"/>
                <a:gd name="connsiteX4" fmla="*/ 17899 w 18064"/>
                <a:gd name="connsiteY4" fmla="*/ 2829 h 2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64" h="2955">
                  <a:moveTo>
                    <a:pt x="17899" y="2829"/>
                  </a:moveTo>
                  <a:lnTo>
                    <a:pt x="0" y="2955"/>
                  </a:lnTo>
                  <a:lnTo>
                    <a:pt x="169" y="126"/>
                  </a:lnTo>
                  <a:lnTo>
                    <a:pt x="18064" y="0"/>
                  </a:lnTo>
                  <a:lnTo>
                    <a:pt x="17899" y="2829"/>
                  </a:ln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5" name="Freeform: Shape 2754">
              <a:extLst>
                <a:ext uri="{FF2B5EF4-FFF2-40B4-BE49-F238E27FC236}">
                  <a16:creationId xmlns:a16="http://schemas.microsoft.com/office/drawing/2014/main" id="{12066CD0-ED4D-3CA2-3D7F-C3345A83FB18}"/>
                </a:ext>
              </a:extLst>
            </p:cNvPr>
            <p:cNvSpPr/>
            <p:nvPr/>
          </p:nvSpPr>
          <p:spPr>
            <a:xfrm>
              <a:off x="7410906" y="3615482"/>
              <a:ext cx="167855" cy="27301"/>
            </a:xfrm>
            <a:custGeom>
              <a:avLst/>
              <a:gdLst>
                <a:gd name="connsiteX0" fmla="*/ 166514 w 167855"/>
                <a:gd name="connsiteY0" fmla="*/ 24825 h 27301"/>
                <a:gd name="connsiteX1" fmla="*/ 0 w 167855"/>
                <a:gd name="connsiteY1" fmla="*/ 27301 h 27301"/>
                <a:gd name="connsiteX2" fmla="*/ 1594 w 167855"/>
                <a:gd name="connsiteY2" fmla="*/ 2648 h 27301"/>
                <a:gd name="connsiteX3" fmla="*/ 167856 w 167855"/>
                <a:gd name="connsiteY3" fmla="*/ 0 h 27301"/>
                <a:gd name="connsiteX4" fmla="*/ 166514 w 167855"/>
                <a:gd name="connsiteY4" fmla="*/ 24825 h 27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55" h="27301">
                  <a:moveTo>
                    <a:pt x="166514" y="24825"/>
                  </a:moveTo>
                  <a:lnTo>
                    <a:pt x="0" y="27301"/>
                  </a:lnTo>
                  <a:lnTo>
                    <a:pt x="1594" y="2648"/>
                  </a:lnTo>
                  <a:lnTo>
                    <a:pt x="167856" y="0"/>
                  </a:lnTo>
                  <a:lnTo>
                    <a:pt x="166514" y="24825"/>
                  </a:ln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6" name="Freeform: Shape 2755">
              <a:extLst>
                <a:ext uri="{FF2B5EF4-FFF2-40B4-BE49-F238E27FC236}">
                  <a16:creationId xmlns:a16="http://schemas.microsoft.com/office/drawing/2014/main" id="{76B2EE88-07E7-4F5D-859A-9E4B761B4FA7}"/>
                </a:ext>
              </a:extLst>
            </p:cNvPr>
            <p:cNvSpPr/>
            <p:nvPr/>
          </p:nvSpPr>
          <p:spPr>
            <a:xfrm>
              <a:off x="7514896" y="3650951"/>
              <a:ext cx="52760" cy="13438"/>
            </a:xfrm>
            <a:custGeom>
              <a:avLst/>
              <a:gdLst>
                <a:gd name="connsiteX0" fmla="*/ 6048 w 52760"/>
                <a:gd name="connsiteY0" fmla="*/ 13438 h 13438"/>
                <a:gd name="connsiteX1" fmla="*/ 1655 w 52760"/>
                <a:gd name="connsiteY1" fmla="*/ 11595 h 13438"/>
                <a:gd name="connsiteX2" fmla="*/ 11 w 52760"/>
                <a:gd name="connsiteY2" fmla="*/ 7034 h 13438"/>
                <a:gd name="connsiteX3" fmla="*/ 6761 w 52760"/>
                <a:gd name="connsiteY3" fmla="*/ 571 h 13438"/>
                <a:gd name="connsiteX4" fmla="*/ 46584 w 52760"/>
                <a:gd name="connsiteY4" fmla="*/ 0 h 13438"/>
                <a:gd name="connsiteX5" fmla="*/ 51091 w 52760"/>
                <a:gd name="connsiteY5" fmla="*/ 1844 h 13438"/>
                <a:gd name="connsiteX6" fmla="*/ 52751 w 52760"/>
                <a:gd name="connsiteY6" fmla="*/ 6405 h 13438"/>
                <a:gd name="connsiteX7" fmla="*/ 45994 w 52760"/>
                <a:gd name="connsiteY7" fmla="*/ 12882 h 13438"/>
                <a:gd name="connsiteX8" fmla="*/ 6144 w 52760"/>
                <a:gd name="connsiteY8" fmla="*/ 13434 h 13438"/>
                <a:gd name="connsiteX9" fmla="*/ 6052 w 52760"/>
                <a:gd name="connsiteY9" fmla="*/ 13434 h 13438"/>
                <a:gd name="connsiteX10" fmla="*/ 46680 w 52760"/>
                <a:gd name="connsiteY10" fmla="*/ 1637 h 13438"/>
                <a:gd name="connsiteX11" fmla="*/ 46607 w 52760"/>
                <a:gd name="connsiteY11" fmla="*/ 1637 h 13438"/>
                <a:gd name="connsiteX12" fmla="*/ 6784 w 52760"/>
                <a:gd name="connsiteY12" fmla="*/ 2208 h 13438"/>
                <a:gd name="connsiteX13" fmla="*/ 1644 w 52760"/>
                <a:gd name="connsiteY13" fmla="*/ 7129 h 13438"/>
                <a:gd name="connsiteX14" fmla="*/ 2836 w 52760"/>
                <a:gd name="connsiteY14" fmla="*/ 10464 h 13438"/>
                <a:gd name="connsiteX15" fmla="*/ 6117 w 52760"/>
                <a:gd name="connsiteY15" fmla="*/ 11802 h 13438"/>
                <a:gd name="connsiteX16" fmla="*/ 45967 w 52760"/>
                <a:gd name="connsiteY16" fmla="*/ 11250 h 13438"/>
                <a:gd name="connsiteX17" fmla="*/ 51114 w 52760"/>
                <a:gd name="connsiteY17" fmla="*/ 6317 h 13438"/>
                <a:gd name="connsiteX18" fmla="*/ 49911 w 52760"/>
                <a:gd name="connsiteY18" fmla="*/ 2978 h 13438"/>
                <a:gd name="connsiteX19" fmla="*/ 46680 w 52760"/>
                <a:gd name="connsiteY19" fmla="*/ 1637 h 13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2760" h="13438">
                  <a:moveTo>
                    <a:pt x="6048" y="13438"/>
                  </a:moveTo>
                  <a:cubicBezTo>
                    <a:pt x="4354" y="13438"/>
                    <a:pt x="2794" y="12787"/>
                    <a:pt x="1655" y="11595"/>
                  </a:cubicBezTo>
                  <a:cubicBezTo>
                    <a:pt x="494" y="10383"/>
                    <a:pt x="-89" y="8762"/>
                    <a:pt x="11" y="7034"/>
                  </a:cubicBezTo>
                  <a:cubicBezTo>
                    <a:pt x="214" y="3519"/>
                    <a:pt x="3242" y="621"/>
                    <a:pt x="6761" y="571"/>
                  </a:cubicBezTo>
                  <a:lnTo>
                    <a:pt x="46584" y="0"/>
                  </a:lnTo>
                  <a:cubicBezTo>
                    <a:pt x="48305" y="-15"/>
                    <a:pt x="49922" y="629"/>
                    <a:pt x="51091" y="1844"/>
                  </a:cubicBezTo>
                  <a:cubicBezTo>
                    <a:pt x="52257" y="3055"/>
                    <a:pt x="52843" y="4676"/>
                    <a:pt x="52751" y="6405"/>
                  </a:cubicBezTo>
                  <a:cubicBezTo>
                    <a:pt x="52559" y="9927"/>
                    <a:pt x="49528" y="12836"/>
                    <a:pt x="45994" y="12882"/>
                  </a:cubicBezTo>
                  <a:lnTo>
                    <a:pt x="6144" y="13434"/>
                  </a:lnTo>
                  <a:cubicBezTo>
                    <a:pt x="6113" y="13434"/>
                    <a:pt x="6082" y="13434"/>
                    <a:pt x="6052" y="13434"/>
                  </a:cubicBezTo>
                  <a:close/>
                  <a:moveTo>
                    <a:pt x="46680" y="1637"/>
                  </a:moveTo>
                  <a:cubicBezTo>
                    <a:pt x="46657" y="1637"/>
                    <a:pt x="46634" y="1637"/>
                    <a:pt x="46607" y="1637"/>
                  </a:cubicBezTo>
                  <a:lnTo>
                    <a:pt x="6784" y="2208"/>
                  </a:lnTo>
                  <a:cubicBezTo>
                    <a:pt x="4104" y="2246"/>
                    <a:pt x="1797" y="4454"/>
                    <a:pt x="1644" y="7129"/>
                  </a:cubicBezTo>
                  <a:cubicBezTo>
                    <a:pt x="1571" y="8402"/>
                    <a:pt x="1993" y="9586"/>
                    <a:pt x="2836" y="10464"/>
                  </a:cubicBezTo>
                  <a:cubicBezTo>
                    <a:pt x="3679" y="11346"/>
                    <a:pt x="4814" y="11828"/>
                    <a:pt x="6117" y="11802"/>
                  </a:cubicBezTo>
                  <a:lnTo>
                    <a:pt x="45967" y="11250"/>
                  </a:lnTo>
                  <a:cubicBezTo>
                    <a:pt x="48657" y="11211"/>
                    <a:pt x="50969" y="9000"/>
                    <a:pt x="51114" y="6317"/>
                  </a:cubicBezTo>
                  <a:cubicBezTo>
                    <a:pt x="51183" y="5044"/>
                    <a:pt x="50754" y="3860"/>
                    <a:pt x="49911" y="2978"/>
                  </a:cubicBezTo>
                  <a:cubicBezTo>
                    <a:pt x="49079" y="2112"/>
                    <a:pt x="47933" y="1637"/>
                    <a:pt x="46680" y="1637"/>
                  </a:cubicBezTo>
                  <a:close/>
                </a:path>
              </a:pathLst>
            </a:custGeom>
            <a:solidFill>
              <a:srgbClr val="C5E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7" name="Freeform: Shape 2756">
              <a:extLst>
                <a:ext uri="{FF2B5EF4-FFF2-40B4-BE49-F238E27FC236}">
                  <a16:creationId xmlns:a16="http://schemas.microsoft.com/office/drawing/2014/main" id="{5DD7EEDD-DC02-0CA1-4CE1-428A09685119}"/>
                </a:ext>
              </a:extLst>
            </p:cNvPr>
            <p:cNvSpPr/>
            <p:nvPr/>
          </p:nvSpPr>
          <p:spPr>
            <a:xfrm>
              <a:off x="7553994" y="3653646"/>
              <a:ext cx="8139" cy="7126"/>
            </a:xfrm>
            <a:custGeom>
              <a:avLst/>
              <a:gdLst>
                <a:gd name="connsiteX0" fmla="*/ 7980 w 8139"/>
                <a:gd name="connsiteY0" fmla="*/ 6285 h 7126"/>
                <a:gd name="connsiteX1" fmla="*/ 5466 w 8139"/>
                <a:gd name="connsiteY1" fmla="*/ 4304 h 7126"/>
                <a:gd name="connsiteX2" fmla="*/ 5899 w 8139"/>
                <a:gd name="connsiteY2" fmla="*/ 2522 h 7126"/>
                <a:gd name="connsiteX3" fmla="*/ 4883 w 8139"/>
                <a:gd name="connsiteY3" fmla="*/ 586 h 7126"/>
                <a:gd name="connsiteX4" fmla="*/ 717 w 8139"/>
                <a:gd name="connsiteY4" fmla="*/ 1176 h 7126"/>
                <a:gd name="connsiteX5" fmla="*/ 1024 w 8139"/>
                <a:gd name="connsiteY5" fmla="*/ 5293 h 7126"/>
                <a:gd name="connsiteX6" fmla="*/ 3860 w 8139"/>
                <a:gd name="connsiteY6" fmla="*/ 5668 h 7126"/>
                <a:gd name="connsiteX7" fmla="*/ 4853 w 8139"/>
                <a:gd name="connsiteY7" fmla="*/ 5051 h 7126"/>
                <a:gd name="connsiteX8" fmla="*/ 7367 w 8139"/>
                <a:gd name="connsiteY8" fmla="*/ 7033 h 7126"/>
                <a:gd name="connsiteX9" fmla="*/ 7816 w 8139"/>
                <a:gd name="connsiteY9" fmla="*/ 7094 h 7126"/>
                <a:gd name="connsiteX10" fmla="*/ 8026 w 8139"/>
                <a:gd name="connsiteY10" fmla="*/ 6941 h 7126"/>
                <a:gd name="connsiteX11" fmla="*/ 7977 w 8139"/>
                <a:gd name="connsiteY11" fmla="*/ 6289 h 7126"/>
                <a:gd name="connsiteX12" fmla="*/ 1633 w 8139"/>
                <a:gd name="connsiteY12" fmla="*/ 4545 h 7126"/>
                <a:gd name="connsiteX13" fmla="*/ 1426 w 8139"/>
                <a:gd name="connsiteY13" fmla="*/ 1736 h 7126"/>
                <a:gd name="connsiteX14" fmla="*/ 2335 w 8139"/>
                <a:gd name="connsiteY14" fmla="*/ 1077 h 7126"/>
                <a:gd name="connsiteX15" fmla="*/ 4274 w 8139"/>
                <a:gd name="connsiteY15" fmla="*/ 1333 h 7126"/>
                <a:gd name="connsiteX16" fmla="*/ 4968 w 8139"/>
                <a:gd name="connsiteY16" fmla="*/ 2656 h 7126"/>
                <a:gd name="connsiteX17" fmla="*/ 4485 w 8139"/>
                <a:gd name="connsiteY17" fmla="*/ 4147 h 7126"/>
                <a:gd name="connsiteX18" fmla="*/ 1637 w 8139"/>
                <a:gd name="connsiteY18" fmla="*/ 4549 h 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139" h="7126">
                  <a:moveTo>
                    <a:pt x="7980" y="6285"/>
                  </a:moveTo>
                  <a:lnTo>
                    <a:pt x="5466" y="4304"/>
                  </a:lnTo>
                  <a:cubicBezTo>
                    <a:pt x="5792" y="3760"/>
                    <a:pt x="5945" y="3143"/>
                    <a:pt x="5899" y="2522"/>
                  </a:cubicBezTo>
                  <a:cubicBezTo>
                    <a:pt x="5842" y="1744"/>
                    <a:pt x="5481" y="1057"/>
                    <a:pt x="4883" y="586"/>
                  </a:cubicBezTo>
                  <a:cubicBezTo>
                    <a:pt x="3649" y="-388"/>
                    <a:pt x="1783" y="-119"/>
                    <a:pt x="717" y="1176"/>
                  </a:cubicBezTo>
                  <a:cubicBezTo>
                    <a:pt x="-348" y="2476"/>
                    <a:pt x="-210" y="4319"/>
                    <a:pt x="1024" y="5293"/>
                  </a:cubicBezTo>
                  <a:cubicBezTo>
                    <a:pt x="1832" y="5929"/>
                    <a:pt x="2913" y="6036"/>
                    <a:pt x="3860" y="5668"/>
                  </a:cubicBezTo>
                  <a:cubicBezTo>
                    <a:pt x="4217" y="5530"/>
                    <a:pt x="4554" y="5320"/>
                    <a:pt x="4853" y="5051"/>
                  </a:cubicBezTo>
                  <a:lnTo>
                    <a:pt x="7367" y="7033"/>
                  </a:lnTo>
                  <a:cubicBezTo>
                    <a:pt x="7494" y="7133"/>
                    <a:pt x="7666" y="7152"/>
                    <a:pt x="7816" y="7094"/>
                  </a:cubicBezTo>
                  <a:cubicBezTo>
                    <a:pt x="7896" y="7064"/>
                    <a:pt x="7969" y="7014"/>
                    <a:pt x="8026" y="6941"/>
                  </a:cubicBezTo>
                  <a:cubicBezTo>
                    <a:pt x="8195" y="6734"/>
                    <a:pt x="8172" y="6443"/>
                    <a:pt x="7977" y="6289"/>
                  </a:cubicBezTo>
                  <a:close/>
                  <a:moveTo>
                    <a:pt x="1633" y="4545"/>
                  </a:moveTo>
                  <a:cubicBezTo>
                    <a:pt x="790" y="3882"/>
                    <a:pt x="698" y="2621"/>
                    <a:pt x="1426" y="1736"/>
                  </a:cubicBezTo>
                  <a:cubicBezTo>
                    <a:pt x="1675" y="1429"/>
                    <a:pt x="1993" y="1207"/>
                    <a:pt x="2335" y="1077"/>
                  </a:cubicBezTo>
                  <a:cubicBezTo>
                    <a:pt x="2982" y="828"/>
                    <a:pt x="3722" y="896"/>
                    <a:pt x="4274" y="1333"/>
                  </a:cubicBezTo>
                  <a:cubicBezTo>
                    <a:pt x="4680" y="1655"/>
                    <a:pt x="4929" y="2123"/>
                    <a:pt x="4968" y="2656"/>
                  </a:cubicBezTo>
                  <a:cubicBezTo>
                    <a:pt x="5006" y="3189"/>
                    <a:pt x="4834" y="3717"/>
                    <a:pt x="4485" y="4147"/>
                  </a:cubicBezTo>
                  <a:cubicBezTo>
                    <a:pt x="3757" y="5032"/>
                    <a:pt x="2480" y="5216"/>
                    <a:pt x="1637" y="4549"/>
                  </a:cubicBezTo>
                  <a:close/>
                </a:path>
              </a:pathLst>
            </a:custGeom>
            <a:solidFill>
              <a:srgbClr val="383CA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8" name="Freeform: Shape 2757">
              <a:extLst>
                <a:ext uri="{FF2B5EF4-FFF2-40B4-BE49-F238E27FC236}">
                  <a16:creationId xmlns:a16="http://schemas.microsoft.com/office/drawing/2014/main" id="{ABA0535C-1E4E-AA71-1D17-8D5D0F6A8386}"/>
                </a:ext>
              </a:extLst>
            </p:cNvPr>
            <p:cNvSpPr/>
            <p:nvPr/>
          </p:nvSpPr>
          <p:spPr>
            <a:xfrm>
              <a:off x="7520850" y="3658537"/>
              <a:ext cx="2057" cy="2050"/>
            </a:xfrm>
            <a:custGeom>
              <a:avLst/>
              <a:gdLst>
                <a:gd name="connsiteX0" fmla="*/ 2056 w 2057"/>
                <a:gd name="connsiteY0" fmla="*/ 1012 h 2050"/>
                <a:gd name="connsiteX1" fmla="*/ 971 w 2057"/>
                <a:gd name="connsiteY1" fmla="*/ 2051 h 2050"/>
                <a:gd name="connsiteX2" fmla="*/ 2 w 2057"/>
                <a:gd name="connsiteY2" fmla="*/ 1039 h 2050"/>
                <a:gd name="connsiteX3" fmla="*/ 1086 w 2057"/>
                <a:gd name="connsiteY3" fmla="*/ 0 h 2050"/>
                <a:gd name="connsiteX4" fmla="*/ 2056 w 2057"/>
                <a:gd name="connsiteY4" fmla="*/ 1012 h 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7" h="2050">
                  <a:moveTo>
                    <a:pt x="2056" y="1012"/>
                  </a:moveTo>
                  <a:cubicBezTo>
                    <a:pt x="2025" y="1579"/>
                    <a:pt x="1539" y="2043"/>
                    <a:pt x="971" y="2051"/>
                  </a:cubicBezTo>
                  <a:cubicBezTo>
                    <a:pt x="404" y="2058"/>
                    <a:pt x="-29" y="1606"/>
                    <a:pt x="2" y="1039"/>
                  </a:cubicBezTo>
                  <a:cubicBezTo>
                    <a:pt x="32" y="472"/>
                    <a:pt x="519" y="8"/>
                    <a:pt x="1086" y="0"/>
                  </a:cubicBezTo>
                  <a:cubicBezTo>
                    <a:pt x="1653" y="-8"/>
                    <a:pt x="2087" y="445"/>
                    <a:pt x="2056" y="1012"/>
                  </a:cubicBezTo>
                  <a:close/>
                </a:path>
              </a:pathLst>
            </a:custGeom>
            <a:solidFill>
              <a:srgbClr val="383CA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9" name="Freeform: Shape 2758">
              <a:extLst>
                <a:ext uri="{FF2B5EF4-FFF2-40B4-BE49-F238E27FC236}">
                  <a16:creationId xmlns:a16="http://schemas.microsoft.com/office/drawing/2014/main" id="{6374112B-7947-86B8-297E-00F58985B751}"/>
                </a:ext>
              </a:extLst>
            </p:cNvPr>
            <p:cNvSpPr/>
            <p:nvPr/>
          </p:nvSpPr>
          <p:spPr>
            <a:xfrm>
              <a:off x="7524963" y="3658479"/>
              <a:ext cx="2057" cy="2050"/>
            </a:xfrm>
            <a:custGeom>
              <a:avLst/>
              <a:gdLst>
                <a:gd name="connsiteX0" fmla="*/ 2056 w 2057"/>
                <a:gd name="connsiteY0" fmla="*/ 1012 h 2050"/>
                <a:gd name="connsiteX1" fmla="*/ 971 w 2057"/>
                <a:gd name="connsiteY1" fmla="*/ 2051 h 2050"/>
                <a:gd name="connsiteX2" fmla="*/ 2 w 2057"/>
                <a:gd name="connsiteY2" fmla="*/ 1039 h 2050"/>
                <a:gd name="connsiteX3" fmla="*/ 1086 w 2057"/>
                <a:gd name="connsiteY3" fmla="*/ 0 h 2050"/>
                <a:gd name="connsiteX4" fmla="*/ 2056 w 2057"/>
                <a:gd name="connsiteY4" fmla="*/ 1012 h 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7" h="2050">
                  <a:moveTo>
                    <a:pt x="2056" y="1012"/>
                  </a:moveTo>
                  <a:cubicBezTo>
                    <a:pt x="2025" y="1579"/>
                    <a:pt x="1539" y="2043"/>
                    <a:pt x="971" y="2051"/>
                  </a:cubicBezTo>
                  <a:cubicBezTo>
                    <a:pt x="404" y="2058"/>
                    <a:pt x="-29" y="1606"/>
                    <a:pt x="2" y="1039"/>
                  </a:cubicBezTo>
                  <a:cubicBezTo>
                    <a:pt x="32" y="472"/>
                    <a:pt x="519" y="8"/>
                    <a:pt x="1086" y="0"/>
                  </a:cubicBezTo>
                  <a:cubicBezTo>
                    <a:pt x="1653" y="-8"/>
                    <a:pt x="2087" y="445"/>
                    <a:pt x="2056" y="1012"/>
                  </a:cubicBezTo>
                  <a:close/>
                </a:path>
              </a:pathLst>
            </a:custGeom>
            <a:solidFill>
              <a:srgbClr val="383CA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0" name="Freeform: Shape 2759">
              <a:extLst>
                <a:ext uri="{FF2B5EF4-FFF2-40B4-BE49-F238E27FC236}">
                  <a16:creationId xmlns:a16="http://schemas.microsoft.com/office/drawing/2014/main" id="{7FFA9438-C65E-F455-DADB-2C6923D67766}"/>
                </a:ext>
              </a:extLst>
            </p:cNvPr>
            <p:cNvSpPr/>
            <p:nvPr/>
          </p:nvSpPr>
          <p:spPr>
            <a:xfrm>
              <a:off x="7529075" y="3658422"/>
              <a:ext cx="2057" cy="2050"/>
            </a:xfrm>
            <a:custGeom>
              <a:avLst/>
              <a:gdLst>
                <a:gd name="connsiteX0" fmla="*/ 2056 w 2057"/>
                <a:gd name="connsiteY0" fmla="*/ 1012 h 2050"/>
                <a:gd name="connsiteX1" fmla="*/ 971 w 2057"/>
                <a:gd name="connsiteY1" fmla="*/ 2051 h 2050"/>
                <a:gd name="connsiteX2" fmla="*/ 2 w 2057"/>
                <a:gd name="connsiteY2" fmla="*/ 1039 h 2050"/>
                <a:gd name="connsiteX3" fmla="*/ 1086 w 2057"/>
                <a:gd name="connsiteY3" fmla="*/ 0 h 2050"/>
                <a:gd name="connsiteX4" fmla="*/ 2056 w 2057"/>
                <a:gd name="connsiteY4" fmla="*/ 1012 h 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7" h="2050">
                  <a:moveTo>
                    <a:pt x="2056" y="1012"/>
                  </a:moveTo>
                  <a:cubicBezTo>
                    <a:pt x="2025" y="1579"/>
                    <a:pt x="1539" y="2043"/>
                    <a:pt x="971" y="2051"/>
                  </a:cubicBezTo>
                  <a:cubicBezTo>
                    <a:pt x="404" y="2058"/>
                    <a:pt x="-29" y="1606"/>
                    <a:pt x="2" y="1039"/>
                  </a:cubicBezTo>
                  <a:cubicBezTo>
                    <a:pt x="32" y="472"/>
                    <a:pt x="519" y="8"/>
                    <a:pt x="1086" y="0"/>
                  </a:cubicBezTo>
                  <a:cubicBezTo>
                    <a:pt x="1653" y="-8"/>
                    <a:pt x="2087" y="445"/>
                    <a:pt x="2056" y="1012"/>
                  </a:cubicBezTo>
                  <a:close/>
                </a:path>
              </a:pathLst>
            </a:custGeom>
            <a:solidFill>
              <a:srgbClr val="383CA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1" name="Freeform: Shape 2760">
              <a:extLst>
                <a:ext uri="{FF2B5EF4-FFF2-40B4-BE49-F238E27FC236}">
                  <a16:creationId xmlns:a16="http://schemas.microsoft.com/office/drawing/2014/main" id="{BAF8B264-E732-1335-F62E-8CE4E0B2D1D6}"/>
                </a:ext>
              </a:extLst>
            </p:cNvPr>
            <p:cNvSpPr/>
            <p:nvPr/>
          </p:nvSpPr>
          <p:spPr>
            <a:xfrm>
              <a:off x="7567177" y="3790943"/>
              <a:ext cx="39681" cy="354592"/>
            </a:xfrm>
            <a:custGeom>
              <a:avLst/>
              <a:gdLst>
                <a:gd name="connsiteX0" fmla="*/ 39089 w 39681"/>
                <a:gd name="connsiteY0" fmla="*/ 171390 h 354592"/>
                <a:gd name="connsiteX1" fmla="*/ 30358 w 39681"/>
                <a:gd name="connsiteY1" fmla="*/ 199477 h 354592"/>
                <a:gd name="connsiteX2" fmla="*/ 14145 w 39681"/>
                <a:gd name="connsiteY2" fmla="*/ 218948 h 354592"/>
                <a:gd name="connsiteX3" fmla="*/ 11041 w 39681"/>
                <a:gd name="connsiteY3" fmla="*/ 232524 h 354592"/>
                <a:gd name="connsiteX4" fmla="*/ 10450 w 39681"/>
                <a:gd name="connsiteY4" fmla="*/ 289097 h 354592"/>
                <a:gd name="connsiteX5" fmla="*/ 10450 w 39681"/>
                <a:gd name="connsiteY5" fmla="*/ 354592 h 354592"/>
                <a:gd name="connsiteX6" fmla="*/ 224 w 39681"/>
                <a:gd name="connsiteY6" fmla="*/ 354592 h 354592"/>
                <a:gd name="connsiteX7" fmla="*/ 224 w 39681"/>
                <a:gd name="connsiteY7" fmla="*/ 281147 h 354592"/>
                <a:gd name="connsiteX8" fmla="*/ 1167 w 39681"/>
                <a:gd name="connsiteY8" fmla="*/ 228430 h 354592"/>
                <a:gd name="connsiteX9" fmla="*/ 5859 w 39681"/>
                <a:gd name="connsiteY9" fmla="*/ 212877 h 354592"/>
                <a:gd name="connsiteX10" fmla="*/ 22754 w 39681"/>
                <a:gd name="connsiteY10" fmla="*/ 192616 h 354592"/>
                <a:gd name="connsiteX11" fmla="*/ 29300 w 39681"/>
                <a:gd name="connsiteY11" fmla="*/ 163057 h 354592"/>
                <a:gd name="connsiteX12" fmla="*/ 29331 w 39681"/>
                <a:gd name="connsiteY12" fmla="*/ 129566 h 354592"/>
                <a:gd name="connsiteX13" fmla="*/ 29454 w 39681"/>
                <a:gd name="connsiteY13" fmla="*/ 0 h 354592"/>
                <a:gd name="connsiteX14" fmla="*/ 39672 w 39681"/>
                <a:gd name="connsiteY14" fmla="*/ 0 h 354592"/>
                <a:gd name="connsiteX15" fmla="*/ 39549 w 39681"/>
                <a:gd name="connsiteY15" fmla="*/ 137638 h 354592"/>
                <a:gd name="connsiteX16" fmla="*/ 39089 w 39681"/>
                <a:gd name="connsiteY16" fmla="*/ 171390 h 354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681" h="354592">
                  <a:moveTo>
                    <a:pt x="39089" y="171390"/>
                  </a:moveTo>
                  <a:cubicBezTo>
                    <a:pt x="38231" y="181294"/>
                    <a:pt x="36414" y="191344"/>
                    <a:pt x="30358" y="199477"/>
                  </a:cubicBezTo>
                  <a:cubicBezTo>
                    <a:pt x="25322" y="206230"/>
                    <a:pt x="18308" y="211550"/>
                    <a:pt x="14145" y="218948"/>
                  </a:cubicBezTo>
                  <a:cubicBezTo>
                    <a:pt x="11616" y="223455"/>
                    <a:pt x="11363" y="227717"/>
                    <a:pt x="11041" y="232524"/>
                  </a:cubicBezTo>
                  <a:cubicBezTo>
                    <a:pt x="9783" y="251305"/>
                    <a:pt x="10450" y="270285"/>
                    <a:pt x="10450" y="289097"/>
                  </a:cubicBezTo>
                  <a:lnTo>
                    <a:pt x="10450" y="354592"/>
                  </a:lnTo>
                  <a:lnTo>
                    <a:pt x="224" y="354592"/>
                  </a:lnTo>
                  <a:lnTo>
                    <a:pt x="224" y="281147"/>
                  </a:lnTo>
                  <a:cubicBezTo>
                    <a:pt x="224" y="263685"/>
                    <a:pt x="-688" y="245831"/>
                    <a:pt x="1167" y="228430"/>
                  </a:cubicBezTo>
                  <a:cubicBezTo>
                    <a:pt x="1765" y="222811"/>
                    <a:pt x="2884" y="217783"/>
                    <a:pt x="5859" y="212877"/>
                  </a:cubicBezTo>
                  <a:cubicBezTo>
                    <a:pt x="10466" y="205264"/>
                    <a:pt x="17794" y="199921"/>
                    <a:pt x="22754" y="192616"/>
                  </a:cubicBezTo>
                  <a:cubicBezTo>
                    <a:pt x="28480" y="184191"/>
                    <a:pt x="29047" y="172938"/>
                    <a:pt x="29300" y="163057"/>
                  </a:cubicBezTo>
                  <a:cubicBezTo>
                    <a:pt x="29592" y="151904"/>
                    <a:pt x="29316" y="140719"/>
                    <a:pt x="29331" y="129566"/>
                  </a:cubicBezTo>
                  <a:cubicBezTo>
                    <a:pt x="29354" y="111582"/>
                    <a:pt x="29469" y="38673"/>
                    <a:pt x="29454" y="0"/>
                  </a:cubicBezTo>
                  <a:lnTo>
                    <a:pt x="39672" y="0"/>
                  </a:lnTo>
                  <a:cubicBezTo>
                    <a:pt x="39695" y="40483"/>
                    <a:pt x="39542" y="117216"/>
                    <a:pt x="39549" y="137638"/>
                  </a:cubicBezTo>
                  <a:cubicBezTo>
                    <a:pt x="39549" y="148860"/>
                    <a:pt x="40055" y="160198"/>
                    <a:pt x="39089" y="171390"/>
                  </a:cubicBez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2" name="Freeform: Shape 2761">
              <a:extLst>
                <a:ext uri="{FF2B5EF4-FFF2-40B4-BE49-F238E27FC236}">
                  <a16:creationId xmlns:a16="http://schemas.microsoft.com/office/drawing/2014/main" id="{BD0591B2-A400-2C98-7C18-BBF43C991EEC}"/>
                </a:ext>
              </a:extLst>
            </p:cNvPr>
            <p:cNvSpPr/>
            <p:nvPr/>
          </p:nvSpPr>
          <p:spPr>
            <a:xfrm>
              <a:off x="7575155" y="3785365"/>
              <a:ext cx="58880" cy="79803"/>
            </a:xfrm>
            <a:custGeom>
              <a:avLst/>
              <a:gdLst>
                <a:gd name="connsiteX0" fmla="*/ 34522 w 58880"/>
                <a:gd name="connsiteY0" fmla="*/ 23 h 79803"/>
                <a:gd name="connsiteX1" fmla="*/ 58002 w 58880"/>
                <a:gd name="connsiteY1" fmla="*/ 22756 h 79803"/>
                <a:gd name="connsiteX2" fmla="*/ 40391 w 58880"/>
                <a:gd name="connsiteY2" fmla="*/ 72644 h 79803"/>
                <a:gd name="connsiteX3" fmla="*/ 28298 w 58880"/>
                <a:gd name="connsiteY3" fmla="*/ 79797 h 79803"/>
                <a:gd name="connsiteX4" fmla="*/ 8651 w 58880"/>
                <a:gd name="connsiteY4" fmla="*/ 79091 h 79803"/>
                <a:gd name="connsiteX5" fmla="*/ 4369 w 58880"/>
                <a:gd name="connsiteY5" fmla="*/ 76945 h 79803"/>
                <a:gd name="connsiteX6" fmla="*/ 0 w 58880"/>
                <a:gd name="connsiteY6" fmla="*/ 71514 h 79803"/>
                <a:gd name="connsiteX7" fmla="*/ 34522 w 58880"/>
                <a:gd name="connsiteY7" fmla="*/ 23 h 7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880" h="79803">
                  <a:moveTo>
                    <a:pt x="34522" y="23"/>
                  </a:moveTo>
                  <a:cubicBezTo>
                    <a:pt x="43181" y="-571"/>
                    <a:pt x="63311" y="10230"/>
                    <a:pt x="58002" y="22756"/>
                  </a:cubicBezTo>
                  <a:cubicBezTo>
                    <a:pt x="54020" y="32154"/>
                    <a:pt x="49839" y="41000"/>
                    <a:pt x="40391" y="72644"/>
                  </a:cubicBezTo>
                  <a:cubicBezTo>
                    <a:pt x="39041" y="77156"/>
                    <a:pt x="33005" y="79965"/>
                    <a:pt x="28298" y="79797"/>
                  </a:cubicBezTo>
                  <a:lnTo>
                    <a:pt x="8651" y="79091"/>
                  </a:lnTo>
                  <a:cubicBezTo>
                    <a:pt x="6980" y="79030"/>
                    <a:pt x="5420" y="78248"/>
                    <a:pt x="4369" y="76945"/>
                  </a:cubicBezTo>
                  <a:lnTo>
                    <a:pt x="0" y="71514"/>
                  </a:lnTo>
                  <a:lnTo>
                    <a:pt x="34522" y="23"/>
                  </a:lnTo>
                  <a:close/>
                </a:path>
              </a:pathLst>
            </a:custGeom>
            <a:solidFill>
              <a:srgbClr val="383CA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3" name="Freeform: Shape 2762">
              <a:extLst>
                <a:ext uri="{FF2B5EF4-FFF2-40B4-BE49-F238E27FC236}">
                  <a16:creationId xmlns:a16="http://schemas.microsoft.com/office/drawing/2014/main" id="{A5D9CE70-678C-375C-ADF9-B0B9C80B33DC}"/>
                </a:ext>
              </a:extLst>
            </p:cNvPr>
            <p:cNvSpPr/>
            <p:nvPr/>
          </p:nvSpPr>
          <p:spPr>
            <a:xfrm>
              <a:off x="7593607" y="3783358"/>
              <a:ext cx="41649" cy="25938"/>
            </a:xfrm>
            <a:custGeom>
              <a:avLst/>
              <a:gdLst>
                <a:gd name="connsiteX0" fmla="*/ 0 w 41649"/>
                <a:gd name="connsiteY0" fmla="*/ 2031 h 25938"/>
                <a:gd name="connsiteX1" fmla="*/ 33606 w 41649"/>
                <a:gd name="connsiteY1" fmla="*/ 2031 h 25938"/>
                <a:gd name="connsiteX2" fmla="*/ 39551 w 41649"/>
                <a:gd name="connsiteY2" fmla="*/ 24764 h 25938"/>
                <a:gd name="connsiteX3" fmla="*/ 0 w 41649"/>
                <a:gd name="connsiteY3" fmla="*/ 2031 h 25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49" h="25938">
                  <a:moveTo>
                    <a:pt x="0" y="2031"/>
                  </a:moveTo>
                  <a:cubicBezTo>
                    <a:pt x="6972" y="-1139"/>
                    <a:pt x="29475" y="-173"/>
                    <a:pt x="33606" y="2031"/>
                  </a:cubicBezTo>
                  <a:cubicBezTo>
                    <a:pt x="39605" y="5232"/>
                    <a:pt x="44645" y="15419"/>
                    <a:pt x="39551" y="24764"/>
                  </a:cubicBezTo>
                  <a:cubicBezTo>
                    <a:pt x="35504" y="32184"/>
                    <a:pt x="0" y="2031"/>
                    <a:pt x="0" y="2031"/>
                  </a:cubicBezTo>
                  <a:close/>
                </a:path>
              </a:pathLst>
            </a:custGeom>
            <a:solidFill>
              <a:srgbClr val="383CA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4" name="Freeform: Shape 2763">
              <a:extLst>
                <a:ext uri="{FF2B5EF4-FFF2-40B4-BE49-F238E27FC236}">
                  <a16:creationId xmlns:a16="http://schemas.microsoft.com/office/drawing/2014/main" id="{96C1C15B-8132-2255-CB39-00AA3A7AA896}"/>
                </a:ext>
              </a:extLst>
            </p:cNvPr>
            <p:cNvSpPr/>
            <p:nvPr/>
          </p:nvSpPr>
          <p:spPr>
            <a:xfrm>
              <a:off x="7574297" y="3785389"/>
              <a:ext cx="50007" cy="74234"/>
            </a:xfrm>
            <a:custGeom>
              <a:avLst/>
              <a:gdLst>
                <a:gd name="connsiteX0" fmla="*/ 28386 w 50007"/>
                <a:gd name="connsiteY0" fmla="*/ 74235 h 74234"/>
                <a:gd name="connsiteX1" fmla="*/ 6037 w 50007"/>
                <a:gd name="connsiteY1" fmla="*/ 74235 h 74234"/>
                <a:gd name="connsiteX2" fmla="*/ 138 w 50007"/>
                <a:gd name="connsiteY2" fmla="*/ 66914 h 74234"/>
                <a:gd name="connsiteX3" fmla="*/ 10568 w 50007"/>
                <a:gd name="connsiteY3" fmla="*/ 7321 h 74234"/>
                <a:gd name="connsiteX4" fmla="*/ 19310 w 50007"/>
                <a:gd name="connsiteY4" fmla="*/ 0 h 74234"/>
                <a:gd name="connsiteX5" fmla="*/ 43971 w 50007"/>
                <a:gd name="connsiteY5" fmla="*/ 0 h 74234"/>
                <a:gd name="connsiteX6" fmla="*/ 49870 w 50007"/>
                <a:gd name="connsiteY6" fmla="*/ 7321 h 74234"/>
                <a:gd name="connsiteX7" fmla="*/ 37129 w 50007"/>
                <a:gd name="connsiteY7" fmla="*/ 66914 h 74234"/>
                <a:gd name="connsiteX8" fmla="*/ 28386 w 50007"/>
                <a:gd name="connsiteY8" fmla="*/ 74235 h 7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07" h="74234">
                  <a:moveTo>
                    <a:pt x="28386" y="74235"/>
                  </a:moveTo>
                  <a:lnTo>
                    <a:pt x="6037" y="74235"/>
                  </a:lnTo>
                  <a:cubicBezTo>
                    <a:pt x="1993" y="74235"/>
                    <a:pt x="-647" y="70958"/>
                    <a:pt x="138" y="66914"/>
                  </a:cubicBezTo>
                  <a:lnTo>
                    <a:pt x="10568" y="7321"/>
                  </a:lnTo>
                  <a:cubicBezTo>
                    <a:pt x="11353" y="3277"/>
                    <a:pt x="15270" y="0"/>
                    <a:pt x="19310" y="0"/>
                  </a:cubicBezTo>
                  <a:lnTo>
                    <a:pt x="43971" y="0"/>
                  </a:lnTo>
                  <a:cubicBezTo>
                    <a:pt x="48014" y="0"/>
                    <a:pt x="50655" y="3277"/>
                    <a:pt x="49870" y="7321"/>
                  </a:cubicBezTo>
                  <a:lnTo>
                    <a:pt x="37129" y="66914"/>
                  </a:lnTo>
                  <a:cubicBezTo>
                    <a:pt x="36343" y="70958"/>
                    <a:pt x="32426" y="74235"/>
                    <a:pt x="28386" y="74235"/>
                  </a:cubicBezTo>
                  <a:close/>
                </a:path>
              </a:pathLst>
            </a:custGeom>
            <a:solidFill>
              <a:srgbClr val="505AD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5" name="Freeform: Shape 2764">
              <a:extLst>
                <a:ext uri="{FF2B5EF4-FFF2-40B4-BE49-F238E27FC236}">
                  <a16:creationId xmlns:a16="http://schemas.microsoft.com/office/drawing/2014/main" id="{C1E81D10-6466-41BD-AFE0-495BB88EC4B9}"/>
                </a:ext>
              </a:extLst>
            </p:cNvPr>
            <p:cNvSpPr/>
            <p:nvPr/>
          </p:nvSpPr>
          <p:spPr>
            <a:xfrm>
              <a:off x="7584289" y="3793480"/>
              <a:ext cx="34813" cy="27458"/>
            </a:xfrm>
            <a:custGeom>
              <a:avLst/>
              <a:gdLst>
                <a:gd name="connsiteX0" fmla="*/ 29478 w 34813"/>
                <a:gd name="connsiteY0" fmla="*/ 27459 h 27458"/>
                <a:gd name="connsiteX1" fmla="*/ 0 w 34813"/>
                <a:gd name="connsiteY1" fmla="*/ 27459 h 27458"/>
                <a:gd name="connsiteX2" fmla="*/ 5335 w 34813"/>
                <a:gd name="connsiteY2" fmla="*/ 0 h 27458"/>
                <a:gd name="connsiteX3" fmla="*/ 34814 w 34813"/>
                <a:gd name="connsiteY3" fmla="*/ 0 h 27458"/>
                <a:gd name="connsiteX4" fmla="*/ 29478 w 34813"/>
                <a:gd name="connsiteY4" fmla="*/ 27459 h 2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813" h="27458">
                  <a:moveTo>
                    <a:pt x="29478" y="27459"/>
                  </a:moveTo>
                  <a:lnTo>
                    <a:pt x="0" y="27459"/>
                  </a:lnTo>
                  <a:lnTo>
                    <a:pt x="5335" y="0"/>
                  </a:lnTo>
                  <a:lnTo>
                    <a:pt x="34814" y="0"/>
                  </a:lnTo>
                  <a:lnTo>
                    <a:pt x="29478" y="27459"/>
                  </a:lnTo>
                  <a:close/>
                </a:path>
              </a:pathLst>
            </a:custGeom>
            <a:solidFill>
              <a:srgbClr val="5CC8F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6" name="Freeform: Shape 2765">
              <a:extLst>
                <a:ext uri="{FF2B5EF4-FFF2-40B4-BE49-F238E27FC236}">
                  <a16:creationId xmlns:a16="http://schemas.microsoft.com/office/drawing/2014/main" id="{1C397B5C-9590-17DD-7ECB-3F861624373C}"/>
                </a:ext>
              </a:extLst>
            </p:cNvPr>
            <p:cNvSpPr/>
            <p:nvPr/>
          </p:nvSpPr>
          <p:spPr>
            <a:xfrm>
              <a:off x="7593367" y="3824848"/>
              <a:ext cx="8751" cy="5377"/>
            </a:xfrm>
            <a:custGeom>
              <a:avLst/>
              <a:gdLst>
                <a:gd name="connsiteX0" fmla="*/ 6584 w 8751"/>
                <a:gd name="connsiteY0" fmla="*/ 5377 h 5377"/>
                <a:gd name="connsiteX1" fmla="*/ 1126 w 8751"/>
                <a:gd name="connsiteY1" fmla="*/ 5377 h 5377"/>
                <a:gd name="connsiteX2" fmla="*/ 26 w 8751"/>
                <a:gd name="connsiteY2" fmla="*/ 4013 h 5377"/>
                <a:gd name="connsiteX3" fmla="*/ 539 w 8751"/>
                <a:gd name="connsiteY3" fmla="*/ 1364 h 5377"/>
                <a:gd name="connsiteX4" fmla="*/ 2168 w 8751"/>
                <a:gd name="connsiteY4" fmla="*/ 0 h 5377"/>
                <a:gd name="connsiteX5" fmla="*/ 7626 w 8751"/>
                <a:gd name="connsiteY5" fmla="*/ 0 h 5377"/>
                <a:gd name="connsiteX6" fmla="*/ 8726 w 8751"/>
                <a:gd name="connsiteY6" fmla="*/ 1364 h 5377"/>
                <a:gd name="connsiteX7" fmla="*/ 8213 w 8751"/>
                <a:gd name="connsiteY7" fmla="*/ 4013 h 5377"/>
                <a:gd name="connsiteX8" fmla="*/ 6584 w 8751"/>
                <a:gd name="connsiteY8" fmla="*/ 5377 h 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51" h="5377">
                  <a:moveTo>
                    <a:pt x="6584" y="5377"/>
                  </a:moveTo>
                  <a:lnTo>
                    <a:pt x="1126" y="5377"/>
                  </a:lnTo>
                  <a:cubicBezTo>
                    <a:pt x="371" y="5377"/>
                    <a:pt x="-120" y="4768"/>
                    <a:pt x="26" y="4013"/>
                  </a:cubicBezTo>
                  <a:lnTo>
                    <a:pt x="539" y="1364"/>
                  </a:lnTo>
                  <a:cubicBezTo>
                    <a:pt x="685" y="609"/>
                    <a:pt x="1417" y="0"/>
                    <a:pt x="2168" y="0"/>
                  </a:cubicBezTo>
                  <a:lnTo>
                    <a:pt x="7626" y="0"/>
                  </a:lnTo>
                  <a:cubicBezTo>
                    <a:pt x="8381" y="0"/>
                    <a:pt x="8872" y="609"/>
                    <a:pt x="8726" y="1364"/>
                  </a:cubicBezTo>
                  <a:lnTo>
                    <a:pt x="8213" y="4013"/>
                  </a:lnTo>
                  <a:cubicBezTo>
                    <a:pt x="8067" y="4768"/>
                    <a:pt x="7335" y="5377"/>
                    <a:pt x="6584" y="5377"/>
                  </a:cubicBezTo>
                  <a:close/>
                </a:path>
              </a:pathLst>
            </a:custGeom>
            <a:solidFill>
              <a:srgbClr val="7384F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7" name="Freeform: Shape 2766">
              <a:extLst>
                <a:ext uri="{FF2B5EF4-FFF2-40B4-BE49-F238E27FC236}">
                  <a16:creationId xmlns:a16="http://schemas.microsoft.com/office/drawing/2014/main" id="{EA417A85-C28A-43B3-036E-7F7E93408CCF}"/>
                </a:ext>
              </a:extLst>
            </p:cNvPr>
            <p:cNvSpPr/>
            <p:nvPr/>
          </p:nvSpPr>
          <p:spPr>
            <a:xfrm>
              <a:off x="7604014" y="3824848"/>
              <a:ext cx="8751" cy="5377"/>
            </a:xfrm>
            <a:custGeom>
              <a:avLst/>
              <a:gdLst>
                <a:gd name="connsiteX0" fmla="*/ 6584 w 8751"/>
                <a:gd name="connsiteY0" fmla="*/ 5377 h 5377"/>
                <a:gd name="connsiteX1" fmla="*/ 1126 w 8751"/>
                <a:gd name="connsiteY1" fmla="*/ 5377 h 5377"/>
                <a:gd name="connsiteX2" fmla="*/ 26 w 8751"/>
                <a:gd name="connsiteY2" fmla="*/ 4013 h 5377"/>
                <a:gd name="connsiteX3" fmla="*/ 539 w 8751"/>
                <a:gd name="connsiteY3" fmla="*/ 1364 h 5377"/>
                <a:gd name="connsiteX4" fmla="*/ 2168 w 8751"/>
                <a:gd name="connsiteY4" fmla="*/ 0 h 5377"/>
                <a:gd name="connsiteX5" fmla="*/ 7626 w 8751"/>
                <a:gd name="connsiteY5" fmla="*/ 0 h 5377"/>
                <a:gd name="connsiteX6" fmla="*/ 8726 w 8751"/>
                <a:gd name="connsiteY6" fmla="*/ 1364 h 5377"/>
                <a:gd name="connsiteX7" fmla="*/ 8213 w 8751"/>
                <a:gd name="connsiteY7" fmla="*/ 4013 h 5377"/>
                <a:gd name="connsiteX8" fmla="*/ 6584 w 8751"/>
                <a:gd name="connsiteY8" fmla="*/ 5377 h 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51" h="5377">
                  <a:moveTo>
                    <a:pt x="6584" y="5377"/>
                  </a:moveTo>
                  <a:lnTo>
                    <a:pt x="1126" y="5377"/>
                  </a:lnTo>
                  <a:cubicBezTo>
                    <a:pt x="371" y="5377"/>
                    <a:pt x="-120" y="4768"/>
                    <a:pt x="26" y="4013"/>
                  </a:cubicBezTo>
                  <a:lnTo>
                    <a:pt x="539" y="1364"/>
                  </a:lnTo>
                  <a:cubicBezTo>
                    <a:pt x="685" y="609"/>
                    <a:pt x="1417" y="0"/>
                    <a:pt x="2168" y="0"/>
                  </a:cubicBezTo>
                  <a:lnTo>
                    <a:pt x="7626" y="0"/>
                  </a:lnTo>
                  <a:cubicBezTo>
                    <a:pt x="8381" y="0"/>
                    <a:pt x="8872" y="609"/>
                    <a:pt x="8726" y="1364"/>
                  </a:cubicBezTo>
                  <a:lnTo>
                    <a:pt x="8213" y="4013"/>
                  </a:lnTo>
                  <a:cubicBezTo>
                    <a:pt x="8067" y="4768"/>
                    <a:pt x="7335" y="5377"/>
                    <a:pt x="6584" y="5377"/>
                  </a:cubicBezTo>
                  <a:close/>
                </a:path>
              </a:pathLst>
            </a:custGeom>
            <a:solidFill>
              <a:srgbClr val="7384F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8" name="Freeform: Shape 2767">
              <a:extLst>
                <a:ext uri="{FF2B5EF4-FFF2-40B4-BE49-F238E27FC236}">
                  <a16:creationId xmlns:a16="http://schemas.microsoft.com/office/drawing/2014/main" id="{6F8C9D85-C60C-A589-2E40-F3F26D6BED18}"/>
                </a:ext>
              </a:extLst>
            </p:cNvPr>
            <p:cNvSpPr/>
            <p:nvPr/>
          </p:nvSpPr>
          <p:spPr>
            <a:xfrm>
              <a:off x="7582723" y="3824848"/>
              <a:ext cx="8751" cy="5377"/>
            </a:xfrm>
            <a:custGeom>
              <a:avLst/>
              <a:gdLst>
                <a:gd name="connsiteX0" fmla="*/ 6584 w 8751"/>
                <a:gd name="connsiteY0" fmla="*/ 5377 h 5377"/>
                <a:gd name="connsiteX1" fmla="*/ 1126 w 8751"/>
                <a:gd name="connsiteY1" fmla="*/ 5377 h 5377"/>
                <a:gd name="connsiteX2" fmla="*/ 26 w 8751"/>
                <a:gd name="connsiteY2" fmla="*/ 4013 h 5377"/>
                <a:gd name="connsiteX3" fmla="*/ 539 w 8751"/>
                <a:gd name="connsiteY3" fmla="*/ 1364 h 5377"/>
                <a:gd name="connsiteX4" fmla="*/ 2168 w 8751"/>
                <a:gd name="connsiteY4" fmla="*/ 0 h 5377"/>
                <a:gd name="connsiteX5" fmla="*/ 7626 w 8751"/>
                <a:gd name="connsiteY5" fmla="*/ 0 h 5377"/>
                <a:gd name="connsiteX6" fmla="*/ 8726 w 8751"/>
                <a:gd name="connsiteY6" fmla="*/ 1364 h 5377"/>
                <a:gd name="connsiteX7" fmla="*/ 8213 w 8751"/>
                <a:gd name="connsiteY7" fmla="*/ 4013 h 5377"/>
                <a:gd name="connsiteX8" fmla="*/ 6584 w 8751"/>
                <a:gd name="connsiteY8" fmla="*/ 5377 h 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51" h="5377">
                  <a:moveTo>
                    <a:pt x="6584" y="5377"/>
                  </a:moveTo>
                  <a:lnTo>
                    <a:pt x="1126" y="5377"/>
                  </a:lnTo>
                  <a:cubicBezTo>
                    <a:pt x="371" y="5377"/>
                    <a:pt x="-120" y="4768"/>
                    <a:pt x="26" y="4013"/>
                  </a:cubicBezTo>
                  <a:lnTo>
                    <a:pt x="539" y="1364"/>
                  </a:lnTo>
                  <a:cubicBezTo>
                    <a:pt x="685" y="609"/>
                    <a:pt x="1417" y="0"/>
                    <a:pt x="2168" y="0"/>
                  </a:cubicBezTo>
                  <a:lnTo>
                    <a:pt x="7626" y="0"/>
                  </a:lnTo>
                  <a:cubicBezTo>
                    <a:pt x="8381" y="0"/>
                    <a:pt x="8872" y="609"/>
                    <a:pt x="8726" y="1364"/>
                  </a:cubicBezTo>
                  <a:lnTo>
                    <a:pt x="8213" y="4013"/>
                  </a:lnTo>
                  <a:cubicBezTo>
                    <a:pt x="8067" y="4768"/>
                    <a:pt x="7335" y="5377"/>
                    <a:pt x="6584" y="5377"/>
                  </a:cubicBezTo>
                  <a:close/>
                </a:path>
              </a:pathLst>
            </a:custGeom>
            <a:solidFill>
              <a:srgbClr val="7384F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9" name="Freeform: Shape 2768">
              <a:extLst>
                <a:ext uri="{FF2B5EF4-FFF2-40B4-BE49-F238E27FC236}">
                  <a16:creationId xmlns:a16="http://schemas.microsoft.com/office/drawing/2014/main" id="{085CF2CC-3E36-746C-5357-681B67263B7A}"/>
                </a:ext>
              </a:extLst>
            </p:cNvPr>
            <p:cNvSpPr/>
            <p:nvPr/>
          </p:nvSpPr>
          <p:spPr>
            <a:xfrm>
              <a:off x="7591822" y="3832793"/>
              <a:ext cx="8751" cy="5377"/>
            </a:xfrm>
            <a:custGeom>
              <a:avLst/>
              <a:gdLst>
                <a:gd name="connsiteX0" fmla="*/ 6584 w 8751"/>
                <a:gd name="connsiteY0" fmla="*/ 5377 h 5377"/>
                <a:gd name="connsiteX1" fmla="*/ 1126 w 8751"/>
                <a:gd name="connsiteY1" fmla="*/ 5377 h 5377"/>
                <a:gd name="connsiteX2" fmla="*/ 26 w 8751"/>
                <a:gd name="connsiteY2" fmla="*/ 4013 h 5377"/>
                <a:gd name="connsiteX3" fmla="*/ 539 w 8751"/>
                <a:gd name="connsiteY3" fmla="*/ 1364 h 5377"/>
                <a:gd name="connsiteX4" fmla="*/ 2168 w 8751"/>
                <a:gd name="connsiteY4" fmla="*/ 0 h 5377"/>
                <a:gd name="connsiteX5" fmla="*/ 7626 w 8751"/>
                <a:gd name="connsiteY5" fmla="*/ 0 h 5377"/>
                <a:gd name="connsiteX6" fmla="*/ 8726 w 8751"/>
                <a:gd name="connsiteY6" fmla="*/ 1364 h 5377"/>
                <a:gd name="connsiteX7" fmla="*/ 8213 w 8751"/>
                <a:gd name="connsiteY7" fmla="*/ 4013 h 5377"/>
                <a:gd name="connsiteX8" fmla="*/ 6584 w 8751"/>
                <a:gd name="connsiteY8" fmla="*/ 5377 h 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51" h="5377">
                  <a:moveTo>
                    <a:pt x="6584" y="5377"/>
                  </a:moveTo>
                  <a:lnTo>
                    <a:pt x="1126" y="5377"/>
                  </a:lnTo>
                  <a:cubicBezTo>
                    <a:pt x="371" y="5377"/>
                    <a:pt x="-120" y="4768"/>
                    <a:pt x="26" y="4013"/>
                  </a:cubicBezTo>
                  <a:lnTo>
                    <a:pt x="539" y="1364"/>
                  </a:lnTo>
                  <a:cubicBezTo>
                    <a:pt x="685" y="609"/>
                    <a:pt x="1417" y="0"/>
                    <a:pt x="2168" y="0"/>
                  </a:cubicBezTo>
                  <a:lnTo>
                    <a:pt x="7626" y="0"/>
                  </a:lnTo>
                  <a:cubicBezTo>
                    <a:pt x="8381" y="0"/>
                    <a:pt x="8872" y="609"/>
                    <a:pt x="8726" y="1364"/>
                  </a:cubicBezTo>
                  <a:lnTo>
                    <a:pt x="8213" y="4013"/>
                  </a:lnTo>
                  <a:cubicBezTo>
                    <a:pt x="8067" y="4768"/>
                    <a:pt x="7335" y="5377"/>
                    <a:pt x="6584" y="5377"/>
                  </a:cubicBezTo>
                  <a:close/>
                </a:path>
              </a:pathLst>
            </a:custGeom>
            <a:solidFill>
              <a:srgbClr val="7384F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0" name="Freeform: Shape 2769">
              <a:extLst>
                <a:ext uri="{FF2B5EF4-FFF2-40B4-BE49-F238E27FC236}">
                  <a16:creationId xmlns:a16="http://schemas.microsoft.com/office/drawing/2014/main" id="{EEC50114-73FC-C268-092D-B297DDBA61A9}"/>
                </a:ext>
              </a:extLst>
            </p:cNvPr>
            <p:cNvSpPr/>
            <p:nvPr/>
          </p:nvSpPr>
          <p:spPr>
            <a:xfrm>
              <a:off x="7602470" y="3832793"/>
              <a:ext cx="8751" cy="5377"/>
            </a:xfrm>
            <a:custGeom>
              <a:avLst/>
              <a:gdLst>
                <a:gd name="connsiteX0" fmla="*/ 6584 w 8751"/>
                <a:gd name="connsiteY0" fmla="*/ 5377 h 5377"/>
                <a:gd name="connsiteX1" fmla="*/ 1126 w 8751"/>
                <a:gd name="connsiteY1" fmla="*/ 5377 h 5377"/>
                <a:gd name="connsiteX2" fmla="*/ 26 w 8751"/>
                <a:gd name="connsiteY2" fmla="*/ 4013 h 5377"/>
                <a:gd name="connsiteX3" fmla="*/ 539 w 8751"/>
                <a:gd name="connsiteY3" fmla="*/ 1364 h 5377"/>
                <a:gd name="connsiteX4" fmla="*/ 2168 w 8751"/>
                <a:gd name="connsiteY4" fmla="*/ 0 h 5377"/>
                <a:gd name="connsiteX5" fmla="*/ 7626 w 8751"/>
                <a:gd name="connsiteY5" fmla="*/ 0 h 5377"/>
                <a:gd name="connsiteX6" fmla="*/ 8726 w 8751"/>
                <a:gd name="connsiteY6" fmla="*/ 1364 h 5377"/>
                <a:gd name="connsiteX7" fmla="*/ 8213 w 8751"/>
                <a:gd name="connsiteY7" fmla="*/ 4013 h 5377"/>
                <a:gd name="connsiteX8" fmla="*/ 6584 w 8751"/>
                <a:gd name="connsiteY8" fmla="*/ 5377 h 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51" h="5377">
                  <a:moveTo>
                    <a:pt x="6584" y="5377"/>
                  </a:moveTo>
                  <a:lnTo>
                    <a:pt x="1126" y="5377"/>
                  </a:lnTo>
                  <a:cubicBezTo>
                    <a:pt x="371" y="5377"/>
                    <a:pt x="-120" y="4768"/>
                    <a:pt x="26" y="4013"/>
                  </a:cubicBezTo>
                  <a:lnTo>
                    <a:pt x="539" y="1364"/>
                  </a:lnTo>
                  <a:cubicBezTo>
                    <a:pt x="685" y="609"/>
                    <a:pt x="1417" y="0"/>
                    <a:pt x="2168" y="0"/>
                  </a:cubicBezTo>
                  <a:lnTo>
                    <a:pt x="7626" y="0"/>
                  </a:lnTo>
                  <a:cubicBezTo>
                    <a:pt x="8381" y="0"/>
                    <a:pt x="8872" y="609"/>
                    <a:pt x="8726" y="1364"/>
                  </a:cubicBezTo>
                  <a:lnTo>
                    <a:pt x="8213" y="4013"/>
                  </a:lnTo>
                  <a:cubicBezTo>
                    <a:pt x="8067" y="4768"/>
                    <a:pt x="7335" y="5377"/>
                    <a:pt x="6584" y="5377"/>
                  </a:cubicBezTo>
                  <a:close/>
                </a:path>
              </a:pathLst>
            </a:custGeom>
            <a:solidFill>
              <a:srgbClr val="7384F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1" name="Freeform: Shape 2770">
              <a:extLst>
                <a:ext uri="{FF2B5EF4-FFF2-40B4-BE49-F238E27FC236}">
                  <a16:creationId xmlns:a16="http://schemas.microsoft.com/office/drawing/2014/main" id="{239E93F0-2612-1656-5C8B-0BAC3AEA7619}"/>
                </a:ext>
              </a:extLst>
            </p:cNvPr>
            <p:cNvSpPr/>
            <p:nvPr/>
          </p:nvSpPr>
          <p:spPr>
            <a:xfrm>
              <a:off x="7581178" y="3832793"/>
              <a:ext cx="8751" cy="5377"/>
            </a:xfrm>
            <a:custGeom>
              <a:avLst/>
              <a:gdLst>
                <a:gd name="connsiteX0" fmla="*/ 6584 w 8751"/>
                <a:gd name="connsiteY0" fmla="*/ 5377 h 5377"/>
                <a:gd name="connsiteX1" fmla="*/ 1126 w 8751"/>
                <a:gd name="connsiteY1" fmla="*/ 5377 h 5377"/>
                <a:gd name="connsiteX2" fmla="*/ 26 w 8751"/>
                <a:gd name="connsiteY2" fmla="*/ 4013 h 5377"/>
                <a:gd name="connsiteX3" fmla="*/ 539 w 8751"/>
                <a:gd name="connsiteY3" fmla="*/ 1364 h 5377"/>
                <a:gd name="connsiteX4" fmla="*/ 2168 w 8751"/>
                <a:gd name="connsiteY4" fmla="*/ 0 h 5377"/>
                <a:gd name="connsiteX5" fmla="*/ 7626 w 8751"/>
                <a:gd name="connsiteY5" fmla="*/ 0 h 5377"/>
                <a:gd name="connsiteX6" fmla="*/ 8726 w 8751"/>
                <a:gd name="connsiteY6" fmla="*/ 1364 h 5377"/>
                <a:gd name="connsiteX7" fmla="*/ 8213 w 8751"/>
                <a:gd name="connsiteY7" fmla="*/ 4013 h 5377"/>
                <a:gd name="connsiteX8" fmla="*/ 6584 w 8751"/>
                <a:gd name="connsiteY8" fmla="*/ 5377 h 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51" h="5377">
                  <a:moveTo>
                    <a:pt x="6584" y="5377"/>
                  </a:moveTo>
                  <a:lnTo>
                    <a:pt x="1126" y="5377"/>
                  </a:lnTo>
                  <a:cubicBezTo>
                    <a:pt x="371" y="5377"/>
                    <a:pt x="-120" y="4768"/>
                    <a:pt x="26" y="4013"/>
                  </a:cubicBezTo>
                  <a:lnTo>
                    <a:pt x="539" y="1364"/>
                  </a:lnTo>
                  <a:cubicBezTo>
                    <a:pt x="685" y="609"/>
                    <a:pt x="1417" y="0"/>
                    <a:pt x="2168" y="0"/>
                  </a:cubicBezTo>
                  <a:lnTo>
                    <a:pt x="7626" y="0"/>
                  </a:lnTo>
                  <a:cubicBezTo>
                    <a:pt x="8381" y="0"/>
                    <a:pt x="8872" y="609"/>
                    <a:pt x="8726" y="1364"/>
                  </a:cubicBezTo>
                  <a:lnTo>
                    <a:pt x="8213" y="4013"/>
                  </a:lnTo>
                  <a:cubicBezTo>
                    <a:pt x="8067" y="4768"/>
                    <a:pt x="7335" y="5377"/>
                    <a:pt x="6584" y="5377"/>
                  </a:cubicBezTo>
                  <a:close/>
                </a:path>
              </a:pathLst>
            </a:custGeom>
            <a:solidFill>
              <a:srgbClr val="7384F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2" name="Freeform: Shape 2771">
              <a:extLst>
                <a:ext uri="{FF2B5EF4-FFF2-40B4-BE49-F238E27FC236}">
                  <a16:creationId xmlns:a16="http://schemas.microsoft.com/office/drawing/2014/main" id="{410C10D9-F33A-2959-830A-0C292FBD825F}"/>
                </a:ext>
              </a:extLst>
            </p:cNvPr>
            <p:cNvSpPr/>
            <p:nvPr/>
          </p:nvSpPr>
          <p:spPr>
            <a:xfrm>
              <a:off x="7590277" y="3840743"/>
              <a:ext cx="8751" cy="5377"/>
            </a:xfrm>
            <a:custGeom>
              <a:avLst/>
              <a:gdLst>
                <a:gd name="connsiteX0" fmla="*/ 6584 w 8751"/>
                <a:gd name="connsiteY0" fmla="*/ 5378 h 5377"/>
                <a:gd name="connsiteX1" fmla="*/ 1126 w 8751"/>
                <a:gd name="connsiteY1" fmla="*/ 5378 h 5377"/>
                <a:gd name="connsiteX2" fmla="*/ 26 w 8751"/>
                <a:gd name="connsiteY2" fmla="*/ 4013 h 5377"/>
                <a:gd name="connsiteX3" fmla="*/ 539 w 8751"/>
                <a:gd name="connsiteY3" fmla="*/ 1364 h 5377"/>
                <a:gd name="connsiteX4" fmla="*/ 2168 w 8751"/>
                <a:gd name="connsiteY4" fmla="*/ 0 h 5377"/>
                <a:gd name="connsiteX5" fmla="*/ 7626 w 8751"/>
                <a:gd name="connsiteY5" fmla="*/ 0 h 5377"/>
                <a:gd name="connsiteX6" fmla="*/ 8726 w 8751"/>
                <a:gd name="connsiteY6" fmla="*/ 1364 h 5377"/>
                <a:gd name="connsiteX7" fmla="*/ 8213 w 8751"/>
                <a:gd name="connsiteY7" fmla="*/ 4013 h 5377"/>
                <a:gd name="connsiteX8" fmla="*/ 6584 w 8751"/>
                <a:gd name="connsiteY8" fmla="*/ 5378 h 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51" h="5377">
                  <a:moveTo>
                    <a:pt x="6584" y="5378"/>
                  </a:moveTo>
                  <a:lnTo>
                    <a:pt x="1126" y="5378"/>
                  </a:lnTo>
                  <a:cubicBezTo>
                    <a:pt x="371" y="5378"/>
                    <a:pt x="-120" y="4768"/>
                    <a:pt x="26" y="4013"/>
                  </a:cubicBezTo>
                  <a:lnTo>
                    <a:pt x="539" y="1364"/>
                  </a:lnTo>
                  <a:cubicBezTo>
                    <a:pt x="685" y="609"/>
                    <a:pt x="1417" y="0"/>
                    <a:pt x="2168" y="0"/>
                  </a:cubicBezTo>
                  <a:lnTo>
                    <a:pt x="7626" y="0"/>
                  </a:lnTo>
                  <a:cubicBezTo>
                    <a:pt x="8381" y="0"/>
                    <a:pt x="8872" y="609"/>
                    <a:pt x="8726" y="1364"/>
                  </a:cubicBezTo>
                  <a:lnTo>
                    <a:pt x="8213" y="4013"/>
                  </a:lnTo>
                  <a:cubicBezTo>
                    <a:pt x="8067" y="4768"/>
                    <a:pt x="7335" y="5378"/>
                    <a:pt x="6584" y="5378"/>
                  </a:cubicBezTo>
                  <a:close/>
                </a:path>
              </a:pathLst>
            </a:custGeom>
            <a:solidFill>
              <a:srgbClr val="7384F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3" name="Freeform: Shape 2772">
              <a:extLst>
                <a:ext uri="{FF2B5EF4-FFF2-40B4-BE49-F238E27FC236}">
                  <a16:creationId xmlns:a16="http://schemas.microsoft.com/office/drawing/2014/main" id="{287531F6-512F-309F-78B9-223FD6F23125}"/>
                </a:ext>
              </a:extLst>
            </p:cNvPr>
            <p:cNvSpPr/>
            <p:nvPr/>
          </p:nvSpPr>
          <p:spPr>
            <a:xfrm>
              <a:off x="7600925" y="3840743"/>
              <a:ext cx="8751" cy="5377"/>
            </a:xfrm>
            <a:custGeom>
              <a:avLst/>
              <a:gdLst>
                <a:gd name="connsiteX0" fmla="*/ 6584 w 8751"/>
                <a:gd name="connsiteY0" fmla="*/ 5378 h 5377"/>
                <a:gd name="connsiteX1" fmla="*/ 1126 w 8751"/>
                <a:gd name="connsiteY1" fmla="*/ 5378 h 5377"/>
                <a:gd name="connsiteX2" fmla="*/ 26 w 8751"/>
                <a:gd name="connsiteY2" fmla="*/ 4013 h 5377"/>
                <a:gd name="connsiteX3" fmla="*/ 539 w 8751"/>
                <a:gd name="connsiteY3" fmla="*/ 1364 h 5377"/>
                <a:gd name="connsiteX4" fmla="*/ 2168 w 8751"/>
                <a:gd name="connsiteY4" fmla="*/ 0 h 5377"/>
                <a:gd name="connsiteX5" fmla="*/ 7626 w 8751"/>
                <a:gd name="connsiteY5" fmla="*/ 0 h 5377"/>
                <a:gd name="connsiteX6" fmla="*/ 8726 w 8751"/>
                <a:gd name="connsiteY6" fmla="*/ 1364 h 5377"/>
                <a:gd name="connsiteX7" fmla="*/ 8213 w 8751"/>
                <a:gd name="connsiteY7" fmla="*/ 4013 h 5377"/>
                <a:gd name="connsiteX8" fmla="*/ 6584 w 8751"/>
                <a:gd name="connsiteY8" fmla="*/ 5378 h 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51" h="5377">
                  <a:moveTo>
                    <a:pt x="6584" y="5378"/>
                  </a:moveTo>
                  <a:lnTo>
                    <a:pt x="1126" y="5378"/>
                  </a:lnTo>
                  <a:cubicBezTo>
                    <a:pt x="371" y="5378"/>
                    <a:pt x="-120" y="4768"/>
                    <a:pt x="26" y="4013"/>
                  </a:cubicBezTo>
                  <a:lnTo>
                    <a:pt x="539" y="1364"/>
                  </a:lnTo>
                  <a:cubicBezTo>
                    <a:pt x="685" y="609"/>
                    <a:pt x="1417" y="0"/>
                    <a:pt x="2168" y="0"/>
                  </a:cubicBezTo>
                  <a:lnTo>
                    <a:pt x="7626" y="0"/>
                  </a:lnTo>
                  <a:cubicBezTo>
                    <a:pt x="8381" y="0"/>
                    <a:pt x="8872" y="609"/>
                    <a:pt x="8726" y="1364"/>
                  </a:cubicBezTo>
                  <a:lnTo>
                    <a:pt x="8213" y="4013"/>
                  </a:lnTo>
                  <a:cubicBezTo>
                    <a:pt x="8067" y="4768"/>
                    <a:pt x="7335" y="5378"/>
                    <a:pt x="6584" y="5378"/>
                  </a:cubicBezTo>
                  <a:close/>
                </a:path>
              </a:pathLst>
            </a:custGeom>
            <a:solidFill>
              <a:srgbClr val="7384F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4" name="Freeform: Shape 2773">
              <a:extLst>
                <a:ext uri="{FF2B5EF4-FFF2-40B4-BE49-F238E27FC236}">
                  <a16:creationId xmlns:a16="http://schemas.microsoft.com/office/drawing/2014/main" id="{C89A2617-D65C-AB9C-2FF2-4EDD1DA78383}"/>
                </a:ext>
              </a:extLst>
            </p:cNvPr>
            <p:cNvSpPr/>
            <p:nvPr/>
          </p:nvSpPr>
          <p:spPr>
            <a:xfrm>
              <a:off x="7579633" y="3840743"/>
              <a:ext cx="8751" cy="5377"/>
            </a:xfrm>
            <a:custGeom>
              <a:avLst/>
              <a:gdLst>
                <a:gd name="connsiteX0" fmla="*/ 6584 w 8751"/>
                <a:gd name="connsiteY0" fmla="*/ 5378 h 5377"/>
                <a:gd name="connsiteX1" fmla="*/ 1126 w 8751"/>
                <a:gd name="connsiteY1" fmla="*/ 5378 h 5377"/>
                <a:gd name="connsiteX2" fmla="*/ 26 w 8751"/>
                <a:gd name="connsiteY2" fmla="*/ 4013 h 5377"/>
                <a:gd name="connsiteX3" fmla="*/ 539 w 8751"/>
                <a:gd name="connsiteY3" fmla="*/ 1364 h 5377"/>
                <a:gd name="connsiteX4" fmla="*/ 2168 w 8751"/>
                <a:gd name="connsiteY4" fmla="*/ 0 h 5377"/>
                <a:gd name="connsiteX5" fmla="*/ 7626 w 8751"/>
                <a:gd name="connsiteY5" fmla="*/ 0 h 5377"/>
                <a:gd name="connsiteX6" fmla="*/ 8726 w 8751"/>
                <a:gd name="connsiteY6" fmla="*/ 1364 h 5377"/>
                <a:gd name="connsiteX7" fmla="*/ 8213 w 8751"/>
                <a:gd name="connsiteY7" fmla="*/ 4013 h 5377"/>
                <a:gd name="connsiteX8" fmla="*/ 6584 w 8751"/>
                <a:gd name="connsiteY8" fmla="*/ 5378 h 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51" h="5377">
                  <a:moveTo>
                    <a:pt x="6584" y="5378"/>
                  </a:moveTo>
                  <a:lnTo>
                    <a:pt x="1126" y="5378"/>
                  </a:lnTo>
                  <a:cubicBezTo>
                    <a:pt x="371" y="5378"/>
                    <a:pt x="-120" y="4768"/>
                    <a:pt x="26" y="4013"/>
                  </a:cubicBezTo>
                  <a:lnTo>
                    <a:pt x="539" y="1364"/>
                  </a:lnTo>
                  <a:cubicBezTo>
                    <a:pt x="685" y="609"/>
                    <a:pt x="1417" y="0"/>
                    <a:pt x="2168" y="0"/>
                  </a:cubicBezTo>
                  <a:lnTo>
                    <a:pt x="7626" y="0"/>
                  </a:lnTo>
                  <a:cubicBezTo>
                    <a:pt x="8381" y="0"/>
                    <a:pt x="8872" y="609"/>
                    <a:pt x="8726" y="1364"/>
                  </a:cubicBezTo>
                  <a:lnTo>
                    <a:pt x="8213" y="4013"/>
                  </a:lnTo>
                  <a:cubicBezTo>
                    <a:pt x="8067" y="4768"/>
                    <a:pt x="7335" y="5378"/>
                    <a:pt x="6584" y="5378"/>
                  </a:cubicBezTo>
                  <a:close/>
                </a:path>
              </a:pathLst>
            </a:custGeom>
            <a:solidFill>
              <a:srgbClr val="7384F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5" name="Freeform: Shape 2774">
              <a:extLst>
                <a:ext uri="{FF2B5EF4-FFF2-40B4-BE49-F238E27FC236}">
                  <a16:creationId xmlns:a16="http://schemas.microsoft.com/office/drawing/2014/main" id="{3D613A3C-120E-E34A-71D4-B3BFE2B08C04}"/>
                </a:ext>
              </a:extLst>
            </p:cNvPr>
            <p:cNvSpPr/>
            <p:nvPr/>
          </p:nvSpPr>
          <p:spPr>
            <a:xfrm>
              <a:off x="7588733" y="3848688"/>
              <a:ext cx="8751" cy="5377"/>
            </a:xfrm>
            <a:custGeom>
              <a:avLst/>
              <a:gdLst>
                <a:gd name="connsiteX0" fmla="*/ 6584 w 8751"/>
                <a:gd name="connsiteY0" fmla="*/ 5378 h 5377"/>
                <a:gd name="connsiteX1" fmla="*/ 1126 w 8751"/>
                <a:gd name="connsiteY1" fmla="*/ 5378 h 5377"/>
                <a:gd name="connsiteX2" fmla="*/ 26 w 8751"/>
                <a:gd name="connsiteY2" fmla="*/ 4013 h 5377"/>
                <a:gd name="connsiteX3" fmla="*/ 539 w 8751"/>
                <a:gd name="connsiteY3" fmla="*/ 1364 h 5377"/>
                <a:gd name="connsiteX4" fmla="*/ 2168 w 8751"/>
                <a:gd name="connsiteY4" fmla="*/ 0 h 5377"/>
                <a:gd name="connsiteX5" fmla="*/ 7626 w 8751"/>
                <a:gd name="connsiteY5" fmla="*/ 0 h 5377"/>
                <a:gd name="connsiteX6" fmla="*/ 8726 w 8751"/>
                <a:gd name="connsiteY6" fmla="*/ 1364 h 5377"/>
                <a:gd name="connsiteX7" fmla="*/ 8213 w 8751"/>
                <a:gd name="connsiteY7" fmla="*/ 4013 h 5377"/>
                <a:gd name="connsiteX8" fmla="*/ 6584 w 8751"/>
                <a:gd name="connsiteY8" fmla="*/ 5378 h 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51" h="5377">
                  <a:moveTo>
                    <a:pt x="6584" y="5378"/>
                  </a:moveTo>
                  <a:lnTo>
                    <a:pt x="1126" y="5378"/>
                  </a:lnTo>
                  <a:cubicBezTo>
                    <a:pt x="371" y="5378"/>
                    <a:pt x="-120" y="4768"/>
                    <a:pt x="26" y="4013"/>
                  </a:cubicBezTo>
                  <a:lnTo>
                    <a:pt x="539" y="1364"/>
                  </a:lnTo>
                  <a:cubicBezTo>
                    <a:pt x="685" y="609"/>
                    <a:pt x="1417" y="0"/>
                    <a:pt x="2168" y="0"/>
                  </a:cubicBezTo>
                  <a:lnTo>
                    <a:pt x="7626" y="0"/>
                  </a:lnTo>
                  <a:cubicBezTo>
                    <a:pt x="8381" y="0"/>
                    <a:pt x="8872" y="609"/>
                    <a:pt x="8726" y="1364"/>
                  </a:cubicBezTo>
                  <a:lnTo>
                    <a:pt x="8213" y="4013"/>
                  </a:lnTo>
                  <a:cubicBezTo>
                    <a:pt x="8067" y="4768"/>
                    <a:pt x="7335" y="5378"/>
                    <a:pt x="6584" y="5378"/>
                  </a:cubicBezTo>
                  <a:close/>
                </a:path>
              </a:pathLst>
            </a:custGeom>
            <a:solidFill>
              <a:schemeClr val="accent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6" name="Freeform: Shape 2775">
              <a:extLst>
                <a:ext uri="{FF2B5EF4-FFF2-40B4-BE49-F238E27FC236}">
                  <a16:creationId xmlns:a16="http://schemas.microsoft.com/office/drawing/2014/main" id="{2D9907B2-E2EE-798D-2767-690C321579A1}"/>
                </a:ext>
              </a:extLst>
            </p:cNvPr>
            <p:cNvSpPr/>
            <p:nvPr/>
          </p:nvSpPr>
          <p:spPr>
            <a:xfrm>
              <a:off x="7599380" y="3848688"/>
              <a:ext cx="8751" cy="5377"/>
            </a:xfrm>
            <a:custGeom>
              <a:avLst/>
              <a:gdLst>
                <a:gd name="connsiteX0" fmla="*/ 6584 w 8751"/>
                <a:gd name="connsiteY0" fmla="*/ 5378 h 5377"/>
                <a:gd name="connsiteX1" fmla="*/ 1126 w 8751"/>
                <a:gd name="connsiteY1" fmla="*/ 5378 h 5377"/>
                <a:gd name="connsiteX2" fmla="*/ 26 w 8751"/>
                <a:gd name="connsiteY2" fmla="*/ 4013 h 5377"/>
                <a:gd name="connsiteX3" fmla="*/ 539 w 8751"/>
                <a:gd name="connsiteY3" fmla="*/ 1364 h 5377"/>
                <a:gd name="connsiteX4" fmla="*/ 2168 w 8751"/>
                <a:gd name="connsiteY4" fmla="*/ 0 h 5377"/>
                <a:gd name="connsiteX5" fmla="*/ 7626 w 8751"/>
                <a:gd name="connsiteY5" fmla="*/ 0 h 5377"/>
                <a:gd name="connsiteX6" fmla="*/ 8726 w 8751"/>
                <a:gd name="connsiteY6" fmla="*/ 1364 h 5377"/>
                <a:gd name="connsiteX7" fmla="*/ 8213 w 8751"/>
                <a:gd name="connsiteY7" fmla="*/ 4013 h 5377"/>
                <a:gd name="connsiteX8" fmla="*/ 6584 w 8751"/>
                <a:gd name="connsiteY8" fmla="*/ 5378 h 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51" h="5377">
                  <a:moveTo>
                    <a:pt x="6584" y="5378"/>
                  </a:moveTo>
                  <a:lnTo>
                    <a:pt x="1126" y="5378"/>
                  </a:lnTo>
                  <a:cubicBezTo>
                    <a:pt x="371" y="5378"/>
                    <a:pt x="-120" y="4768"/>
                    <a:pt x="26" y="4013"/>
                  </a:cubicBezTo>
                  <a:lnTo>
                    <a:pt x="539" y="1364"/>
                  </a:lnTo>
                  <a:cubicBezTo>
                    <a:pt x="685" y="609"/>
                    <a:pt x="1417" y="0"/>
                    <a:pt x="2168" y="0"/>
                  </a:cubicBezTo>
                  <a:lnTo>
                    <a:pt x="7626" y="0"/>
                  </a:lnTo>
                  <a:cubicBezTo>
                    <a:pt x="8381" y="0"/>
                    <a:pt x="8872" y="609"/>
                    <a:pt x="8726" y="1364"/>
                  </a:cubicBezTo>
                  <a:lnTo>
                    <a:pt x="8213" y="4013"/>
                  </a:lnTo>
                  <a:cubicBezTo>
                    <a:pt x="8067" y="4768"/>
                    <a:pt x="7335" y="5378"/>
                    <a:pt x="6584" y="5378"/>
                  </a:cubicBezTo>
                  <a:close/>
                </a:path>
              </a:pathLst>
            </a:custGeom>
            <a:solidFill>
              <a:srgbClr val="6BB42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7" name="Freeform: Shape 2776">
              <a:extLst>
                <a:ext uri="{FF2B5EF4-FFF2-40B4-BE49-F238E27FC236}">
                  <a16:creationId xmlns:a16="http://schemas.microsoft.com/office/drawing/2014/main" id="{54B1FBF4-1CBB-248F-63CF-C52558B9403E}"/>
                </a:ext>
              </a:extLst>
            </p:cNvPr>
            <p:cNvSpPr/>
            <p:nvPr/>
          </p:nvSpPr>
          <p:spPr>
            <a:xfrm>
              <a:off x="7578089" y="3848688"/>
              <a:ext cx="8751" cy="5377"/>
            </a:xfrm>
            <a:custGeom>
              <a:avLst/>
              <a:gdLst>
                <a:gd name="connsiteX0" fmla="*/ 6584 w 8751"/>
                <a:gd name="connsiteY0" fmla="*/ 5378 h 5377"/>
                <a:gd name="connsiteX1" fmla="*/ 1126 w 8751"/>
                <a:gd name="connsiteY1" fmla="*/ 5378 h 5377"/>
                <a:gd name="connsiteX2" fmla="*/ 26 w 8751"/>
                <a:gd name="connsiteY2" fmla="*/ 4013 h 5377"/>
                <a:gd name="connsiteX3" fmla="*/ 539 w 8751"/>
                <a:gd name="connsiteY3" fmla="*/ 1364 h 5377"/>
                <a:gd name="connsiteX4" fmla="*/ 2168 w 8751"/>
                <a:gd name="connsiteY4" fmla="*/ 0 h 5377"/>
                <a:gd name="connsiteX5" fmla="*/ 7626 w 8751"/>
                <a:gd name="connsiteY5" fmla="*/ 0 h 5377"/>
                <a:gd name="connsiteX6" fmla="*/ 8726 w 8751"/>
                <a:gd name="connsiteY6" fmla="*/ 1364 h 5377"/>
                <a:gd name="connsiteX7" fmla="*/ 8213 w 8751"/>
                <a:gd name="connsiteY7" fmla="*/ 4013 h 5377"/>
                <a:gd name="connsiteX8" fmla="*/ 6584 w 8751"/>
                <a:gd name="connsiteY8" fmla="*/ 5378 h 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51" h="5377">
                  <a:moveTo>
                    <a:pt x="6584" y="5378"/>
                  </a:moveTo>
                  <a:lnTo>
                    <a:pt x="1126" y="5378"/>
                  </a:lnTo>
                  <a:cubicBezTo>
                    <a:pt x="371" y="5378"/>
                    <a:pt x="-120" y="4768"/>
                    <a:pt x="26" y="4013"/>
                  </a:cubicBezTo>
                  <a:lnTo>
                    <a:pt x="539" y="1364"/>
                  </a:lnTo>
                  <a:cubicBezTo>
                    <a:pt x="685" y="609"/>
                    <a:pt x="1417" y="0"/>
                    <a:pt x="2168" y="0"/>
                  </a:cubicBezTo>
                  <a:lnTo>
                    <a:pt x="7626" y="0"/>
                  </a:lnTo>
                  <a:cubicBezTo>
                    <a:pt x="8381" y="0"/>
                    <a:pt x="8872" y="609"/>
                    <a:pt x="8726" y="1364"/>
                  </a:cubicBezTo>
                  <a:lnTo>
                    <a:pt x="8213" y="4013"/>
                  </a:lnTo>
                  <a:cubicBezTo>
                    <a:pt x="8067" y="4768"/>
                    <a:pt x="7335" y="5378"/>
                    <a:pt x="6584" y="5378"/>
                  </a:cubicBezTo>
                  <a:close/>
                </a:path>
              </a:pathLst>
            </a:custGeom>
            <a:solidFill>
              <a:srgbClr val="F8442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8" name="Freeform: Shape 2777">
              <a:extLst>
                <a:ext uri="{FF2B5EF4-FFF2-40B4-BE49-F238E27FC236}">
                  <a16:creationId xmlns:a16="http://schemas.microsoft.com/office/drawing/2014/main" id="{0D0B6A9E-20F0-32BE-E806-DB32DB21AFB4}"/>
                </a:ext>
              </a:extLst>
            </p:cNvPr>
            <p:cNvSpPr/>
            <p:nvPr/>
          </p:nvSpPr>
          <p:spPr>
            <a:xfrm>
              <a:off x="7589624" y="3791023"/>
              <a:ext cx="29594" cy="2453"/>
            </a:xfrm>
            <a:custGeom>
              <a:avLst/>
              <a:gdLst>
                <a:gd name="connsiteX0" fmla="*/ 27892 w 29594"/>
                <a:gd name="connsiteY0" fmla="*/ 0 h 2453"/>
                <a:gd name="connsiteX1" fmla="*/ 2541 w 29594"/>
                <a:gd name="connsiteY1" fmla="*/ 0 h 2453"/>
                <a:gd name="connsiteX2" fmla="*/ 77 w 29594"/>
                <a:gd name="connsiteY2" fmla="*/ 2062 h 2453"/>
                <a:gd name="connsiteX3" fmla="*/ 0 w 29594"/>
                <a:gd name="connsiteY3" fmla="*/ 2453 h 2453"/>
                <a:gd name="connsiteX4" fmla="*/ 29478 w 29594"/>
                <a:gd name="connsiteY4" fmla="*/ 2453 h 2453"/>
                <a:gd name="connsiteX5" fmla="*/ 29555 w 29594"/>
                <a:gd name="connsiteY5" fmla="*/ 2062 h 2453"/>
                <a:gd name="connsiteX6" fmla="*/ 27892 w 29594"/>
                <a:gd name="connsiteY6" fmla="*/ 0 h 2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594" h="2453">
                  <a:moveTo>
                    <a:pt x="27892" y="0"/>
                  </a:moveTo>
                  <a:lnTo>
                    <a:pt x="2541" y="0"/>
                  </a:lnTo>
                  <a:cubicBezTo>
                    <a:pt x="1403" y="0"/>
                    <a:pt x="299" y="924"/>
                    <a:pt x="77" y="2062"/>
                  </a:cubicBezTo>
                  <a:lnTo>
                    <a:pt x="0" y="2453"/>
                  </a:lnTo>
                  <a:lnTo>
                    <a:pt x="29478" y="2453"/>
                  </a:lnTo>
                  <a:lnTo>
                    <a:pt x="29555" y="2062"/>
                  </a:lnTo>
                  <a:cubicBezTo>
                    <a:pt x="29777" y="924"/>
                    <a:pt x="29034" y="0"/>
                    <a:pt x="27892" y="0"/>
                  </a:cubicBez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9" name="Freeform: Shape 2778">
              <a:extLst>
                <a:ext uri="{FF2B5EF4-FFF2-40B4-BE49-F238E27FC236}">
                  <a16:creationId xmlns:a16="http://schemas.microsoft.com/office/drawing/2014/main" id="{FA321893-4E24-02FD-A748-6595B725454B}"/>
                </a:ext>
              </a:extLst>
            </p:cNvPr>
            <p:cNvSpPr/>
            <p:nvPr/>
          </p:nvSpPr>
          <p:spPr>
            <a:xfrm>
              <a:off x="7479361" y="4021044"/>
              <a:ext cx="68684" cy="68684"/>
            </a:xfrm>
            <a:custGeom>
              <a:avLst/>
              <a:gdLst>
                <a:gd name="connsiteX0" fmla="*/ 56952 w 68684"/>
                <a:gd name="connsiteY0" fmla="*/ 0 h 68684"/>
                <a:gd name="connsiteX1" fmla="*/ 68685 w 68684"/>
                <a:gd name="connsiteY1" fmla="*/ 11732 h 68684"/>
                <a:gd name="connsiteX2" fmla="*/ 68685 w 68684"/>
                <a:gd name="connsiteY2" fmla="*/ 56952 h 68684"/>
                <a:gd name="connsiteX3" fmla="*/ 56952 w 68684"/>
                <a:gd name="connsiteY3" fmla="*/ 68685 h 68684"/>
                <a:gd name="connsiteX4" fmla="*/ 11732 w 68684"/>
                <a:gd name="connsiteY4" fmla="*/ 68685 h 68684"/>
                <a:gd name="connsiteX5" fmla="*/ 0 w 68684"/>
                <a:gd name="connsiteY5" fmla="*/ 56952 h 68684"/>
                <a:gd name="connsiteX6" fmla="*/ 0 w 68684"/>
                <a:gd name="connsiteY6" fmla="*/ 11732 h 68684"/>
                <a:gd name="connsiteX7" fmla="*/ 11732 w 68684"/>
                <a:gd name="connsiteY7" fmla="*/ 0 h 68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684" h="68684">
                  <a:moveTo>
                    <a:pt x="56952" y="0"/>
                  </a:moveTo>
                  <a:cubicBezTo>
                    <a:pt x="63432" y="0"/>
                    <a:pt x="68685" y="5253"/>
                    <a:pt x="68685" y="11732"/>
                  </a:cubicBezTo>
                  <a:lnTo>
                    <a:pt x="68685" y="56952"/>
                  </a:lnTo>
                  <a:cubicBezTo>
                    <a:pt x="68685" y="63432"/>
                    <a:pt x="63432" y="68685"/>
                    <a:pt x="56952" y="68685"/>
                  </a:cubicBezTo>
                  <a:lnTo>
                    <a:pt x="11732" y="68685"/>
                  </a:lnTo>
                  <a:cubicBezTo>
                    <a:pt x="5253" y="68685"/>
                    <a:pt x="0" y="63432"/>
                    <a:pt x="0" y="56952"/>
                  </a:cubicBezTo>
                  <a:lnTo>
                    <a:pt x="0" y="11732"/>
                  </a:lnTo>
                  <a:cubicBezTo>
                    <a:pt x="0" y="5253"/>
                    <a:pt x="5253" y="0"/>
                    <a:pt x="11732" y="0"/>
                  </a:cubicBezTo>
                  <a:close/>
                </a:path>
              </a:pathLst>
            </a:custGeom>
            <a:solidFill>
              <a:srgbClr val="1A1A1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0" name="Freeform: Shape 2779">
              <a:extLst>
                <a:ext uri="{FF2B5EF4-FFF2-40B4-BE49-F238E27FC236}">
                  <a16:creationId xmlns:a16="http://schemas.microsoft.com/office/drawing/2014/main" id="{AB47685E-9E45-FF5C-5AFB-0288D2AF56B9}"/>
                </a:ext>
              </a:extLst>
            </p:cNvPr>
            <p:cNvSpPr/>
            <p:nvPr/>
          </p:nvSpPr>
          <p:spPr>
            <a:xfrm>
              <a:off x="7396936" y="4038219"/>
              <a:ext cx="50654" cy="7727"/>
            </a:xfrm>
            <a:custGeom>
              <a:avLst/>
              <a:gdLst>
                <a:gd name="connsiteX0" fmla="*/ 0 w 50654"/>
                <a:gd name="connsiteY0" fmla="*/ 0 h 7727"/>
                <a:gd name="connsiteX1" fmla="*/ 50655 w 50654"/>
                <a:gd name="connsiteY1" fmla="*/ 0 h 7727"/>
                <a:gd name="connsiteX2" fmla="*/ 50655 w 50654"/>
                <a:gd name="connsiteY2" fmla="*/ 7727 h 7727"/>
                <a:gd name="connsiteX3" fmla="*/ 0 w 50654"/>
                <a:gd name="connsiteY3" fmla="*/ 7727 h 7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654" h="7727">
                  <a:moveTo>
                    <a:pt x="0" y="0"/>
                  </a:moveTo>
                  <a:lnTo>
                    <a:pt x="50655" y="0"/>
                  </a:lnTo>
                  <a:lnTo>
                    <a:pt x="50655" y="7727"/>
                  </a:lnTo>
                  <a:lnTo>
                    <a:pt x="0" y="7727"/>
                  </a:lnTo>
                  <a:close/>
                </a:path>
              </a:pathLst>
            </a:custGeom>
            <a:solidFill>
              <a:srgbClr val="1A1A1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1" name="Freeform: Shape 2780">
              <a:extLst>
                <a:ext uri="{FF2B5EF4-FFF2-40B4-BE49-F238E27FC236}">
                  <a16:creationId xmlns:a16="http://schemas.microsoft.com/office/drawing/2014/main" id="{7E6A2825-49F9-DF9F-F264-4BAC8597491B}"/>
                </a:ext>
              </a:extLst>
            </p:cNvPr>
            <p:cNvSpPr/>
            <p:nvPr/>
          </p:nvSpPr>
          <p:spPr>
            <a:xfrm>
              <a:off x="7472749" y="3782664"/>
              <a:ext cx="17005" cy="14304"/>
            </a:xfrm>
            <a:custGeom>
              <a:avLst/>
              <a:gdLst>
                <a:gd name="connsiteX0" fmla="*/ 12188 w 17005"/>
                <a:gd name="connsiteY0" fmla="*/ 625 h 14304"/>
                <a:gd name="connsiteX1" fmla="*/ 16999 w 17005"/>
                <a:gd name="connsiteY1" fmla="*/ 7183 h 14304"/>
                <a:gd name="connsiteX2" fmla="*/ 12583 w 17005"/>
                <a:gd name="connsiteY2" fmla="*/ 14304 h 14304"/>
                <a:gd name="connsiteX3" fmla="*/ 0 w 17005"/>
                <a:gd name="connsiteY3" fmla="*/ 8198 h 14304"/>
                <a:gd name="connsiteX4" fmla="*/ 3814 w 17005"/>
                <a:gd name="connsiteY4" fmla="*/ 0 h 14304"/>
                <a:gd name="connsiteX5" fmla="*/ 12185 w 17005"/>
                <a:gd name="connsiteY5" fmla="*/ 625 h 1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05" h="14304">
                  <a:moveTo>
                    <a:pt x="12188" y="625"/>
                  </a:moveTo>
                  <a:cubicBezTo>
                    <a:pt x="12188" y="625"/>
                    <a:pt x="16784" y="4868"/>
                    <a:pt x="16999" y="7183"/>
                  </a:cubicBezTo>
                  <a:cubicBezTo>
                    <a:pt x="17213" y="9498"/>
                    <a:pt x="12583" y="14304"/>
                    <a:pt x="12583" y="14304"/>
                  </a:cubicBezTo>
                  <a:lnTo>
                    <a:pt x="0" y="8198"/>
                  </a:lnTo>
                  <a:lnTo>
                    <a:pt x="3814" y="0"/>
                  </a:lnTo>
                  <a:lnTo>
                    <a:pt x="12185" y="625"/>
                  </a:lnTo>
                  <a:close/>
                </a:path>
              </a:pathLst>
            </a:custGeom>
            <a:solidFill>
              <a:srgbClr val="E8826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2" name="Freeform: Shape 2781">
              <a:extLst>
                <a:ext uri="{FF2B5EF4-FFF2-40B4-BE49-F238E27FC236}">
                  <a16:creationId xmlns:a16="http://schemas.microsoft.com/office/drawing/2014/main" id="{AAFE31FC-5B42-D4AC-7DD0-4BCEBAE84AA0}"/>
                </a:ext>
              </a:extLst>
            </p:cNvPr>
            <p:cNvSpPr/>
            <p:nvPr/>
          </p:nvSpPr>
          <p:spPr>
            <a:xfrm>
              <a:off x="7448837" y="3775086"/>
              <a:ext cx="52564" cy="25028"/>
            </a:xfrm>
            <a:custGeom>
              <a:avLst/>
              <a:gdLst>
                <a:gd name="connsiteX0" fmla="*/ 52459 w 52564"/>
                <a:gd name="connsiteY0" fmla="*/ 0 h 25028"/>
                <a:gd name="connsiteX1" fmla="*/ 33187 w 52564"/>
                <a:gd name="connsiteY1" fmla="*/ 9935 h 25028"/>
                <a:gd name="connsiteX2" fmla="*/ 29803 w 52564"/>
                <a:gd name="connsiteY2" fmla="*/ 11453 h 25028"/>
                <a:gd name="connsiteX3" fmla="*/ 31313 w 52564"/>
                <a:gd name="connsiteY3" fmla="*/ 17574 h 25028"/>
                <a:gd name="connsiteX4" fmla="*/ 38346 w 52564"/>
                <a:gd name="connsiteY4" fmla="*/ 18428 h 25028"/>
                <a:gd name="connsiteX5" fmla="*/ 39473 w 52564"/>
                <a:gd name="connsiteY5" fmla="*/ 24224 h 25028"/>
                <a:gd name="connsiteX6" fmla="*/ 16177 w 52564"/>
                <a:gd name="connsiteY6" fmla="*/ 24243 h 25028"/>
                <a:gd name="connsiteX7" fmla="*/ 37 w 52564"/>
                <a:gd name="connsiteY7" fmla="*/ 21169 h 25028"/>
                <a:gd name="connsiteX8" fmla="*/ 10374 w 52564"/>
                <a:gd name="connsiteY8" fmla="*/ 8290 h 25028"/>
                <a:gd name="connsiteX9" fmla="*/ 34544 w 52564"/>
                <a:gd name="connsiteY9" fmla="*/ 2472 h 25028"/>
                <a:gd name="connsiteX10" fmla="*/ 52463 w 52564"/>
                <a:gd name="connsiteY10" fmla="*/ 0 h 25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564" h="25028">
                  <a:moveTo>
                    <a:pt x="52459" y="0"/>
                  </a:moveTo>
                  <a:cubicBezTo>
                    <a:pt x="53843" y="4837"/>
                    <a:pt x="41252" y="8137"/>
                    <a:pt x="33187" y="9935"/>
                  </a:cubicBezTo>
                  <a:cubicBezTo>
                    <a:pt x="31961" y="10207"/>
                    <a:pt x="30650" y="10525"/>
                    <a:pt x="29803" y="11453"/>
                  </a:cubicBezTo>
                  <a:cubicBezTo>
                    <a:pt x="28174" y="13223"/>
                    <a:pt x="29251" y="16336"/>
                    <a:pt x="31313" y="17574"/>
                  </a:cubicBezTo>
                  <a:cubicBezTo>
                    <a:pt x="33375" y="18815"/>
                    <a:pt x="35939" y="18398"/>
                    <a:pt x="38346" y="18428"/>
                  </a:cubicBezTo>
                  <a:cubicBezTo>
                    <a:pt x="44816" y="18509"/>
                    <a:pt x="41777" y="24013"/>
                    <a:pt x="39473" y="24224"/>
                  </a:cubicBezTo>
                  <a:cubicBezTo>
                    <a:pt x="33345" y="25270"/>
                    <a:pt x="27699" y="25316"/>
                    <a:pt x="16177" y="24243"/>
                  </a:cubicBezTo>
                  <a:cubicBezTo>
                    <a:pt x="10570" y="23722"/>
                    <a:pt x="-729" y="26646"/>
                    <a:pt x="37" y="21169"/>
                  </a:cubicBezTo>
                  <a:cubicBezTo>
                    <a:pt x="470" y="18072"/>
                    <a:pt x="7806" y="10188"/>
                    <a:pt x="10374" y="8290"/>
                  </a:cubicBezTo>
                  <a:cubicBezTo>
                    <a:pt x="17423" y="3082"/>
                    <a:pt x="32045" y="-295"/>
                    <a:pt x="34544" y="2472"/>
                  </a:cubicBezTo>
                  <a:cubicBezTo>
                    <a:pt x="44088" y="1253"/>
                    <a:pt x="52463" y="0"/>
                    <a:pt x="52463" y="0"/>
                  </a:cubicBezTo>
                  <a:close/>
                </a:path>
              </a:pathLst>
            </a:custGeom>
            <a:solidFill>
              <a:srgbClr val="FF9D7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3" name="Freeform: Shape 2782">
              <a:extLst>
                <a:ext uri="{FF2B5EF4-FFF2-40B4-BE49-F238E27FC236}">
                  <a16:creationId xmlns:a16="http://schemas.microsoft.com/office/drawing/2014/main" id="{FEEFD256-9F11-C6E6-A8DE-D2351625ECDC}"/>
                </a:ext>
              </a:extLst>
            </p:cNvPr>
            <p:cNvSpPr/>
            <p:nvPr/>
          </p:nvSpPr>
          <p:spPr>
            <a:xfrm>
              <a:off x="7195378" y="3907511"/>
              <a:ext cx="109688" cy="209718"/>
            </a:xfrm>
            <a:custGeom>
              <a:avLst/>
              <a:gdLst>
                <a:gd name="connsiteX0" fmla="*/ 109688 w 109688"/>
                <a:gd name="connsiteY0" fmla="*/ 0 h 209718"/>
                <a:gd name="connsiteX1" fmla="*/ 74001 w 109688"/>
                <a:gd name="connsiteY1" fmla="*/ 117519 h 209718"/>
                <a:gd name="connsiteX2" fmla="*/ 24852 w 109688"/>
                <a:gd name="connsiteY2" fmla="*/ 209718 h 209718"/>
                <a:gd name="connsiteX3" fmla="*/ 0 w 109688"/>
                <a:gd name="connsiteY3" fmla="*/ 197902 h 209718"/>
                <a:gd name="connsiteX4" fmla="*/ 39544 w 109688"/>
                <a:gd name="connsiteY4" fmla="*/ 97055 h 209718"/>
                <a:gd name="connsiteX5" fmla="*/ 40958 w 109688"/>
                <a:gd name="connsiteY5" fmla="*/ 257 h 209718"/>
                <a:gd name="connsiteX6" fmla="*/ 109688 w 109688"/>
                <a:gd name="connsiteY6" fmla="*/ 0 h 2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688" h="209718">
                  <a:moveTo>
                    <a:pt x="109688" y="0"/>
                  </a:moveTo>
                  <a:lnTo>
                    <a:pt x="74001" y="117519"/>
                  </a:lnTo>
                  <a:lnTo>
                    <a:pt x="24852" y="209718"/>
                  </a:lnTo>
                  <a:lnTo>
                    <a:pt x="0" y="197902"/>
                  </a:lnTo>
                  <a:cubicBezTo>
                    <a:pt x="0" y="197902"/>
                    <a:pt x="18589" y="128489"/>
                    <a:pt x="39544" y="97055"/>
                  </a:cubicBezTo>
                  <a:lnTo>
                    <a:pt x="40958" y="257"/>
                  </a:lnTo>
                  <a:lnTo>
                    <a:pt x="109688" y="0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4" name="Freeform: Shape 2783">
              <a:extLst>
                <a:ext uri="{FF2B5EF4-FFF2-40B4-BE49-F238E27FC236}">
                  <a16:creationId xmlns:a16="http://schemas.microsoft.com/office/drawing/2014/main" id="{58FF2D92-8E1F-E30D-A5DD-4E316E9C0652}"/>
                </a:ext>
              </a:extLst>
            </p:cNvPr>
            <p:cNvSpPr/>
            <p:nvPr/>
          </p:nvSpPr>
          <p:spPr>
            <a:xfrm>
              <a:off x="7230372" y="3776152"/>
              <a:ext cx="97300" cy="135652"/>
            </a:xfrm>
            <a:custGeom>
              <a:avLst/>
              <a:gdLst>
                <a:gd name="connsiteX0" fmla="*/ 89003 w 97300"/>
                <a:gd name="connsiteY0" fmla="*/ 20556 h 135652"/>
                <a:gd name="connsiteX1" fmla="*/ 90149 w 97300"/>
                <a:gd name="connsiteY1" fmla="*/ 134794 h 135652"/>
                <a:gd name="connsiteX2" fmla="*/ 0 w 97300"/>
                <a:gd name="connsiteY2" fmla="*/ 135652 h 135652"/>
                <a:gd name="connsiteX3" fmla="*/ 0 w 97300"/>
                <a:gd name="connsiteY3" fmla="*/ 77270 h 135652"/>
                <a:gd name="connsiteX4" fmla="*/ 25757 w 97300"/>
                <a:gd name="connsiteY4" fmla="*/ 0 h 135652"/>
                <a:gd name="connsiteX5" fmla="*/ 97301 w 97300"/>
                <a:gd name="connsiteY5" fmla="*/ 3591 h 135652"/>
                <a:gd name="connsiteX6" fmla="*/ 89003 w 97300"/>
                <a:gd name="connsiteY6" fmla="*/ 20556 h 135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300" h="135652">
                  <a:moveTo>
                    <a:pt x="89003" y="20556"/>
                  </a:moveTo>
                  <a:lnTo>
                    <a:pt x="90149" y="134794"/>
                  </a:lnTo>
                  <a:lnTo>
                    <a:pt x="0" y="135652"/>
                  </a:lnTo>
                  <a:lnTo>
                    <a:pt x="0" y="77270"/>
                  </a:lnTo>
                  <a:lnTo>
                    <a:pt x="25757" y="0"/>
                  </a:lnTo>
                  <a:lnTo>
                    <a:pt x="97301" y="3591"/>
                  </a:lnTo>
                  <a:lnTo>
                    <a:pt x="89003" y="20556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5" name="Freeform: Shape 2784">
              <a:extLst>
                <a:ext uri="{FF2B5EF4-FFF2-40B4-BE49-F238E27FC236}">
                  <a16:creationId xmlns:a16="http://schemas.microsoft.com/office/drawing/2014/main" id="{A248DEE2-E7A5-0433-994D-7BAEA2402FDB}"/>
                </a:ext>
              </a:extLst>
            </p:cNvPr>
            <p:cNvSpPr/>
            <p:nvPr/>
          </p:nvSpPr>
          <p:spPr>
            <a:xfrm>
              <a:off x="7309405" y="3755523"/>
              <a:ext cx="151669" cy="63145"/>
            </a:xfrm>
            <a:custGeom>
              <a:avLst/>
              <a:gdLst>
                <a:gd name="connsiteX0" fmla="*/ 0 w 151669"/>
                <a:gd name="connsiteY0" fmla="*/ 0 h 63145"/>
                <a:gd name="connsiteX1" fmla="*/ 74534 w 151669"/>
                <a:gd name="connsiteY1" fmla="*/ 34668 h 63145"/>
                <a:gd name="connsiteX2" fmla="*/ 149933 w 151669"/>
                <a:gd name="connsiteY2" fmla="*/ 26198 h 63145"/>
                <a:gd name="connsiteX3" fmla="*/ 151670 w 151669"/>
                <a:gd name="connsiteY3" fmla="*/ 46803 h 63145"/>
                <a:gd name="connsiteX4" fmla="*/ 80655 w 151669"/>
                <a:gd name="connsiteY4" fmla="*/ 62176 h 63145"/>
                <a:gd name="connsiteX5" fmla="*/ 55254 w 151669"/>
                <a:gd name="connsiteY5" fmla="*/ 59900 h 63145"/>
                <a:gd name="connsiteX6" fmla="*/ 9969 w 151669"/>
                <a:gd name="connsiteY6" fmla="*/ 41184 h 63145"/>
                <a:gd name="connsiteX7" fmla="*/ 0 w 151669"/>
                <a:gd name="connsiteY7" fmla="*/ 0 h 63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669" h="63145">
                  <a:moveTo>
                    <a:pt x="0" y="0"/>
                  </a:moveTo>
                  <a:lnTo>
                    <a:pt x="74534" y="34668"/>
                  </a:lnTo>
                  <a:lnTo>
                    <a:pt x="149933" y="26198"/>
                  </a:lnTo>
                  <a:lnTo>
                    <a:pt x="151670" y="46803"/>
                  </a:lnTo>
                  <a:lnTo>
                    <a:pt x="80655" y="62176"/>
                  </a:lnTo>
                  <a:cubicBezTo>
                    <a:pt x="72153" y="64016"/>
                    <a:pt x="63292" y="63223"/>
                    <a:pt x="55254" y="59900"/>
                  </a:cubicBezTo>
                  <a:lnTo>
                    <a:pt x="9969" y="41184"/>
                  </a:lnTo>
                  <a:cubicBezTo>
                    <a:pt x="9969" y="19563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6" name="Freeform: Shape 2785">
              <a:extLst>
                <a:ext uri="{FF2B5EF4-FFF2-40B4-BE49-F238E27FC236}">
                  <a16:creationId xmlns:a16="http://schemas.microsoft.com/office/drawing/2014/main" id="{5A055FA4-7BB9-B201-4105-05E83AE9FE93}"/>
                </a:ext>
              </a:extLst>
            </p:cNvPr>
            <p:cNvSpPr/>
            <p:nvPr/>
          </p:nvSpPr>
          <p:spPr>
            <a:xfrm>
              <a:off x="7244274" y="3895683"/>
              <a:ext cx="38309" cy="32411"/>
            </a:xfrm>
            <a:custGeom>
              <a:avLst/>
              <a:gdLst>
                <a:gd name="connsiteX0" fmla="*/ 22 w 38309"/>
                <a:gd name="connsiteY0" fmla="*/ 8398 h 32411"/>
                <a:gd name="connsiteX1" fmla="*/ 4196 w 38309"/>
                <a:gd name="connsiteY1" fmla="*/ 26535 h 32411"/>
                <a:gd name="connsiteX2" fmla="*/ 10164 w 38309"/>
                <a:gd name="connsiteY2" fmla="*/ 28754 h 32411"/>
                <a:gd name="connsiteX3" fmla="*/ 18956 w 38309"/>
                <a:gd name="connsiteY3" fmla="*/ 29831 h 32411"/>
                <a:gd name="connsiteX4" fmla="*/ 25886 w 38309"/>
                <a:gd name="connsiteY4" fmla="*/ 31184 h 32411"/>
                <a:gd name="connsiteX5" fmla="*/ 25215 w 38309"/>
                <a:gd name="connsiteY5" fmla="*/ 17758 h 32411"/>
                <a:gd name="connsiteX6" fmla="*/ 35966 w 38309"/>
                <a:gd name="connsiteY6" fmla="*/ 30337 h 32411"/>
                <a:gd name="connsiteX7" fmla="*/ 35725 w 38309"/>
                <a:gd name="connsiteY7" fmla="*/ 24078 h 32411"/>
                <a:gd name="connsiteX8" fmla="*/ 17990 w 38309"/>
                <a:gd name="connsiteY8" fmla="*/ 0 h 32411"/>
                <a:gd name="connsiteX9" fmla="*/ 26 w 38309"/>
                <a:gd name="connsiteY9" fmla="*/ 8402 h 32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309" h="32411">
                  <a:moveTo>
                    <a:pt x="22" y="8398"/>
                  </a:moveTo>
                  <a:cubicBezTo>
                    <a:pt x="22" y="8398"/>
                    <a:pt x="-553" y="25385"/>
                    <a:pt x="4196" y="26535"/>
                  </a:cubicBezTo>
                  <a:cubicBezTo>
                    <a:pt x="4196" y="26535"/>
                    <a:pt x="7013" y="30958"/>
                    <a:pt x="10164" y="28754"/>
                  </a:cubicBezTo>
                  <a:cubicBezTo>
                    <a:pt x="10164" y="28754"/>
                    <a:pt x="14384" y="33143"/>
                    <a:pt x="18956" y="29831"/>
                  </a:cubicBezTo>
                  <a:cubicBezTo>
                    <a:pt x="18956" y="29831"/>
                    <a:pt x="23372" y="34588"/>
                    <a:pt x="25886" y="31184"/>
                  </a:cubicBezTo>
                  <a:cubicBezTo>
                    <a:pt x="28400" y="27780"/>
                    <a:pt x="24353" y="22828"/>
                    <a:pt x="25215" y="17758"/>
                  </a:cubicBezTo>
                  <a:cubicBezTo>
                    <a:pt x="25215" y="17758"/>
                    <a:pt x="31252" y="31594"/>
                    <a:pt x="35966" y="30337"/>
                  </a:cubicBezTo>
                  <a:cubicBezTo>
                    <a:pt x="40681" y="29080"/>
                    <a:pt x="37043" y="26569"/>
                    <a:pt x="35725" y="24078"/>
                  </a:cubicBezTo>
                  <a:cubicBezTo>
                    <a:pt x="34402" y="21583"/>
                    <a:pt x="29148" y="5205"/>
                    <a:pt x="17990" y="0"/>
                  </a:cubicBezTo>
                  <a:lnTo>
                    <a:pt x="26" y="8402"/>
                  </a:lnTo>
                  <a:close/>
                </a:path>
              </a:pathLst>
            </a:custGeom>
            <a:solidFill>
              <a:srgbClr val="FF9B8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7" name="Freeform: Shape 2786">
              <a:extLst>
                <a:ext uri="{FF2B5EF4-FFF2-40B4-BE49-F238E27FC236}">
                  <a16:creationId xmlns:a16="http://schemas.microsoft.com/office/drawing/2014/main" id="{842AC359-3D7B-00CA-B057-20718983B251}"/>
                </a:ext>
              </a:extLst>
            </p:cNvPr>
            <p:cNvSpPr/>
            <p:nvPr/>
          </p:nvSpPr>
          <p:spPr>
            <a:xfrm>
              <a:off x="7214783" y="3752058"/>
              <a:ext cx="115545" cy="153788"/>
            </a:xfrm>
            <a:custGeom>
              <a:avLst/>
              <a:gdLst>
                <a:gd name="connsiteX0" fmla="*/ 29494 w 115545"/>
                <a:gd name="connsiteY0" fmla="*/ 86113 h 153788"/>
                <a:gd name="connsiteX1" fmla="*/ 49693 w 115545"/>
                <a:gd name="connsiteY1" fmla="*/ 144843 h 153788"/>
                <a:gd name="connsiteX2" fmla="*/ 29494 w 115545"/>
                <a:gd name="connsiteY2" fmla="*/ 153782 h 153788"/>
                <a:gd name="connsiteX3" fmla="*/ 5761 w 115545"/>
                <a:gd name="connsiteY3" fmla="*/ 107350 h 153788"/>
                <a:gd name="connsiteX4" fmla="*/ 660 w 115545"/>
                <a:gd name="connsiteY4" fmla="*/ 70812 h 153788"/>
                <a:gd name="connsiteX5" fmla="*/ 9690 w 115545"/>
                <a:gd name="connsiteY5" fmla="*/ 29467 h 153788"/>
                <a:gd name="connsiteX6" fmla="*/ 51292 w 115545"/>
                <a:gd name="connsiteY6" fmla="*/ 0 h 153788"/>
                <a:gd name="connsiteX7" fmla="*/ 83614 w 115545"/>
                <a:gd name="connsiteY7" fmla="*/ 966 h 153788"/>
                <a:gd name="connsiteX8" fmla="*/ 108493 w 115545"/>
                <a:gd name="connsiteY8" fmla="*/ 19068 h 153788"/>
                <a:gd name="connsiteX9" fmla="*/ 115545 w 115545"/>
                <a:gd name="connsiteY9" fmla="*/ 33342 h 153788"/>
                <a:gd name="connsiteX10" fmla="*/ 41230 w 115545"/>
                <a:gd name="connsiteY10" fmla="*/ 38463 h 153788"/>
                <a:gd name="connsiteX11" fmla="*/ 29498 w 115545"/>
                <a:gd name="connsiteY11" fmla="*/ 86116 h 153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5545" h="153788">
                  <a:moveTo>
                    <a:pt x="29494" y="86113"/>
                  </a:moveTo>
                  <a:lnTo>
                    <a:pt x="49693" y="144843"/>
                  </a:lnTo>
                  <a:lnTo>
                    <a:pt x="29494" y="153782"/>
                  </a:lnTo>
                  <a:cubicBezTo>
                    <a:pt x="29935" y="154322"/>
                    <a:pt x="12587" y="124361"/>
                    <a:pt x="5761" y="107350"/>
                  </a:cubicBezTo>
                  <a:cubicBezTo>
                    <a:pt x="1146" y="95852"/>
                    <a:pt x="-1249" y="83054"/>
                    <a:pt x="660" y="70812"/>
                  </a:cubicBezTo>
                  <a:cubicBezTo>
                    <a:pt x="3557" y="52223"/>
                    <a:pt x="9690" y="29467"/>
                    <a:pt x="9690" y="29467"/>
                  </a:cubicBezTo>
                  <a:cubicBezTo>
                    <a:pt x="18356" y="5201"/>
                    <a:pt x="34059" y="3365"/>
                    <a:pt x="51292" y="0"/>
                  </a:cubicBezTo>
                  <a:lnTo>
                    <a:pt x="83614" y="966"/>
                  </a:lnTo>
                  <a:cubicBezTo>
                    <a:pt x="98961" y="966"/>
                    <a:pt x="104304" y="11663"/>
                    <a:pt x="108493" y="19068"/>
                  </a:cubicBezTo>
                  <a:cubicBezTo>
                    <a:pt x="111371" y="24155"/>
                    <a:pt x="115545" y="33342"/>
                    <a:pt x="115545" y="33342"/>
                  </a:cubicBezTo>
                  <a:lnTo>
                    <a:pt x="41230" y="38463"/>
                  </a:lnTo>
                  <a:lnTo>
                    <a:pt x="29498" y="86116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8" name="Freeform: Shape 2787">
              <a:extLst>
                <a:ext uri="{FF2B5EF4-FFF2-40B4-BE49-F238E27FC236}">
                  <a16:creationId xmlns:a16="http://schemas.microsoft.com/office/drawing/2014/main" id="{2FB04C07-D14D-3B23-8874-7F0681BD14E5}"/>
                </a:ext>
              </a:extLst>
            </p:cNvPr>
            <p:cNvSpPr/>
            <p:nvPr/>
          </p:nvSpPr>
          <p:spPr>
            <a:xfrm>
              <a:off x="7265557" y="3751878"/>
              <a:ext cx="32280" cy="14811"/>
            </a:xfrm>
            <a:custGeom>
              <a:avLst/>
              <a:gdLst>
                <a:gd name="connsiteX0" fmla="*/ 21196 w 32280"/>
                <a:gd name="connsiteY0" fmla="*/ 14596 h 14811"/>
                <a:gd name="connsiteX1" fmla="*/ 0 w 32280"/>
                <a:gd name="connsiteY1" fmla="*/ 0 h 14811"/>
                <a:gd name="connsiteX2" fmla="*/ 29954 w 32280"/>
                <a:gd name="connsiteY2" fmla="*/ 885 h 14811"/>
                <a:gd name="connsiteX3" fmla="*/ 32123 w 32280"/>
                <a:gd name="connsiteY3" fmla="*/ 1181 h 14811"/>
                <a:gd name="connsiteX4" fmla="*/ 21192 w 32280"/>
                <a:gd name="connsiteY4" fmla="*/ 14596 h 14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280" h="14811">
                  <a:moveTo>
                    <a:pt x="21196" y="14596"/>
                  </a:moveTo>
                  <a:cubicBezTo>
                    <a:pt x="10755" y="12871"/>
                    <a:pt x="2721" y="4274"/>
                    <a:pt x="0" y="0"/>
                  </a:cubicBezTo>
                  <a:lnTo>
                    <a:pt x="29954" y="885"/>
                  </a:lnTo>
                  <a:cubicBezTo>
                    <a:pt x="30682" y="977"/>
                    <a:pt x="31406" y="1081"/>
                    <a:pt x="32123" y="1181"/>
                  </a:cubicBezTo>
                  <a:cubicBezTo>
                    <a:pt x="32552" y="4990"/>
                    <a:pt x="32936" y="16527"/>
                    <a:pt x="21192" y="14596"/>
                  </a:cubicBezTo>
                  <a:close/>
                </a:path>
              </a:pathLst>
            </a:custGeom>
            <a:solidFill>
              <a:srgbClr val="FF9B8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9" name="Freeform: Shape 2788">
              <a:extLst>
                <a:ext uri="{FF2B5EF4-FFF2-40B4-BE49-F238E27FC236}">
                  <a16:creationId xmlns:a16="http://schemas.microsoft.com/office/drawing/2014/main" id="{8BEEE5AA-58B6-0BB3-AF0D-BBEF69A1AD62}"/>
                </a:ext>
              </a:extLst>
            </p:cNvPr>
            <p:cNvSpPr/>
            <p:nvPr/>
          </p:nvSpPr>
          <p:spPr>
            <a:xfrm>
              <a:off x="7261720" y="3715646"/>
              <a:ext cx="33514" cy="47615"/>
            </a:xfrm>
            <a:custGeom>
              <a:avLst/>
              <a:gdLst>
                <a:gd name="connsiteX0" fmla="*/ 32572 w 33514"/>
                <a:gd name="connsiteY0" fmla="*/ 22388 h 47615"/>
                <a:gd name="connsiteX1" fmla="*/ 33514 w 33514"/>
                <a:gd name="connsiteY1" fmla="*/ 47616 h 47615"/>
                <a:gd name="connsiteX2" fmla="*/ 4523 w 33514"/>
                <a:gd name="connsiteY2" fmla="*/ 36255 h 47615"/>
                <a:gd name="connsiteX3" fmla="*/ 119 w 33514"/>
                <a:gd name="connsiteY3" fmla="*/ 322 h 47615"/>
                <a:gd name="connsiteX4" fmla="*/ 0 w 33514"/>
                <a:gd name="connsiteY4" fmla="*/ 0 h 47615"/>
                <a:gd name="connsiteX5" fmla="*/ 32572 w 33514"/>
                <a:gd name="connsiteY5" fmla="*/ 22388 h 47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514" h="47615">
                  <a:moveTo>
                    <a:pt x="32572" y="22388"/>
                  </a:moveTo>
                  <a:cubicBezTo>
                    <a:pt x="32572" y="22388"/>
                    <a:pt x="30920" y="35055"/>
                    <a:pt x="33514" y="47616"/>
                  </a:cubicBezTo>
                  <a:cubicBezTo>
                    <a:pt x="33514" y="47616"/>
                    <a:pt x="20456" y="40981"/>
                    <a:pt x="4523" y="36255"/>
                  </a:cubicBezTo>
                  <a:cubicBezTo>
                    <a:pt x="6922" y="20628"/>
                    <a:pt x="1058" y="2875"/>
                    <a:pt x="119" y="322"/>
                  </a:cubicBezTo>
                  <a:cubicBezTo>
                    <a:pt x="38" y="115"/>
                    <a:pt x="0" y="0"/>
                    <a:pt x="0" y="0"/>
                  </a:cubicBezTo>
                  <a:lnTo>
                    <a:pt x="32572" y="22388"/>
                  </a:lnTo>
                  <a:close/>
                </a:path>
              </a:pathLst>
            </a:custGeom>
            <a:solidFill>
              <a:srgbClr val="FF9B8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0" name="Freeform: Shape 2789">
              <a:extLst>
                <a:ext uri="{FF2B5EF4-FFF2-40B4-BE49-F238E27FC236}">
                  <a16:creationId xmlns:a16="http://schemas.microsoft.com/office/drawing/2014/main" id="{E500349D-0F60-66ED-A770-8AD94F3A2600}"/>
                </a:ext>
              </a:extLst>
            </p:cNvPr>
            <p:cNvSpPr/>
            <p:nvPr/>
          </p:nvSpPr>
          <p:spPr>
            <a:xfrm>
              <a:off x="7260988" y="3684306"/>
              <a:ext cx="52603" cy="62488"/>
            </a:xfrm>
            <a:custGeom>
              <a:avLst/>
              <a:gdLst>
                <a:gd name="connsiteX0" fmla="*/ 47393 w 52603"/>
                <a:gd name="connsiteY0" fmla="*/ 53506 h 62488"/>
                <a:gd name="connsiteX1" fmla="*/ 43994 w 52603"/>
                <a:gd name="connsiteY1" fmla="*/ 61382 h 62488"/>
                <a:gd name="connsiteX2" fmla="*/ 11134 w 52603"/>
                <a:gd name="connsiteY2" fmla="*/ 43900 h 62488"/>
                <a:gd name="connsiteX3" fmla="*/ 552 w 52603"/>
                <a:gd name="connsiteY3" fmla="*/ 28883 h 62488"/>
                <a:gd name="connsiteX4" fmla="*/ 18624 w 52603"/>
                <a:gd name="connsiteY4" fmla="*/ 704 h 62488"/>
                <a:gd name="connsiteX5" fmla="*/ 46477 w 52603"/>
                <a:gd name="connsiteY5" fmla="*/ 16266 h 62488"/>
                <a:gd name="connsiteX6" fmla="*/ 47830 w 52603"/>
                <a:gd name="connsiteY6" fmla="*/ 26020 h 62488"/>
                <a:gd name="connsiteX7" fmla="*/ 48374 w 52603"/>
                <a:gd name="connsiteY7" fmla="*/ 32482 h 62488"/>
                <a:gd name="connsiteX8" fmla="*/ 52449 w 52603"/>
                <a:gd name="connsiteY8" fmla="*/ 42352 h 62488"/>
                <a:gd name="connsiteX9" fmla="*/ 51272 w 52603"/>
                <a:gd name="connsiteY9" fmla="*/ 44353 h 62488"/>
                <a:gd name="connsiteX10" fmla="*/ 48409 w 52603"/>
                <a:gd name="connsiteY10" fmla="*/ 44449 h 62488"/>
                <a:gd name="connsiteX11" fmla="*/ 48137 w 52603"/>
                <a:gd name="connsiteY11" fmla="*/ 47768 h 62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603" h="62488">
                  <a:moveTo>
                    <a:pt x="47393" y="53506"/>
                  </a:moveTo>
                  <a:cubicBezTo>
                    <a:pt x="46673" y="57580"/>
                    <a:pt x="45603" y="60891"/>
                    <a:pt x="43994" y="61382"/>
                  </a:cubicBezTo>
                  <a:cubicBezTo>
                    <a:pt x="32920" y="64743"/>
                    <a:pt x="15998" y="60872"/>
                    <a:pt x="11134" y="43900"/>
                  </a:cubicBezTo>
                  <a:cubicBezTo>
                    <a:pt x="5918" y="40635"/>
                    <a:pt x="1966" y="35365"/>
                    <a:pt x="552" y="28883"/>
                  </a:cubicBezTo>
                  <a:cubicBezTo>
                    <a:pt x="-2242" y="16108"/>
                    <a:pt x="5845" y="3498"/>
                    <a:pt x="18624" y="704"/>
                  </a:cubicBezTo>
                  <a:cubicBezTo>
                    <a:pt x="31391" y="-2090"/>
                    <a:pt x="43695" y="3498"/>
                    <a:pt x="46477" y="16266"/>
                  </a:cubicBezTo>
                  <a:cubicBezTo>
                    <a:pt x="46995" y="18638"/>
                    <a:pt x="47566" y="23617"/>
                    <a:pt x="47830" y="26020"/>
                  </a:cubicBezTo>
                  <a:cubicBezTo>
                    <a:pt x="47972" y="27266"/>
                    <a:pt x="48068" y="31754"/>
                    <a:pt x="48374" y="32482"/>
                  </a:cubicBezTo>
                  <a:cubicBezTo>
                    <a:pt x="48394" y="32544"/>
                    <a:pt x="52449" y="42352"/>
                    <a:pt x="52449" y="42352"/>
                  </a:cubicBezTo>
                  <a:cubicBezTo>
                    <a:pt x="52913" y="43249"/>
                    <a:pt x="52280" y="44318"/>
                    <a:pt x="51272" y="44353"/>
                  </a:cubicBezTo>
                  <a:lnTo>
                    <a:pt x="48409" y="44449"/>
                  </a:lnTo>
                  <a:cubicBezTo>
                    <a:pt x="48340" y="45522"/>
                    <a:pt x="48252" y="46633"/>
                    <a:pt x="48137" y="47768"/>
                  </a:cubicBezTo>
                </a:path>
              </a:pathLst>
            </a:custGeom>
            <a:solidFill>
              <a:srgbClr val="FF9B8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1" name="Freeform: Shape 2790">
              <a:extLst>
                <a:ext uri="{FF2B5EF4-FFF2-40B4-BE49-F238E27FC236}">
                  <a16:creationId xmlns:a16="http://schemas.microsoft.com/office/drawing/2014/main" id="{3E3DCC70-3F8F-9349-C66F-F951404736B7}"/>
                </a:ext>
              </a:extLst>
            </p:cNvPr>
            <p:cNvSpPr/>
            <p:nvPr/>
          </p:nvSpPr>
          <p:spPr>
            <a:xfrm>
              <a:off x="7256010" y="3679991"/>
              <a:ext cx="55428" cy="55111"/>
            </a:xfrm>
            <a:custGeom>
              <a:avLst/>
              <a:gdLst>
                <a:gd name="connsiteX0" fmla="*/ 49776 w 55428"/>
                <a:gd name="connsiteY0" fmla="*/ 15633 h 55111"/>
                <a:gd name="connsiteX1" fmla="*/ 55200 w 55428"/>
                <a:gd name="connsiteY1" fmla="*/ 5399 h 55111"/>
                <a:gd name="connsiteX2" fmla="*/ 45349 w 55428"/>
                <a:gd name="connsiteY2" fmla="*/ 643 h 55111"/>
                <a:gd name="connsiteX3" fmla="*/ 21118 w 55428"/>
                <a:gd name="connsiteY3" fmla="*/ 213 h 55111"/>
                <a:gd name="connsiteX4" fmla="*/ 172 w 55428"/>
                <a:gd name="connsiteY4" fmla="*/ 10282 h 55111"/>
                <a:gd name="connsiteX5" fmla="*/ 2222 w 55428"/>
                <a:gd name="connsiteY5" fmla="*/ 20512 h 55111"/>
                <a:gd name="connsiteX6" fmla="*/ 2425 w 55428"/>
                <a:gd name="connsiteY6" fmla="*/ 30140 h 55111"/>
                <a:gd name="connsiteX7" fmla="*/ 6400 w 55428"/>
                <a:gd name="connsiteY7" fmla="*/ 45127 h 55111"/>
                <a:gd name="connsiteX8" fmla="*/ 11398 w 55428"/>
                <a:gd name="connsiteY8" fmla="*/ 55111 h 55111"/>
                <a:gd name="connsiteX9" fmla="*/ 15813 w 55428"/>
                <a:gd name="connsiteY9" fmla="*/ 44747 h 55111"/>
                <a:gd name="connsiteX10" fmla="*/ 19938 w 55428"/>
                <a:gd name="connsiteY10" fmla="*/ 30761 h 55111"/>
                <a:gd name="connsiteX11" fmla="*/ 25396 w 55428"/>
                <a:gd name="connsiteY11" fmla="*/ 35682 h 55111"/>
                <a:gd name="connsiteX12" fmla="*/ 29830 w 55428"/>
                <a:gd name="connsiteY12" fmla="*/ 29312 h 55111"/>
                <a:gd name="connsiteX13" fmla="*/ 36994 w 55428"/>
                <a:gd name="connsiteY13" fmla="*/ 18783 h 55111"/>
                <a:gd name="connsiteX14" fmla="*/ 49780 w 55428"/>
                <a:gd name="connsiteY14" fmla="*/ 15637 h 5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5428" h="55111">
                  <a:moveTo>
                    <a:pt x="49776" y="15633"/>
                  </a:moveTo>
                  <a:cubicBezTo>
                    <a:pt x="54180" y="14740"/>
                    <a:pt x="56135" y="9416"/>
                    <a:pt x="55200" y="5399"/>
                  </a:cubicBezTo>
                  <a:cubicBezTo>
                    <a:pt x="54334" y="1697"/>
                    <a:pt x="48994" y="727"/>
                    <a:pt x="45349" y="643"/>
                  </a:cubicBezTo>
                  <a:cubicBezTo>
                    <a:pt x="37335" y="455"/>
                    <a:pt x="29102" y="-388"/>
                    <a:pt x="21118" y="213"/>
                  </a:cubicBezTo>
                  <a:cubicBezTo>
                    <a:pt x="15300" y="654"/>
                    <a:pt x="2272" y="3973"/>
                    <a:pt x="172" y="10282"/>
                  </a:cubicBezTo>
                  <a:cubicBezTo>
                    <a:pt x="-787" y="13164"/>
                    <a:pt x="2598" y="17446"/>
                    <a:pt x="2222" y="20512"/>
                  </a:cubicBezTo>
                  <a:cubicBezTo>
                    <a:pt x="1839" y="23636"/>
                    <a:pt x="2034" y="27128"/>
                    <a:pt x="2425" y="30140"/>
                  </a:cubicBezTo>
                  <a:cubicBezTo>
                    <a:pt x="3046" y="34927"/>
                    <a:pt x="4905" y="41064"/>
                    <a:pt x="6400" y="45127"/>
                  </a:cubicBezTo>
                  <a:cubicBezTo>
                    <a:pt x="7941" y="49304"/>
                    <a:pt x="8370" y="51581"/>
                    <a:pt x="11398" y="55111"/>
                  </a:cubicBezTo>
                  <a:cubicBezTo>
                    <a:pt x="14062" y="53260"/>
                    <a:pt x="14066" y="47461"/>
                    <a:pt x="15813" y="44747"/>
                  </a:cubicBezTo>
                  <a:cubicBezTo>
                    <a:pt x="18186" y="41071"/>
                    <a:pt x="15879" y="29381"/>
                    <a:pt x="19938" y="30761"/>
                  </a:cubicBezTo>
                  <a:cubicBezTo>
                    <a:pt x="21015" y="31129"/>
                    <a:pt x="23970" y="36073"/>
                    <a:pt x="25396" y="35682"/>
                  </a:cubicBezTo>
                  <a:cubicBezTo>
                    <a:pt x="27538" y="35096"/>
                    <a:pt x="27389" y="30454"/>
                    <a:pt x="29830" y="29312"/>
                  </a:cubicBezTo>
                  <a:cubicBezTo>
                    <a:pt x="35775" y="26526"/>
                    <a:pt x="30735" y="21355"/>
                    <a:pt x="36994" y="18783"/>
                  </a:cubicBezTo>
                  <a:cubicBezTo>
                    <a:pt x="40547" y="17323"/>
                    <a:pt x="46737" y="17787"/>
                    <a:pt x="49780" y="15637"/>
                  </a:cubicBezTo>
                  <a:close/>
                </a:path>
              </a:pathLst>
            </a:custGeom>
            <a:solidFill>
              <a:srgbClr val="1A1A1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2" name="Freeform: Shape 2791">
              <a:extLst>
                <a:ext uri="{FF2B5EF4-FFF2-40B4-BE49-F238E27FC236}">
                  <a16:creationId xmlns:a16="http://schemas.microsoft.com/office/drawing/2014/main" id="{95E2BC27-A687-F7D3-840B-6D7826E1B2E4}"/>
                </a:ext>
              </a:extLst>
            </p:cNvPr>
            <p:cNvSpPr/>
            <p:nvPr/>
          </p:nvSpPr>
          <p:spPr>
            <a:xfrm>
              <a:off x="7269372" y="3709832"/>
              <a:ext cx="10870" cy="15581"/>
            </a:xfrm>
            <a:custGeom>
              <a:avLst/>
              <a:gdLst>
                <a:gd name="connsiteX0" fmla="*/ 10624 w 10870"/>
                <a:gd name="connsiteY0" fmla="*/ 5680 h 15581"/>
                <a:gd name="connsiteX1" fmla="*/ 6741 w 10870"/>
                <a:gd name="connsiteY1" fmla="*/ 15442 h 15581"/>
                <a:gd name="connsiteX2" fmla="*/ 444 w 10870"/>
                <a:gd name="connsiteY2" fmla="*/ 9218 h 15581"/>
                <a:gd name="connsiteX3" fmla="*/ 2847 w 10870"/>
                <a:gd name="connsiteY3" fmla="*/ 161 h 15581"/>
                <a:gd name="connsiteX4" fmla="*/ 10624 w 10870"/>
                <a:gd name="connsiteY4" fmla="*/ 5676 h 15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70" h="15581">
                  <a:moveTo>
                    <a:pt x="10624" y="5680"/>
                  </a:moveTo>
                  <a:cubicBezTo>
                    <a:pt x="11601" y="8493"/>
                    <a:pt x="9551" y="14465"/>
                    <a:pt x="6741" y="15442"/>
                  </a:cubicBezTo>
                  <a:cubicBezTo>
                    <a:pt x="3932" y="16420"/>
                    <a:pt x="1421" y="12031"/>
                    <a:pt x="444" y="9218"/>
                  </a:cubicBezTo>
                  <a:cubicBezTo>
                    <a:pt x="-534" y="6404"/>
                    <a:pt x="34" y="1138"/>
                    <a:pt x="2847" y="161"/>
                  </a:cubicBezTo>
                  <a:cubicBezTo>
                    <a:pt x="5660" y="-817"/>
                    <a:pt x="9646" y="2867"/>
                    <a:pt x="10624" y="5676"/>
                  </a:cubicBezTo>
                  <a:close/>
                </a:path>
              </a:pathLst>
            </a:custGeom>
            <a:solidFill>
              <a:srgbClr val="FF9B8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3" name="Freeform: Shape 2792">
              <a:extLst>
                <a:ext uri="{FF2B5EF4-FFF2-40B4-BE49-F238E27FC236}">
                  <a16:creationId xmlns:a16="http://schemas.microsoft.com/office/drawing/2014/main" id="{5E3344B0-CDA8-F12E-D928-9BFC457DA0DB}"/>
                </a:ext>
              </a:extLst>
            </p:cNvPr>
            <p:cNvSpPr/>
            <p:nvPr/>
          </p:nvSpPr>
          <p:spPr>
            <a:xfrm>
              <a:off x="7376334" y="4134209"/>
              <a:ext cx="192803" cy="11326"/>
            </a:xfrm>
            <a:custGeom>
              <a:avLst/>
              <a:gdLst>
                <a:gd name="connsiteX0" fmla="*/ 0 w 192803"/>
                <a:gd name="connsiteY0" fmla="*/ 0 h 11326"/>
                <a:gd name="connsiteX1" fmla="*/ 192804 w 192803"/>
                <a:gd name="connsiteY1" fmla="*/ 0 h 11326"/>
                <a:gd name="connsiteX2" fmla="*/ 192804 w 192803"/>
                <a:gd name="connsiteY2" fmla="*/ 11326 h 11326"/>
                <a:gd name="connsiteX3" fmla="*/ 0 w 192803"/>
                <a:gd name="connsiteY3" fmla="*/ 11326 h 11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803" h="11326">
                  <a:moveTo>
                    <a:pt x="0" y="0"/>
                  </a:moveTo>
                  <a:lnTo>
                    <a:pt x="192804" y="0"/>
                  </a:lnTo>
                  <a:lnTo>
                    <a:pt x="192804" y="11326"/>
                  </a:lnTo>
                  <a:lnTo>
                    <a:pt x="0" y="11326"/>
                  </a:lnTo>
                  <a:close/>
                </a:path>
              </a:pathLst>
            </a:custGeom>
            <a:solidFill>
              <a:srgbClr val="8ACD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4" name="Freeform: Shape 2793">
              <a:extLst>
                <a:ext uri="{FF2B5EF4-FFF2-40B4-BE49-F238E27FC236}">
                  <a16:creationId xmlns:a16="http://schemas.microsoft.com/office/drawing/2014/main" id="{2633B016-614C-55EA-BC00-6ECD237B65C0}"/>
                </a:ext>
              </a:extLst>
            </p:cNvPr>
            <p:cNvSpPr/>
            <p:nvPr/>
          </p:nvSpPr>
          <p:spPr>
            <a:xfrm>
              <a:off x="7577628" y="4134209"/>
              <a:ext cx="46829" cy="11326"/>
            </a:xfrm>
            <a:custGeom>
              <a:avLst/>
              <a:gdLst>
                <a:gd name="connsiteX0" fmla="*/ 0 w 46829"/>
                <a:gd name="connsiteY0" fmla="*/ 0 h 11326"/>
                <a:gd name="connsiteX1" fmla="*/ 46830 w 46829"/>
                <a:gd name="connsiteY1" fmla="*/ 0 h 11326"/>
                <a:gd name="connsiteX2" fmla="*/ 46830 w 46829"/>
                <a:gd name="connsiteY2" fmla="*/ 11326 h 11326"/>
                <a:gd name="connsiteX3" fmla="*/ 0 w 46829"/>
                <a:gd name="connsiteY3" fmla="*/ 11326 h 11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29" h="11326">
                  <a:moveTo>
                    <a:pt x="0" y="0"/>
                  </a:moveTo>
                  <a:lnTo>
                    <a:pt x="46830" y="0"/>
                  </a:lnTo>
                  <a:lnTo>
                    <a:pt x="46830" y="11326"/>
                  </a:lnTo>
                  <a:lnTo>
                    <a:pt x="0" y="11326"/>
                  </a:lnTo>
                  <a:close/>
                </a:path>
              </a:pathLst>
            </a:custGeom>
            <a:solidFill>
              <a:srgbClr val="71C2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850" name="Group 2849">
            <a:extLst>
              <a:ext uri="{FF2B5EF4-FFF2-40B4-BE49-F238E27FC236}">
                <a16:creationId xmlns:a16="http://schemas.microsoft.com/office/drawing/2014/main" id="{14613334-2DDD-C511-5018-0924FDDBCF38}"/>
              </a:ext>
            </a:extLst>
          </p:cNvPr>
          <p:cNvGrpSpPr/>
          <p:nvPr/>
        </p:nvGrpSpPr>
        <p:grpSpPr>
          <a:xfrm>
            <a:off x="10191439" y="3621782"/>
            <a:ext cx="782091" cy="482645"/>
            <a:chOff x="8600467" y="3402277"/>
            <a:chExt cx="782091" cy="482645"/>
          </a:xfrm>
        </p:grpSpPr>
        <p:sp>
          <p:nvSpPr>
            <p:cNvPr id="2800" name="Freeform: Shape 2799">
              <a:extLst>
                <a:ext uri="{FF2B5EF4-FFF2-40B4-BE49-F238E27FC236}">
                  <a16:creationId xmlns:a16="http://schemas.microsoft.com/office/drawing/2014/main" id="{B06EA58A-E5BC-EC10-7B6E-3B1E6D6FB036}"/>
                </a:ext>
              </a:extLst>
            </p:cNvPr>
            <p:cNvSpPr/>
            <p:nvPr/>
          </p:nvSpPr>
          <p:spPr>
            <a:xfrm>
              <a:off x="8922578" y="3716097"/>
              <a:ext cx="122053" cy="130884"/>
            </a:xfrm>
            <a:custGeom>
              <a:avLst/>
              <a:gdLst>
                <a:gd name="connsiteX0" fmla="*/ 9841 w 122053"/>
                <a:gd name="connsiteY0" fmla="*/ 130010 h 130884"/>
                <a:gd name="connsiteX1" fmla="*/ 9841 w 122053"/>
                <a:gd name="connsiteY1" fmla="*/ 130010 h 130884"/>
                <a:gd name="connsiteX2" fmla="*/ 20558 w 122053"/>
                <a:gd name="connsiteY2" fmla="*/ 129727 h 130884"/>
                <a:gd name="connsiteX3" fmla="*/ 122053 w 122053"/>
                <a:gd name="connsiteY3" fmla="*/ 18615 h 130884"/>
                <a:gd name="connsiteX4" fmla="*/ 70035 w 122053"/>
                <a:gd name="connsiteY4" fmla="*/ 0 h 130884"/>
                <a:gd name="connsiteX5" fmla="*/ 5255 w 122053"/>
                <a:gd name="connsiteY5" fmla="*/ 104773 h 130884"/>
                <a:gd name="connsiteX6" fmla="*/ 9841 w 122053"/>
                <a:gd name="connsiteY6" fmla="*/ 130014 h 130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053" h="130884">
                  <a:moveTo>
                    <a:pt x="9841" y="130010"/>
                  </a:moveTo>
                  <a:lnTo>
                    <a:pt x="9841" y="130010"/>
                  </a:lnTo>
                  <a:cubicBezTo>
                    <a:pt x="13324" y="131258"/>
                    <a:pt x="17153" y="131176"/>
                    <a:pt x="20558" y="129727"/>
                  </a:cubicBezTo>
                  <a:cubicBezTo>
                    <a:pt x="79091" y="104792"/>
                    <a:pt x="122053" y="18615"/>
                    <a:pt x="122053" y="18615"/>
                  </a:cubicBezTo>
                  <a:lnTo>
                    <a:pt x="70035" y="0"/>
                  </a:lnTo>
                  <a:cubicBezTo>
                    <a:pt x="70035" y="0"/>
                    <a:pt x="53115" y="64636"/>
                    <a:pt x="5255" y="104773"/>
                  </a:cubicBezTo>
                  <a:cubicBezTo>
                    <a:pt x="-3483" y="112099"/>
                    <a:pt x="-894" y="126170"/>
                    <a:pt x="9841" y="130014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1" name="Freeform: Shape 2800">
              <a:extLst>
                <a:ext uri="{FF2B5EF4-FFF2-40B4-BE49-F238E27FC236}">
                  <a16:creationId xmlns:a16="http://schemas.microsoft.com/office/drawing/2014/main" id="{5DC17F1D-14F4-9C25-0959-D2FBBBEF5E24}"/>
                </a:ext>
              </a:extLst>
            </p:cNvPr>
            <p:cNvSpPr/>
            <p:nvPr/>
          </p:nvSpPr>
          <p:spPr>
            <a:xfrm rot="11981401">
              <a:off x="8971659" y="3751143"/>
              <a:ext cx="23683" cy="10082"/>
            </a:xfrm>
            <a:custGeom>
              <a:avLst/>
              <a:gdLst>
                <a:gd name="connsiteX0" fmla="*/ 22191 w 23683"/>
                <a:gd name="connsiteY0" fmla="*/ 0 h 10082"/>
                <a:gd name="connsiteX1" fmla="*/ 23683 w 23683"/>
                <a:gd name="connsiteY1" fmla="*/ 1493 h 10082"/>
                <a:gd name="connsiteX2" fmla="*/ 23683 w 23683"/>
                <a:gd name="connsiteY2" fmla="*/ 8590 h 10082"/>
                <a:gd name="connsiteX3" fmla="*/ 22191 w 23683"/>
                <a:gd name="connsiteY3" fmla="*/ 10083 h 10082"/>
                <a:gd name="connsiteX4" fmla="*/ 1493 w 23683"/>
                <a:gd name="connsiteY4" fmla="*/ 10083 h 10082"/>
                <a:gd name="connsiteX5" fmla="*/ 0 w 23683"/>
                <a:gd name="connsiteY5" fmla="*/ 8590 h 10082"/>
                <a:gd name="connsiteX6" fmla="*/ 0 w 23683"/>
                <a:gd name="connsiteY6" fmla="*/ 1493 h 10082"/>
                <a:gd name="connsiteX7" fmla="*/ 1493 w 23683"/>
                <a:gd name="connsiteY7" fmla="*/ 0 h 10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83" h="10082">
                  <a:moveTo>
                    <a:pt x="22191" y="0"/>
                  </a:moveTo>
                  <a:cubicBezTo>
                    <a:pt x="23015" y="0"/>
                    <a:pt x="23683" y="668"/>
                    <a:pt x="23683" y="1493"/>
                  </a:cubicBezTo>
                  <a:lnTo>
                    <a:pt x="23683" y="8590"/>
                  </a:lnTo>
                  <a:cubicBezTo>
                    <a:pt x="23683" y="9415"/>
                    <a:pt x="23015" y="10083"/>
                    <a:pt x="22191" y="10083"/>
                  </a:cubicBezTo>
                  <a:lnTo>
                    <a:pt x="1493" y="10083"/>
                  </a:lnTo>
                  <a:cubicBezTo>
                    <a:pt x="668" y="10083"/>
                    <a:pt x="0" y="9415"/>
                    <a:pt x="0" y="8590"/>
                  </a:cubicBezTo>
                  <a:lnTo>
                    <a:pt x="0" y="1493"/>
                  </a:lnTo>
                  <a:cubicBezTo>
                    <a:pt x="0" y="668"/>
                    <a:pt x="668" y="0"/>
                    <a:pt x="1493" y="0"/>
                  </a:cubicBezTo>
                  <a:close/>
                </a:path>
              </a:pathLst>
            </a:custGeom>
            <a:solidFill>
              <a:srgbClr val="B0B0F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2" name="Freeform: Shape 2801">
              <a:extLst>
                <a:ext uri="{FF2B5EF4-FFF2-40B4-BE49-F238E27FC236}">
                  <a16:creationId xmlns:a16="http://schemas.microsoft.com/office/drawing/2014/main" id="{6D545CB8-6446-39E7-B7C9-484C96CA442E}"/>
                </a:ext>
              </a:extLst>
            </p:cNvPr>
            <p:cNvSpPr/>
            <p:nvPr/>
          </p:nvSpPr>
          <p:spPr>
            <a:xfrm rot="11981401">
              <a:off x="8965346" y="3765603"/>
              <a:ext cx="21556" cy="7824"/>
            </a:xfrm>
            <a:custGeom>
              <a:avLst/>
              <a:gdLst>
                <a:gd name="connsiteX0" fmla="*/ 20399 w 21556"/>
                <a:gd name="connsiteY0" fmla="*/ 0 h 7824"/>
                <a:gd name="connsiteX1" fmla="*/ 21557 w 21556"/>
                <a:gd name="connsiteY1" fmla="*/ 1158 h 7824"/>
                <a:gd name="connsiteX2" fmla="*/ 21557 w 21556"/>
                <a:gd name="connsiteY2" fmla="*/ 6666 h 7824"/>
                <a:gd name="connsiteX3" fmla="*/ 20399 w 21556"/>
                <a:gd name="connsiteY3" fmla="*/ 7824 h 7824"/>
                <a:gd name="connsiteX4" fmla="*/ 1158 w 21556"/>
                <a:gd name="connsiteY4" fmla="*/ 7824 h 7824"/>
                <a:gd name="connsiteX5" fmla="*/ 0 w 21556"/>
                <a:gd name="connsiteY5" fmla="*/ 6666 h 7824"/>
                <a:gd name="connsiteX6" fmla="*/ 0 w 21556"/>
                <a:gd name="connsiteY6" fmla="*/ 1158 h 7824"/>
                <a:gd name="connsiteX7" fmla="*/ 1158 w 21556"/>
                <a:gd name="connsiteY7" fmla="*/ 0 h 7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556" h="7824">
                  <a:moveTo>
                    <a:pt x="20399" y="0"/>
                  </a:moveTo>
                  <a:cubicBezTo>
                    <a:pt x="21038" y="0"/>
                    <a:pt x="21557" y="519"/>
                    <a:pt x="21557" y="1158"/>
                  </a:cubicBezTo>
                  <a:lnTo>
                    <a:pt x="21557" y="6666"/>
                  </a:lnTo>
                  <a:cubicBezTo>
                    <a:pt x="21557" y="7306"/>
                    <a:pt x="21038" y="7824"/>
                    <a:pt x="20399" y="7824"/>
                  </a:cubicBezTo>
                  <a:lnTo>
                    <a:pt x="1158" y="7824"/>
                  </a:lnTo>
                  <a:cubicBezTo>
                    <a:pt x="519" y="7824"/>
                    <a:pt x="0" y="7306"/>
                    <a:pt x="0" y="6666"/>
                  </a:cubicBezTo>
                  <a:lnTo>
                    <a:pt x="0" y="1158"/>
                  </a:lnTo>
                  <a:cubicBezTo>
                    <a:pt x="0" y="519"/>
                    <a:pt x="519" y="0"/>
                    <a:pt x="1158" y="0"/>
                  </a:cubicBezTo>
                  <a:close/>
                </a:path>
              </a:pathLst>
            </a:custGeom>
            <a:solidFill>
              <a:srgbClr val="B0B0F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3" name="Freeform: Shape 2802">
              <a:extLst>
                <a:ext uri="{FF2B5EF4-FFF2-40B4-BE49-F238E27FC236}">
                  <a16:creationId xmlns:a16="http://schemas.microsoft.com/office/drawing/2014/main" id="{38C85918-1DED-BB62-B728-A1967CA8B773}"/>
                </a:ext>
              </a:extLst>
            </p:cNvPr>
            <p:cNvSpPr/>
            <p:nvPr/>
          </p:nvSpPr>
          <p:spPr>
            <a:xfrm rot="11981401">
              <a:off x="8957999" y="3777392"/>
              <a:ext cx="19656" cy="7357"/>
            </a:xfrm>
            <a:custGeom>
              <a:avLst/>
              <a:gdLst>
                <a:gd name="connsiteX0" fmla="*/ 18568 w 19656"/>
                <a:gd name="connsiteY0" fmla="*/ 0 h 7357"/>
                <a:gd name="connsiteX1" fmla="*/ 19656 w 19656"/>
                <a:gd name="connsiteY1" fmla="*/ 1088 h 7357"/>
                <a:gd name="connsiteX2" fmla="*/ 19656 w 19656"/>
                <a:gd name="connsiteY2" fmla="*/ 6270 h 7357"/>
                <a:gd name="connsiteX3" fmla="*/ 18568 w 19656"/>
                <a:gd name="connsiteY3" fmla="*/ 7358 h 7357"/>
                <a:gd name="connsiteX4" fmla="*/ 1088 w 19656"/>
                <a:gd name="connsiteY4" fmla="*/ 7358 h 7357"/>
                <a:gd name="connsiteX5" fmla="*/ 0 w 19656"/>
                <a:gd name="connsiteY5" fmla="*/ 6270 h 7357"/>
                <a:gd name="connsiteX6" fmla="*/ 0 w 19656"/>
                <a:gd name="connsiteY6" fmla="*/ 1088 h 7357"/>
                <a:gd name="connsiteX7" fmla="*/ 1088 w 19656"/>
                <a:gd name="connsiteY7" fmla="*/ 0 h 7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56" h="7357">
                  <a:moveTo>
                    <a:pt x="18568" y="0"/>
                  </a:moveTo>
                  <a:cubicBezTo>
                    <a:pt x="19169" y="0"/>
                    <a:pt x="19656" y="487"/>
                    <a:pt x="19656" y="1088"/>
                  </a:cubicBezTo>
                  <a:lnTo>
                    <a:pt x="19656" y="6270"/>
                  </a:lnTo>
                  <a:cubicBezTo>
                    <a:pt x="19656" y="6871"/>
                    <a:pt x="19169" y="7358"/>
                    <a:pt x="18568" y="7358"/>
                  </a:cubicBezTo>
                  <a:lnTo>
                    <a:pt x="1088" y="7358"/>
                  </a:lnTo>
                  <a:cubicBezTo>
                    <a:pt x="487" y="7358"/>
                    <a:pt x="0" y="6871"/>
                    <a:pt x="0" y="6270"/>
                  </a:cubicBezTo>
                  <a:lnTo>
                    <a:pt x="0" y="1088"/>
                  </a:lnTo>
                  <a:cubicBezTo>
                    <a:pt x="0" y="487"/>
                    <a:pt x="487" y="0"/>
                    <a:pt x="1088" y="0"/>
                  </a:cubicBezTo>
                  <a:close/>
                </a:path>
              </a:pathLst>
            </a:custGeom>
            <a:solidFill>
              <a:srgbClr val="B0B0F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4" name="Freeform: Shape 2803">
              <a:extLst>
                <a:ext uri="{FF2B5EF4-FFF2-40B4-BE49-F238E27FC236}">
                  <a16:creationId xmlns:a16="http://schemas.microsoft.com/office/drawing/2014/main" id="{A14C0A21-59FA-6593-04B0-97B3810A5BE8}"/>
                </a:ext>
              </a:extLst>
            </p:cNvPr>
            <p:cNvSpPr/>
            <p:nvPr/>
          </p:nvSpPr>
          <p:spPr>
            <a:xfrm>
              <a:off x="8924035" y="3716094"/>
              <a:ext cx="120596" cy="130884"/>
            </a:xfrm>
            <a:custGeom>
              <a:avLst/>
              <a:gdLst>
                <a:gd name="connsiteX0" fmla="*/ 6231 w 120596"/>
                <a:gd name="connsiteY0" fmla="*/ 120740 h 130884"/>
                <a:gd name="connsiteX1" fmla="*/ 27796 w 120596"/>
                <a:gd name="connsiteY1" fmla="*/ 108558 h 130884"/>
                <a:gd name="connsiteX2" fmla="*/ 59012 w 120596"/>
                <a:gd name="connsiteY2" fmla="*/ 82640 h 130884"/>
                <a:gd name="connsiteX3" fmla="*/ 71885 w 120596"/>
                <a:gd name="connsiteY3" fmla="*/ 63843 h 130884"/>
                <a:gd name="connsiteX4" fmla="*/ 79402 w 120596"/>
                <a:gd name="connsiteY4" fmla="*/ 42745 h 130884"/>
                <a:gd name="connsiteX5" fmla="*/ 77673 w 120596"/>
                <a:gd name="connsiteY5" fmla="*/ 31243 h 130884"/>
                <a:gd name="connsiteX6" fmla="*/ 74707 w 120596"/>
                <a:gd name="connsiteY6" fmla="*/ 26229 h 130884"/>
                <a:gd name="connsiteX7" fmla="*/ 62405 w 120596"/>
                <a:gd name="connsiteY7" fmla="*/ 18276 h 130884"/>
                <a:gd name="connsiteX8" fmla="*/ 68577 w 120596"/>
                <a:gd name="connsiteY8" fmla="*/ 0 h 130884"/>
                <a:gd name="connsiteX9" fmla="*/ 120596 w 120596"/>
                <a:gd name="connsiteY9" fmla="*/ 18615 h 130884"/>
                <a:gd name="connsiteX10" fmla="*/ 19100 w 120596"/>
                <a:gd name="connsiteY10" fmla="*/ 129727 h 130884"/>
                <a:gd name="connsiteX11" fmla="*/ 8384 w 120596"/>
                <a:gd name="connsiteY11" fmla="*/ 130010 h 130884"/>
                <a:gd name="connsiteX12" fmla="*/ 8384 w 120596"/>
                <a:gd name="connsiteY12" fmla="*/ 130010 h 130884"/>
                <a:gd name="connsiteX13" fmla="*/ 0 w 120596"/>
                <a:gd name="connsiteY13" fmla="*/ 122446 h 130884"/>
                <a:gd name="connsiteX14" fmla="*/ 6231 w 120596"/>
                <a:gd name="connsiteY14" fmla="*/ 120736 h 130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596" h="130884">
                  <a:moveTo>
                    <a:pt x="6231" y="120740"/>
                  </a:moveTo>
                  <a:cubicBezTo>
                    <a:pt x="13600" y="117005"/>
                    <a:pt x="20772" y="112900"/>
                    <a:pt x="27796" y="108558"/>
                  </a:cubicBezTo>
                  <a:cubicBezTo>
                    <a:pt x="39441" y="101364"/>
                    <a:pt x="49784" y="92774"/>
                    <a:pt x="59012" y="82640"/>
                  </a:cubicBezTo>
                  <a:cubicBezTo>
                    <a:pt x="64228" y="76911"/>
                    <a:pt x="68126" y="70602"/>
                    <a:pt x="71885" y="63843"/>
                  </a:cubicBezTo>
                  <a:cubicBezTo>
                    <a:pt x="75624" y="57119"/>
                    <a:pt x="77576" y="50204"/>
                    <a:pt x="79402" y="42745"/>
                  </a:cubicBezTo>
                  <a:cubicBezTo>
                    <a:pt x="79822" y="38761"/>
                    <a:pt x="79247" y="34924"/>
                    <a:pt x="77673" y="31243"/>
                  </a:cubicBezTo>
                  <a:cubicBezTo>
                    <a:pt x="76686" y="29572"/>
                    <a:pt x="75694" y="27900"/>
                    <a:pt x="74707" y="26229"/>
                  </a:cubicBezTo>
                  <a:cubicBezTo>
                    <a:pt x="71769" y="22113"/>
                    <a:pt x="67213" y="19567"/>
                    <a:pt x="62405" y="18276"/>
                  </a:cubicBezTo>
                  <a:cubicBezTo>
                    <a:pt x="66692" y="7195"/>
                    <a:pt x="68577" y="0"/>
                    <a:pt x="68577" y="0"/>
                  </a:cubicBezTo>
                  <a:lnTo>
                    <a:pt x="120596" y="18615"/>
                  </a:lnTo>
                  <a:cubicBezTo>
                    <a:pt x="120596" y="18615"/>
                    <a:pt x="77638" y="104796"/>
                    <a:pt x="19100" y="129727"/>
                  </a:cubicBezTo>
                  <a:cubicBezTo>
                    <a:pt x="15699" y="131176"/>
                    <a:pt x="11867" y="131258"/>
                    <a:pt x="8384" y="130010"/>
                  </a:cubicBezTo>
                  <a:lnTo>
                    <a:pt x="8384" y="130010"/>
                  </a:lnTo>
                  <a:cubicBezTo>
                    <a:pt x="4427" y="128596"/>
                    <a:pt x="1582" y="125789"/>
                    <a:pt x="0" y="122446"/>
                  </a:cubicBezTo>
                  <a:cubicBezTo>
                    <a:pt x="2239" y="122221"/>
                    <a:pt x="4392" y="121669"/>
                    <a:pt x="6231" y="120736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5" name="Freeform: Shape 2804">
              <a:extLst>
                <a:ext uri="{FF2B5EF4-FFF2-40B4-BE49-F238E27FC236}">
                  <a16:creationId xmlns:a16="http://schemas.microsoft.com/office/drawing/2014/main" id="{8BF7A598-794D-F617-607D-5E69BF55CE71}"/>
                </a:ext>
              </a:extLst>
            </p:cNvPr>
            <p:cNvSpPr/>
            <p:nvPr/>
          </p:nvSpPr>
          <p:spPr>
            <a:xfrm>
              <a:off x="9027947" y="3612444"/>
              <a:ext cx="133277" cy="144874"/>
            </a:xfrm>
            <a:custGeom>
              <a:avLst/>
              <a:gdLst>
                <a:gd name="connsiteX0" fmla="*/ 128240 w 133277"/>
                <a:gd name="connsiteY0" fmla="*/ 89400 h 144874"/>
                <a:gd name="connsiteX1" fmla="*/ 44674 w 133277"/>
                <a:gd name="connsiteY1" fmla="*/ 140311 h 144874"/>
                <a:gd name="connsiteX2" fmla="*/ 4336 w 133277"/>
                <a:gd name="connsiteY2" fmla="*/ 48751 h 144874"/>
                <a:gd name="connsiteX3" fmla="*/ 93490 w 133277"/>
                <a:gd name="connsiteY3" fmla="*/ 3899 h 144874"/>
                <a:gd name="connsiteX4" fmla="*/ 128240 w 133277"/>
                <a:gd name="connsiteY4" fmla="*/ 89396 h 144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77" h="144874">
                  <a:moveTo>
                    <a:pt x="128240" y="89400"/>
                  </a:moveTo>
                  <a:cubicBezTo>
                    <a:pt x="114663" y="127341"/>
                    <a:pt x="78382" y="156485"/>
                    <a:pt x="44674" y="140311"/>
                  </a:cubicBezTo>
                  <a:cubicBezTo>
                    <a:pt x="10403" y="123870"/>
                    <a:pt x="-9241" y="86691"/>
                    <a:pt x="4336" y="48751"/>
                  </a:cubicBezTo>
                  <a:cubicBezTo>
                    <a:pt x="17913" y="10810"/>
                    <a:pt x="57699" y="-8908"/>
                    <a:pt x="93490" y="3899"/>
                  </a:cubicBezTo>
                  <a:cubicBezTo>
                    <a:pt x="127194" y="15960"/>
                    <a:pt x="141817" y="51456"/>
                    <a:pt x="128240" y="89396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6" name="Freeform: Shape 2805">
              <a:extLst>
                <a:ext uri="{FF2B5EF4-FFF2-40B4-BE49-F238E27FC236}">
                  <a16:creationId xmlns:a16="http://schemas.microsoft.com/office/drawing/2014/main" id="{7D09663C-A630-5FFF-9122-EBD4DC7B1ED7}"/>
                </a:ext>
              </a:extLst>
            </p:cNvPr>
            <p:cNvSpPr/>
            <p:nvPr/>
          </p:nvSpPr>
          <p:spPr>
            <a:xfrm>
              <a:off x="9060793" y="3612414"/>
              <a:ext cx="74172" cy="144071"/>
            </a:xfrm>
            <a:custGeom>
              <a:avLst/>
              <a:gdLst>
                <a:gd name="connsiteX0" fmla="*/ 0 w 74172"/>
                <a:gd name="connsiteY0" fmla="*/ 136462 h 144071"/>
                <a:gd name="connsiteX1" fmla="*/ 20150 w 74172"/>
                <a:gd name="connsiteY1" fmla="*/ 143672 h 144071"/>
                <a:gd name="connsiteX2" fmla="*/ 68982 w 74172"/>
                <a:gd name="connsiteY2" fmla="*/ 7217 h 144071"/>
                <a:gd name="connsiteX3" fmla="*/ 48832 w 74172"/>
                <a:gd name="connsiteY3" fmla="*/ 7 h 144071"/>
                <a:gd name="connsiteX4" fmla="*/ 0 w 74172"/>
                <a:gd name="connsiteY4" fmla="*/ 136462 h 144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172" h="144071">
                  <a:moveTo>
                    <a:pt x="0" y="136462"/>
                  </a:moveTo>
                  <a:cubicBezTo>
                    <a:pt x="0" y="136462"/>
                    <a:pt x="1053" y="134926"/>
                    <a:pt x="20150" y="143672"/>
                  </a:cubicBezTo>
                  <a:cubicBezTo>
                    <a:pt x="39246" y="152417"/>
                    <a:pt x="90527" y="14929"/>
                    <a:pt x="68982" y="7217"/>
                  </a:cubicBezTo>
                  <a:cubicBezTo>
                    <a:pt x="47436" y="-495"/>
                    <a:pt x="48832" y="7"/>
                    <a:pt x="48832" y="7"/>
                  </a:cubicBezTo>
                  <a:lnTo>
                    <a:pt x="0" y="136462"/>
                  </a:lnTo>
                  <a:close/>
                </a:path>
              </a:pathLst>
            </a:custGeom>
            <a:solidFill>
              <a:srgbClr val="B0B0F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7" name="Freeform: Shape 2806">
              <a:extLst>
                <a:ext uri="{FF2B5EF4-FFF2-40B4-BE49-F238E27FC236}">
                  <a16:creationId xmlns:a16="http://schemas.microsoft.com/office/drawing/2014/main" id="{7C370729-8F3B-1AF1-9833-F037F4DD4C47}"/>
                </a:ext>
              </a:extLst>
            </p:cNvPr>
            <p:cNvSpPr/>
            <p:nvPr/>
          </p:nvSpPr>
          <p:spPr>
            <a:xfrm>
              <a:off x="8824656" y="3466664"/>
              <a:ext cx="290990" cy="282507"/>
            </a:xfrm>
            <a:custGeom>
              <a:avLst/>
              <a:gdLst>
                <a:gd name="connsiteX0" fmla="*/ 6147 w 290990"/>
                <a:gd name="connsiteY0" fmla="*/ 257126 h 282507"/>
                <a:gd name="connsiteX1" fmla="*/ 236137 w 290990"/>
                <a:gd name="connsiteY1" fmla="*/ 282216 h 282507"/>
                <a:gd name="connsiteX2" fmla="*/ 284969 w 290990"/>
                <a:gd name="connsiteY2" fmla="*/ 145761 h 282507"/>
                <a:gd name="connsiteX3" fmla="*/ 93234 w 290990"/>
                <a:gd name="connsiteY3" fmla="*/ 4844 h 282507"/>
                <a:gd name="connsiteX4" fmla="*/ 6147 w 290990"/>
                <a:gd name="connsiteY4" fmla="*/ 257126 h 282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990" h="282507">
                  <a:moveTo>
                    <a:pt x="6147" y="257126"/>
                  </a:moveTo>
                  <a:cubicBezTo>
                    <a:pt x="38960" y="234982"/>
                    <a:pt x="217048" y="274943"/>
                    <a:pt x="236137" y="282216"/>
                  </a:cubicBezTo>
                  <a:cubicBezTo>
                    <a:pt x="255226" y="289488"/>
                    <a:pt x="308862" y="158304"/>
                    <a:pt x="284969" y="145761"/>
                  </a:cubicBezTo>
                  <a:cubicBezTo>
                    <a:pt x="261076" y="133218"/>
                    <a:pt x="104335" y="52303"/>
                    <a:pt x="93234" y="4844"/>
                  </a:cubicBezTo>
                  <a:cubicBezTo>
                    <a:pt x="82055" y="-42954"/>
                    <a:pt x="-26667" y="279270"/>
                    <a:pt x="6147" y="257126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8" name="Freeform: Shape 2807">
              <a:extLst>
                <a:ext uri="{FF2B5EF4-FFF2-40B4-BE49-F238E27FC236}">
                  <a16:creationId xmlns:a16="http://schemas.microsoft.com/office/drawing/2014/main" id="{158FB66D-CC5F-D91B-0173-A5B3D4036354}"/>
                </a:ext>
              </a:extLst>
            </p:cNvPr>
            <p:cNvSpPr/>
            <p:nvPr/>
          </p:nvSpPr>
          <p:spPr>
            <a:xfrm>
              <a:off x="8824652" y="3466660"/>
              <a:ext cx="260609" cy="282507"/>
            </a:xfrm>
            <a:custGeom>
              <a:avLst/>
              <a:gdLst>
                <a:gd name="connsiteX0" fmla="*/ 93238 w 260609"/>
                <a:gd name="connsiteY0" fmla="*/ 4848 h 282507"/>
                <a:gd name="connsiteX1" fmla="*/ 127839 w 260609"/>
                <a:gd name="connsiteY1" fmla="*/ 47962 h 282507"/>
                <a:gd name="connsiteX2" fmla="*/ 89456 w 260609"/>
                <a:gd name="connsiteY2" fmla="*/ 215971 h 282507"/>
                <a:gd name="connsiteX3" fmla="*/ 260190 w 260609"/>
                <a:gd name="connsiteY3" fmla="*/ 256593 h 282507"/>
                <a:gd name="connsiteX4" fmla="*/ 260610 w 260609"/>
                <a:gd name="connsiteY4" fmla="*/ 256543 h 282507"/>
                <a:gd name="connsiteX5" fmla="*/ 236137 w 260609"/>
                <a:gd name="connsiteY5" fmla="*/ 282216 h 282507"/>
                <a:gd name="connsiteX6" fmla="*/ 6147 w 260609"/>
                <a:gd name="connsiteY6" fmla="*/ 257126 h 282507"/>
                <a:gd name="connsiteX7" fmla="*/ 93234 w 260609"/>
                <a:gd name="connsiteY7" fmla="*/ 4844 h 282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0609" h="282507">
                  <a:moveTo>
                    <a:pt x="93238" y="4848"/>
                  </a:moveTo>
                  <a:cubicBezTo>
                    <a:pt x="96196" y="17488"/>
                    <a:pt x="109481" y="32499"/>
                    <a:pt x="127839" y="47962"/>
                  </a:cubicBezTo>
                  <a:cubicBezTo>
                    <a:pt x="144608" y="108303"/>
                    <a:pt x="76112" y="200637"/>
                    <a:pt x="89456" y="215971"/>
                  </a:cubicBezTo>
                  <a:cubicBezTo>
                    <a:pt x="107301" y="235759"/>
                    <a:pt x="197832" y="261401"/>
                    <a:pt x="260190" y="256593"/>
                  </a:cubicBezTo>
                  <a:cubicBezTo>
                    <a:pt x="260330" y="256582"/>
                    <a:pt x="260470" y="256562"/>
                    <a:pt x="260610" y="256543"/>
                  </a:cubicBezTo>
                  <a:cubicBezTo>
                    <a:pt x="251359" y="273338"/>
                    <a:pt x="242077" y="284478"/>
                    <a:pt x="236137" y="282216"/>
                  </a:cubicBezTo>
                  <a:cubicBezTo>
                    <a:pt x="217049" y="274943"/>
                    <a:pt x="38960" y="234986"/>
                    <a:pt x="6147" y="257126"/>
                  </a:cubicBezTo>
                  <a:cubicBezTo>
                    <a:pt x="-26667" y="279270"/>
                    <a:pt x="82051" y="-42954"/>
                    <a:pt x="93234" y="4844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9" name="Freeform: Shape 2808">
              <a:extLst>
                <a:ext uri="{FF2B5EF4-FFF2-40B4-BE49-F238E27FC236}">
                  <a16:creationId xmlns:a16="http://schemas.microsoft.com/office/drawing/2014/main" id="{9F9CF2D2-A772-573C-A578-06DE822FF5F4}"/>
                </a:ext>
              </a:extLst>
            </p:cNvPr>
            <p:cNvSpPr/>
            <p:nvPr/>
          </p:nvSpPr>
          <p:spPr>
            <a:xfrm>
              <a:off x="8807450" y="3458884"/>
              <a:ext cx="131562" cy="280687"/>
            </a:xfrm>
            <a:custGeom>
              <a:avLst/>
              <a:gdLst>
                <a:gd name="connsiteX0" fmla="*/ 110401 w 131562"/>
                <a:gd name="connsiteY0" fmla="*/ 156017 h 280687"/>
                <a:gd name="connsiteX1" fmla="*/ 17768 w 131562"/>
                <a:gd name="connsiteY1" fmla="*/ 280099 h 280687"/>
                <a:gd name="connsiteX2" fmla="*/ 32888 w 131562"/>
                <a:gd name="connsiteY2" fmla="*/ 128279 h 280687"/>
                <a:gd name="connsiteX3" fmla="*/ 117526 w 131562"/>
                <a:gd name="connsiteY3" fmla="*/ 1336 h 280687"/>
                <a:gd name="connsiteX4" fmla="*/ 110401 w 131562"/>
                <a:gd name="connsiteY4" fmla="*/ 156017 h 28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562" h="280687">
                  <a:moveTo>
                    <a:pt x="110401" y="156017"/>
                  </a:moveTo>
                  <a:cubicBezTo>
                    <a:pt x="82854" y="232994"/>
                    <a:pt x="36965" y="286968"/>
                    <a:pt x="17768" y="280099"/>
                  </a:cubicBezTo>
                  <a:cubicBezTo>
                    <a:pt x="-16993" y="267661"/>
                    <a:pt x="5337" y="205256"/>
                    <a:pt x="32888" y="128279"/>
                  </a:cubicBezTo>
                  <a:cubicBezTo>
                    <a:pt x="60435" y="51302"/>
                    <a:pt x="86112" y="-9905"/>
                    <a:pt x="117526" y="1336"/>
                  </a:cubicBezTo>
                  <a:cubicBezTo>
                    <a:pt x="136724" y="8204"/>
                    <a:pt x="137948" y="79040"/>
                    <a:pt x="110401" y="156017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0" name="Freeform: Shape 2809">
              <a:extLst>
                <a:ext uri="{FF2B5EF4-FFF2-40B4-BE49-F238E27FC236}">
                  <a16:creationId xmlns:a16="http://schemas.microsoft.com/office/drawing/2014/main" id="{4583424E-F274-501F-D4A1-EF39C1A853D8}"/>
                </a:ext>
              </a:extLst>
            </p:cNvPr>
            <p:cNvSpPr/>
            <p:nvPr/>
          </p:nvSpPr>
          <p:spPr>
            <a:xfrm>
              <a:off x="8806657" y="3460136"/>
              <a:ext cx="119205" cy="276108"/>
            </a:xfrm>
            <a:custGeom>
              <a:avLst/>
              <a:gdLst>
                <a:gd name="connsiteX0" fmla="*/ 95370 w 119205"/>
                <a:gd name="connsiteY0" fmla="*/ 147908 h 276108"/>
                <a:gd name="connsiteX1" fmla="*/ 9550 w 119205"/>
                <a:gd name="connsiteY1" fmla="*/ 275621 h 276108"/>
                <a:gd name="connsiteX2" fmla="*/ 27135 w 119205"/>
                <a:gd name="connsiteY2" fmla="*/ 124680 h 276108"/>
                <a:gd name="connsiteX3" fmla="*/ 107999 w 119205"/>
                <a:gd name="connsiteY3" fmla="*/ 515 h 276108"/>
                <a:gd name="connsiteX4" fmla="*/ 95370 w 119205"/>
                <a:gd name="connsiteY4" fmla="*/ 147904 h 27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205" h="276108">
                  <a:moveTo>
                    <a:pt x="95370" y="147908"/>
                  </a:moveTo>
                  <a:cubicBezTo>
                    <a:pt x="67824" y="224885"/>
                    <a:pt x="27388" y="282004"/>
                    <a:pt x="9550" y="275621"/>
                  </a:cubicBezTo>
                  <a:cubicBezTo>
                    <a:pt x="-8287" y="269239"/>
                    <a:pt x="-416" y="201661"/>
                    <a:pt x="27135" y="124680"/>
                  </a:cubicBezTo>
                  <a:cubicBezTo>
                    <a:pt x="54682" y="47703"/>
                    <a:pt x="90162" y="-5867"/>
                    <a:pt x="107999" y="515"/>
                  </a:cubicBezTo>
                  <a:cubicBezTo>
                    <a:pt x="125836" y="6898"/>
                    <a:pt x="122917" y="70927"/>
                    <a:pt x="95370" y="147904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1" name="Freeform: Shape 2810">
              <a:extLst>
                <a:ext uri="{FF2B5EF4-FFF2-40B4-BE49-F238E27FC236}">
                  <a16:creationId xmlns:a16="http://schemas.microsoft.com/office/drawing/2014/main" id="{E8702E46-6E4B-8C3E-95AC-CF7E401097CC}"/>
                </a:ext>
              </a:extLst>
            </p:cNvPr>
            <p:cNvSpPr/>
            <p:nvPr/>
          </p:nvSpPr>
          <p:spPr>
            <a:xfrm>
              <a:off x="8822570" y="3552030"/>
              <a:ext cx="91339" cy="100074"/>
            </a:xfrm>
            <a:custGeom>
              <a:avLst/>
              <a:gdLst>
                <a:gd name="connsiteX0" fmla="*/ 0 w 91339"/>
                <a:gd name="connsiteY0" fmla="*/ 65565 h 100074"/>
                <a:gd name="connsiteX1" fmla="*/ 59595 w 91339"/>
                <a:gd name="connsiteY1" fmla="*/ 99863 h 100074"/>
                <a:gd name="connsiteX2" fmla="*/ 90908 w 91339"/>
                <a:gd name="connsiteY2" fmla="*/ 13391 h 100074"/>
                <a:gd name="connsiteX3" fmla="*/ 23462 w 91339"/>
                <a:gd name="connsiteY3" fmla="*/ 0 h 100074"/>
                <a:gd name="connsiteX4" fmla="*/ 0 w 91339"/>
                <a:gd name="connsiteY4" fmla="*/ 65565 h 10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339" h="100074">
                  <a:moveTo>
                    <a:pt x="0" y="65565"/>
                  </a:moveTo>
                  <a:cubicBezTo>
                    <a:pt x="0" y="65565"/>
                    <a:pt x="44012" y="76507"/>
                    <a:pt x="59595" y="99863"/>
                  </a:cubicBezTo>
                  <a:cubicBezTo>
                    <a:pt x="63058" y="105052"/>
                    <a:pt x="95428" y="13045"/>
                    <a:pt x="90908" y="13391"/>
                  </a:cubicBezTo>
                  <a:cubicBezTo>
                    <a:pt x="53947" y="16224"/>
                    <a:pt x="23462" y="0"/>
                    <a:pt x="23462" y="0"/>
                  </a:cubicBezTo>
                  <a:lnTo>
                    <a:pt x="0" y="65565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2" name="Freeform: Shape 2811">
              <a:extLst>
                <a:ext uri="{FF2B5EF4-FFF2-40B4-BE49-F238E27FC236}">
                  <a16:creationId xmlns:a16="http://schemas.microsoft.com/office/drawing/2014/main" id="{E9524078-986E-708A-2AC3-DB5B48053694}"/>
                </a:ext>
              </a:extLst>
            </p:cNvPr>
            <p:cNvSpPr/>
            <p:nvPr/>
          </p:nvSpPr>
          <p:spPr>
            <a:xfrm>
              <a:off x="8868704" y="3565419"/>
              <a:ext cx="45209" cy="86685"/>
            </a:xfrm>
            <a:custGeom>
              <a:avLst/>
              <a:gdLst>
                <a:gd name="connsiteX0" fmla="*/ 7673 w 45209"/>
                <a:gd name="connsiteY0" fmla="*/ 65154 h 86685"/>
                <a:gd name="connsiteX1" fmla="*/ 19971 w 45209"/>
                <a:gd name="connsiteY1" fmla="*/ 47663 h 86685"/>
                <a:gd name="connsiteX2" fmla="*/ 23971 w 45209"/>
                <a:gd name="connsiteY2" fmla="*/ 34334 h 86685"/>
                <a:gd name="connsiteX3" fmla="*/ 25665 w 45209"/>
                <a:gd name="connsiteY3" fmla="*/ 25402 h 86685"/>
                <a:gd name="connsiteX4" fmla="*/ 28025 w 45209"/>
                <a:gd name="connsiteY4" fmla="*/ 10725 h 86685"/>
                <a:gd name="connsiteX5" fmla="*/ 28530 w 45209"/>
                <a:gd name="connsiteY5" fmla="*/ 9131 h 86685"/>
                <a:gd name="connsiteX6" fmla="*/ 30139 w 45209"/>
                <a:gd name="connsiteY6" fmla="*/ 188 h 86685"/>
                <a:gd name="connsiteX7" fmla="*/ 44778 w 45209"/>
                <a:gd name="connsiteY7" fmla="*/ 1 h 86685"/>
                <a:gd name="connsiteX8" fmla="*/ 13464 w 45209"/>
                <a:gd name="connsiteY8" fmla="*/ 86474 h 86685"/>
                <a:gd name="connsiteX9" fmla="*/ 0 w 45209"/>
                <a:gd name="connsiteY9" fmla="*/ 72974 h 86685"/>
                <a:gd name="connsiteX10" fmla="*/ 7681 w 45209"/>
                <a:gd name="connsiteY10" fmla="*/ 65154 h 86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209" h="86685">
                  <a:moveTo>
                    <a:pt x="7673" y="65154"/>
                  </a:moveTo>
                  <a:cubicBezTo>
                    <a:pt x="12780" y="59875"/>
                    <a:pt x="16710" y="54317"/>
                    <a:pt x="19971" y="47663"/>
                  </a:cubicBezTo>
                  <a:cubicBezTo>
                    <a:pt x="22020" y="43484"/>
                    <a:pt x="22898" y="38820"/>
                    <a:pt x="23971" y="34334"/>
                  </a:cubicBezTo>
                  <a:cubicBezTo>
                    <a:pt x="24678" y="31384"/>
                    <a:pt x="25207" y="28399"/>
                    <a:pt x="25665" y="25402"/>
                  </a:cubicBezTo>
                  <a:cubicBezTo>
                    <a:pt x="26420" y="20501"/>
                    <a:pt x="27030" y="15580"/>
                    <a:pt x="28025" y="10725"/>
                  </a:cubicBezTo>
                  <a:cubicBezTo>
                    <a:pt x="28188" y="10193"/>
                    <a:pt x="28351" y="9660"/>
                    <a:pt x="28530" y="9131"/>
                  </a:cubicBezTo>
                  <a:cubicBezTo>
                    <a:pt x="29677" y="6220"/>
                    <a:pt x="30213" y="3235"/>
                    <a:pt x="30139" y="188"/>
                  </a:cubicBezTo>
                  <a:cubicBezTo>
                    <a:pt x="34858" y="417"/>
                    <a:pt x="39756" y="386"/>
                    <a:pt x="44778" y="1"/>
                  </a:cubicBezTo>
                  <a:cubicBezTo>
                    <a:pt x="49298" y="-345"/>
                    <a:pt x="16924" y="91663"/>
                    <a:pt x="13464" y="86474"/>
                  </a:cubicBezTo>
                  <a:cubicBezTo>
                    <a:pt x="10075" y="81390"/>
                    <a:pt x="5337" y="76896"/>
                    <a:pt x="0" y="72974"/>
                  </a:cubicBezTo>
                  <a:cubicBezTo>
                    <a:pt x="2651" y="70440"/>
                    <a:pt x="5170" y="67750"/>
                    <a:pt x="7681" y="65154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3" name="Freeform: Shape 2812">
              <a:extLst>
                <a:ext uri="{FF2B5EF4-FFF2-40B4-BE49-F238E27FC236}">
                  <a16:creationId xmlns:a16="http://schemas.microsoft.com/office/drawing/2014/main" id="{BA0A69AA-5EEC-7286-CC5F-1C5D2284910C}"/>
                </a:ext>
              </a:extLst>
            </p:cNvPr>
            <p:cNvSpPr/>
            <p:nvPr/>
          </p:nvSpPr>
          <p:spPr>
            <a:xfrm>
              <a:off x="8820767" y="3551930"/>
              <a:ext cx="27147" cy="65750"/>
            </a:xfrm>
            <a:custGeom>
              <a:avLst/>
              <a:gdLst>
                <a:gd name="connsiteX0" fmla="*/ 20476 w 27147"/>
                <a:gd name="connsiteY0" fmla="*/ 34872 h 65750"/>
                <a:gd name="connsiteX1" fmla="*/ 1803 w 27147"/>
                <a:gd name="connsiteY1" fmla="*/ 65660 h 65750"/>
                <a:gd name="connsiteX2" fmla="*/ 6903 w 27147"/>
                <a:gd name="connsiteY2" fmla="*/ 30013 h 65750"/>
                <a:gd name="connsiteX3" fmla="*/ 25265 w 27147"/>
                <a:gd name="connsiteY3" fmla="*/ 96 h 65750"/>
                <a:gd name="connsiteX4" fmla="*/ 20476 w 27147"/>
                <a:gd name="connsiteY4" fmla="*/ 34868 h 6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147" h="65750">
                  <a:moveTo>
                    <a:pt x="20476" y="34872"/>
                  </a:moveTo>
                  <a:cubicBezTo>
                    <a:pt x="13911" y="53218"/>
                    <a:pt x="5550" y="67001"/>
                    <a:pt x="1803" y="65660"/>
                  </a:cubicBezTo>
                  <a:cubicBezTo>
                    <a:pt x="-1944" y="64319"/>
                    <a:pt x="338" y="48360"/>
                    <a:pt x="6903" y="30013"/>
                  </a:cubicBezTo>
                  <a:cubicBezTo>
                    <a:pt x="13468" y="11667"/>
                    <a:pt x="21518" y="-1245"/>
                    <a:pt x="25265" y="96"/>
                  </a:cubicBezTo>
                  <a:cubicBezTo>
                    <a:pt x="29012" y="1437"/>
                    <a:pt x="27041" y="16526"/>
                    <a:pt x="20476" y="34868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4" name="Freeform: Shape 2813">
              <a:extLst>
                <a:ext uri="{FF2B5EF4-FFF2-40B4-BE49-F238E27FC236}">
                  <a16:creationId xmlns:a16="http://schemas.microsoft.com/office/drawing/2014/main" id="{AD086103-1EC5-16BB-46DB-9B922E9E96B6}"/>
                </a:ext>
              </a:extLst>
            </p:cNvPr>
            <p:cNvSpPr/>
            <p:nvPr/>
          </p:nvSpPr>
          <p:spPr>
            <a:xfrm>
              <a:off x="8806708" y="3652441"/>
              <a:ext cx="76681" cy="62167"/>
            </a:xfrm>
            <a:custGeom>
              <a:avLst/>
              <a:gdLst>
                <a:gd name="connsiteX0" fmla="*/ 0 w 76681"/>
                <a:gd name="connsiteY0" fmla="*/ 51230 h 62167"/>
                <a:gd name="connsiteX1" fmla="*/ 206 w 76681"/>
                <a:gd name="connsiteY1" fmla="*/ 62168 h 62167"/>
                <a:gd name="connsiteX2" fmla="*/ 75411 w 76681"/>
                <a:gd name="connsiteY2" fmla="*/ 3549 h 62167"/>
                <a:gd name="connsiteX3" fmla="*/ 76682 w 76681"/>
                <a:gd name="connsiteY3" fmla="*/ 0 h 62167"/>
                <a:gd name="connsiteX4" fmla="*/ 0 w 76681"/>
                <a:gd name="connsiteY4" fmla="*/ 51230 h 62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681" h="62167">
                  <a:moveTo>
                    <a:pt x="0" y="51230"/>
                  </a:moveTo>
                  <a:lnTo>
                    <a:pt x="206" y="62168"/>
                  </a:lnTo>
                  <a:cubicBezTo>
                    <a:pt x="19260" y="24220"/>
                    <a:pt x="75411" y="3549"/>
                    <a:pt x="75411" y="3549"/>
                  </a:cubicBezTo>
                  <a:lnTo>
                    <a:pt x="76682" y="0"/>
                  </a:lnTo>
                  <a:cubicBezTo>
                    <a:pt x="76682" y="0"/>
                    <a:pt x="13286" y="12512"/>
                    <a:pt x="0" y="5123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5" name="Freeform: Shape 2814">
              <a:extLst>
                <a:ext uri="{FF2B5EF4-FFF2-40B4-BE49-F238E27FC236}">
                  <a16:creationId xmlns:a16="http://schemas.microsoft.com/office/drawing/2014/main" id="{8CD52688-0BA4-65E4-1617-6EE14F564E64}"/>
                </a:ext>
              </a:extLst>
            </p:cNvPr>
            <p:cNvSpPr/>
            <p:nvPr/>
          </p:nvSpPr>
          <p:spPr>
            <a:xfrm>
              <a:off x="8694639" y="3420772"/>
              <a:ext cx="117848" cy="125870"/>
            </a:xfrm>
            <a:custGeom>
              <a:avLst/>
              <a:gdLst>
                <a:gd name="connsiteX0" fmla="*/ 0 w 117848"/>
                <a:gd name="connsiteY0" fmla="*/ 0 h 125870"/>
                <a:gd name="connsiteX1" fmla="*/ 89474 w 117848"/>
                <a:gd name="connsiteY1" fmla="*/ 49582 h 125870"/>
                <a:gd name="connsiteX2" fmla="*/ 60854 w 117848"/>
                <a:gd name="connsiteY2" fmla="*/ 73494 h 125870"/>
                <a:gd name="connsiteX3" fmla="*/ 117848 w 117848"/>
                <a:gd name="connsiteY3" fmla="*/ 125871 h 125870"/>
                <a:gd name="connsiteX4" fmla="*/ 24694 w 117848"/>
                <a:gd name="connsiteY4" fmla="*/ 73770 h 125870"/>
                <a:gd name="connsiteX5" fmla="*/ 52108 w 117848"/>
                <a:gd name="connsiteY5" fmla="*/ 50868 h 125870"/>
                <a:gd name="connsiteX6" fmla="*/ 0 w 117848"/>
                <a:gd name="connsiteY6" fmla="*/ 0 h 12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848" h="125870">
                  <a:moveTo>
                    <a:pt x="0" y="0"/>
                  </a:moveTo>
                  <a:lnTo>
                    <a:pt x="89474" y="49582"/>
                  </a:lnTo>
                  <a:lnTo>
                    <a:pt x="60854" y="73494"/>
                  </a:lnTo>
                  <a:lnTo>
                    <a:pt x="117848" y="125871"/>
                  </a:lnTo>
                  <a:lnTo>
                    <a:pt x="24694" y="73770"/>
                  </a:lnTo>
                  <a:lnTo>
                    <a:pt x="52108" y="508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6" name="Freeform: Shape 2815">
              <a:extLst>
                <a:ext uri="{FF2B5EF4-FFF2-40B4-BE49-F238E27FC236}">
                  <a16:creationId xmlns:a16="http://schemas.microsoft.com/office/drawing/2014/main" id="{82F3541E-2749-0E07-F9E8-36ED5E4B1976}"/>
                </a:ext>
              </a:extLst>
            </p:cNvPr>
            <p:cNvSpPr/>
            <p:nvPr/>
          </p:nvSpPr>
          <p:spPr>
            <a:xfrm>
              <a:off x="8600467" y="3565133"/>
              <a:ext cx="199956" cy="73000"/>
            </a:xfrm>
            <a:custGeom>
              <a:avLst/>
              <a:gdLst>
                <a:gd name="connsiteX0" fmla="*/ 199956 w 199956"/>
                <a:gd name="connsiteY0" fmla="*/ 40245 h 73000"/>
                <a:gd name="connsiteX1" fmla="*/ 85878 w 199956"/>
                <a:gd name="connsiteY1" fmla="*/ 73001 h 73000"/>
                <a:gd name="connsiteX2" fmla="*/ 89730 w 199956"/>
                <a:gd name="connsiteY2" fmla="*/ 29906 h 73000"/>
                <a:gd name="connsiteX3" fmla="*/ 0 w 199956"/>
                <a:gd name="connsiteY3" fmla="*/ 33711 h 73000"/>
                <a:gd name="connsiteX4" fmla="*/ 119166 w 199956"/>
                <a:gd name="connsiteY4" fmla="*/ 0 h 73000"/>
                <a:gd name="connsiteX5" fmla="*/ 115473 w 199956"/>
                <a:gd name="connsiteY5" fmla="*/ 41287 h 73000"/>
                <a:gd name="connsiteX6" fmla="*/ 199956 w 199956"/>
                <a:gd name="connsiteY6" fmla="*/ 40245 h 7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956" h="73000">
                  <a:moveTo>
                    <a:pt x="199956" y="40245"/>
                  </a:moveTo>
                  <a:lnTo>
                    <a:pt x="85878" y="73001"/>
                  </a:lnTo>
                  <a:lnTo>
                    <a:pt x="89730" y="29906"/>
                  </a:lnTo>
                  <a:lnTo>
                    <a:pt x="0" y="33711"/>
                  </a:lnTo>
                  <a:lnTo>
                    <a:pt x="119166" y="0"/>
                  </a:lnTo>
                  <a:lnTo>
                    <a:pt x="115473" y="41287"/>
                  </a:lnTo>
                  <a:lnTo>
                    <a:pt x="199956" y="40245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7" name="Freeform: Shape 2816">
              <a:extLst>
                <a:ext uri="{FF2B5EF4-FFF2-40B4-BE49-F238E27FC236}">
                  <a16:creationId xmlns:a16="http://schemas.microsoft.com/office/drawing/2014/main" id="{1D4BCAE6-8B89-5211-5B49-B96E07953D84}"/>
                </a:ext>
              </a:extLst>
            </p:cNvPr>
            <p:cNvSpPr/>
            <p:nvPr/>
          </p:nvSpPr>
          <p:spPr>
            <a:xfrm>
              <a:off x="9024369" y="3564658"/>
              <a:ext cx="136859" cy="204072"/>
            </a:xfrm>
            <a:custGeom>
              <a:avLst/>
              <a:gdLst>
                <a:gd name="connsiteX0" fmla="*/ 107781 w 136859"/>
                <a:gd name="connsiteY0" fmla="*/ 56668 h 204072"/>
                <a:gd name="connsiteX1" fmla="*/ 105406 w 136859"/>
                <a:gd name="connsiteY1" fmla="*/ 54977 h 204072"/>
                <a:gd name="connsiteX2" fmla="*/ 102709 w 136859"/>
                <a:gd name="connsiteY2" fmla="*/ 54013 h 204072"/>
                <a:gd name="connsiteX3" fmla="*/ 97069 w 136859"/>
                <a:gd name="connsiteY3" fmla="*/ 51692 h 204072"/>
                <a:gd name="connsiteX4" fmla="*/ 91195 w 136859"/>
                <a:gd name="connsiteY4" fmla="*/ 49893 h 204072"/>
                <a:gd name="connsiteX5" fmla="*/ 85256 w 136859"/>
                <a:gd name="connsiteY5" fmla="*/ 47767 h 204072"/>
                <a:gd name="connsiteX6" fmla="*/ 0 w 136859"/>
                <a:gd name="connsiteY6" fmla="*/ 0 h 204072"/>
                <a:gd name="connsiteX7" fmla="*/ 0 w 136859"/>
                <a:gd name="connsiteY7" fmla="*/ 204072 h 204072"/>
                <a:gd name="connsiteX8" fmla="*/ 15742 w 136859"/>
                <a:gd name="connsiteY8" fmla="*/ 178469 h 204072"/>
                <a:gd name="connsiteX9" fmla="*/ 23652 w 136859"/>
                <a:gd name="connsiteY9" fmla="*/ 180467 h 204072"/>
                <a:gd name="connsiteX10" fmla="*/ 24853 w 136859"/>
                <a:gd name="connsiteY10" fmla="*/ 180782 h 204072"/>
                <a:gd name="connsiteX11" fmla="*/ 36425 w 136859"/>
                <a:gd name="connsiteY11" fmla="*/ 184218 h 204072"/>
                <a:gd name="connsiteX12" fmla="*/ 36945 w 136859"/>
                <a:gd name="connsiteY12" fmla="*/ 184377 h 204072"/>
                <a:gd name="connsiteX13" fmla="*/ 37113 w 136859"/>
                <a:gd name="connsiteY13" fmla="*/ 184412 h 204072"/>
                <a:gd name="connsiteX14" fmla="*/ 37490 w 136859"/>
                <a:gd name="connsiteY14" fmla="*/ 184474 h 204072"/>
                <a:gd name="connsiteX15" fmla="*/ 37680 w 136859"/>
                <a:gd name="connsiteY15" fmla="*/ 184494 h 204072"/>
                <a:gd name="connsiteX16" fmla="*/ 38065 w 136859"/>
                <a:gd name="connsiteY16" fmla="*/ 184505 h 204072"/>
                <a:gd name="connsiteX17" fmla="*/ 38240 w 136859"/>
                <a:gd name="connsiteY17" fmla="*/ 184505 h 204072"/>
                <a:gd name="connsiteX18" fmla="*/ 38772 w 136859"/>
                <a:gd name="connsiteY18" fmla="*/ 184459 h 204072"/>
                <a:gd name="connsiteX19" fmla="*/ 38807 w 136859"/>
                <a:gd name="connsiteY19" fmla="*/ 184459 h 204072"/>
                <a:gd name="connsiteX20" fmla="*/ 38908 w 136859"/>
                <a:gd name="connsiteY20" fmla="*/ 184439 h 204072"/>
                <a:gd name="connsiteX21" fmla="*/ 45124 w 136859"/>
                <a:gd name="connsiteY21" fmla="*/ 186523 h 204072"/>
                <a:gd name="connsiteX22" fmla="*/ 48256 w 136859"/>
                <a:gd name="connsiteY22" fmla="*/ 188105 h 204072"/>
                <a:gd name="connsiteX23" fmla="*/ 55094 w 136859"/>
                <a:gd name="connsiteY23" fmla="*/ 190759 h 204072"/>
                <a:gd name="connsiteX24" fmla="*/ 56578 w 136859"/>
                <a:gd name="connsiteY24" fmla="*/ 191436 h 204072"/>
                <a:gd name="connsiteX25" fmla="*/ 59132 w 136859"/>
                <a:gd name="connsiteY25" fmla="*/ 191782 h 204072"/>
                <a:gd name="connsiteX26" fmla="*/ 131822 w 136859"/>
                <a:gd name="connsiteY26" fmla="*/ 137193 h 204072"/>
                <a:gd name="connsiteX27" fmla="*/ 107785 w 136859"/>
                <a:gd name="connsiteY27" fmla="*/ 56675 h 204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859" h="204072">
                  <a:moveTo>
                    <a:pt x="107781" y="56668"/>
                  </a:moveTo>
                  <a:cubicBezTo>
                    <a:pt x="107116" y="55883"/>
                    <a:pt x="106331" y="55307"/>
                    <a:pt x="105406" y="54977"/>
                  </a:cubicBezTo>
                  <a:cubicBezTo>
                    <a:pt x="104462" y="54639"/>
                    <a:pt x="103568" y="54320"/>
                    <a:pt x="102709" y="54013"/>
                  </a:cubicBezTo>
                  <a:cubicBezTo>
                    <a:pt x="100893" y="53166"/>
                    <a:pt x="99012" y="52388"/>
                    <a:pt x="97069" y="51692"/>
                  </a:cubicBezTo>
                  <a:cubicBezTo>
                    <a:pt x="95121" y="50997"/>
                    <a:pt x="93162" y="50402"/>
                    <a:pt x="91195" y="49893"/>
                  </a:cubicBezTo>
                  <a:cubicBezTo>
                    <a:pt x="86247" y="48120"/>
                    <a:pt x="85381" y="47813"/>
                    <a:pt x="85256" y="47767"/>
                  </a:cubicBezTo>
                  <a:cubicBezTo>
                    <a:pt x="74719" y="42235"/>
                    <a:pt x="38333" y="23399"/>
                    <a:pt x="0" y="0"/>
                  </a:cubicBezTo>
                  <a:lnTo>
                    <a:pt x="0" y="204072"/>
                  </a:lnTo>
                  <a:cubicBezTo>
                    <a:pt x="6934" y="193733"/>
                    <a:pt x="12287" y="184645"/>
                    <a:pt x="15742" y="178469"/>
                  </a:cubicBezTo>
                  <a:cubicBezTo>
                    <a:pt x="18618" y="179172"/>
                    <a:pt x="21266" y="179845"/>
                    <a:pt x="23652" y="180467"/>
                  </a:cubicBezTo>
                  <a:cubicBezTo>
                    <a:pt x="24060" y="180572"/>
                    <a:pt x="24461" y="180677"/>
                    <a:pt x="24853" y="180782"/>
                  </a:cubicBezTo>
                  <a:cubicBezTo>
                    <a:pt x="30345" y="182235"/>
                    <a:pt x="34337" y="183421"/>
                    <a:pt x="36425" y="184218"/>
                  </a:cubicBezTo>
                  <a:cubicBezTo>
                    <a:pt x="36596" y="184284"/>
                    <a:pt x="36767" y="184334"/>
                    <a:pt x="36945" y="184377"/>
                  </a:cubicBezTo>
                  <a:cubicBezTo>
                    <a:pt x="37000" y="184389"/>
                    <a:pt x="37054" y="184400"/>
                    <a:pt x="37113" y="184412"/>
                  </a:cubicBezTo>
                  <a:cubicBezTo>
                    <a:pt x="37237" y="184439"/>
                    <a:pt x="37361" y="184459"/>
                    <a:pt x="37490" y="184474"/>
                  </a:cubicBezTo>
                  <a:cubicBezTo>
                    <a:pt x="37552" y="184482"/>
                    <a:pt x="37618" y="184486"/>
                    <a:pt x="37680" y="184494"/>
                  </a:cubicBezTo>
                  <a:cubicBezTo>
                    <a:pt x="37808" y="184501"/>
                    <a:pt x="37937" y="184505"/>
                    <a:pt x="38065" y="184505"/>
                  </a:cubicBezTo>
                  <a:cubicBezTo>
                    <a:pt x="38123" y="184505"/>
                    <a:pt x="38181" y="184505"/>
                    <a:pt x="38240" y="184505"/>
                  </a:cubicBezTo>
                  <a:cubicBezTo>
                    <a:pt x="38415" y="184498"/>
                    <a:pt x="38593" y="184482"/>
                    <a:pt x="38772" y="184459"/>
                  </a:cubicBezTo>
                  <a:cubicBezTo>
                    <a:pt x="38784" y="184459"/>
                    <a:pt x="38796" y="184459"/>
                    <a:pt x="38807" y="184459"/>
                  </a:cubicBezTo>
                  <a:cubicBezTo>
                    <a:pt x="38842" y="184455"/>
                    <a:pt x="38877" y="184447"/>
                    <a:pt x="38908" y="184439"/>
                  </a:cubicBezTo>
                  <a:cubicBezTo>
                    <a:pt x="40199" y="184758"/>
                    <a:pt x="42162" y="185376"/>
                    <a:pt x="45124" y="186523"/>
                  </a:cubicBezTo>
                  <a:cubicBezTo>
                    <a:pt x="46154" y="187071"/>
                    <a:pt x="47195" y="187595"/>
                    <a:pt x="48256" y="188105"/>
                  </a:cubicBezTo>
                  <a:cubicBezTo>
                    <a:pt x="50526" y="189193"/>
                    <a:pt x="52808" y="190071"/>
                    <a:pt x="55094" y="190759"/>
                  </a:cubicBezTo>
                  <a:cubicBezTo>
                    <a:pt x="55576" y="190977"/>
                    <a:pt x="56069" y="191202"/>
                    <a:pt x="56578" y="191436"/>
                  </a:cubicBezTo>
                  <a:cubicBezTo>
                    <a:pt x="57375" y="191801"/>
                    <a:pt x="58230" y="191906"/>
                    <a:pt x="59132" y="191782"/>
                  </a:cubicBezTo>
                  <a:cubicBezTo>
                    <a:pt x="89466" y="197939"/>
                    <a:pt x="119698" y="171076"/>
                    <a:pt x="131822" y="137193"/>
                  </a:cubicBezTo>
                  <a:cubicBezTo>
                    <a:pt x="143860" y="103556"/>
                    <a:pt x="133726" y="71838"/>
                    <a:pt x="107785" y="56675"/>
                  </a:cubicBezTo>
                  <a:close/>
                </a:path>
              </a:pathLst>
            </a:custGeom>
            <a:solidFill>
              <a:srgbClr val="BFE2E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8" name="Freeform: Shape 2817">
              <a:extLst>
                <a:ext uri="{FF2B5EF4-FFF2-40B4-BE49-F238E27FC236}">
                  <a16:creationId xmlns:a16="http://schemas.microsoft.com/office/drawing/2014/main" id="{1242D65F-A9CE-B27F-BF67-CE65FB54AB73}"/>
                </a:ext>
              </a:extLst>
            </p:cNvPr>
            <p:cNvSpPr/>
            <p:nvPr/>
          </p:nvSpPr>
          <p:spPr>
            <a:xfrm>
              <a:off x="9051084" y="3420772"/>
              <a:ext cx="226997" cy="420244"/>
            </a:xfrm>
            <a:custGeom>
              <a:avLst/>
              <a:gdLst>
                <a:gd name="connsiteX0" fmla="*/ 8163 w 226997"/>
                <a:gd name="connsiteY0" fmla="*/ 0 h 420244"/>
                <a:gd name="connsiteX1" fmla="*/ 223705 w 226997"/>
                <a:gd name="connsiteY1" fmla="*/ 0 h 420244"/>
                <a:gd name="connsiteX2" fmla="*/ 226997 w 226997"/>
                <a:gd name="connsiteY2" fmla="*/ 389926 h 420244"/>
                <a:gd name="connsiteX3" fmla="*/ 223705 w 226997"/>
                <a:gd name="connsiteY3" fmla="*/ 420244 h 420244"/>
                <a:gd name="connsiteX4" fmla="*/ 9710 w 226997"/>
                <a:gd name="connsiteY4" fmla="*/ 414845 h 420244"/>
                <a:gd name="connsiteX5" fmla="*/ 0 w 226997"/>
                <a:gd name="connsiteY5" fmla="*/ 390704 h 420244"/>
                <a:gd name="connsiteX6" fmla="*/ 8163 w 226997"/>
                <a:gd name="connsiteY6" fmla="*/ 0 h 420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997" h="420244">
                  <a:moveTo>
                    <a:pt x="8163" y="0"/>
                  </a:moveTo>
                  <a:lnTo>
                    <a:pt x="223705" y="0"/>
                  </a:lnTo>
                  <a:lnTo>
                    <a:pt x="226997" y="389926"/>
                  </a:lnTo>
                  <a:lnTo>
                    <a:pt x="223705" y="420244"/>
                  </a:lnTo>
                  <a:lnTo>
                    <a:pt x="9710" y="414845"/>
                  </a:lnTo>
                  <a:lnTo>
                    <a:pt x="0" y="390704"/>
                  </a:lnTo>
                  <a:lnTo>
                    <a:pt x="8163" y="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9" name="Freeform: Shape 2818">
              <a:extLst>
                <a:ext uri="{FF2B5EF4-FFF2-40B4-BE49-F238E27FC236}">
                  <a16:creationId xmlns:a16="http://schemas.microsoft.com/office/drawing/2014/main" id="{78DFC85C-9C83-EE6F-612A-14526897AC49}"/>
                </a:ext>
              </a:extLst>
            </p:cNvPr>
            <p:cNvSpPr/>
            <p:nvPr/>
          </p:nvSpPr>
          <p:spPr>
            <a:xfrm>
              <a:off x="9043714" y="3402277"/>
              <a:ext cx="246607" cy="451025"/>
            </a:xfrm>
            <a:custGeom>
              <a:avLst/>
              <a:gdLst>
                <a:gd name="connsiteX0" fmla="*/ 211217 w 246607"/>
                <a:gd name="connsiteY0" fmla="*/ 78 h 451025"/>
                <a:gd name="connsiteX1" fmla="*/ 35597 w 246607"/>
                <a:gd name="connsiteY1" fmla="*/ 0 h 451025"/>
                <a:gd name="connsiteX2" fmla="*/ 171 w 246607"/>
                <a:gd name="connsiteY2" fmla="*/ 37070 h 451025"/>
                <a:gd name="connsiteX3" fmla="*/ 0 w 246607"/>
                <a:gd name="connsiteY3" fmla="*/ 413846 h 451025"/>
                <a:gd name="connsiteX4" fmla="*/ 35391 w 246607"/>
                <a:gd name="connsiteY4" fmla="*/ 450947 h 451025"/>
                <a:gd name="connsiteX5" fmla="*/ 211011 w 246607"/>
                <a:gd name="connsiteY5" fmla="*/ 451025 h 451025"/>
                <a:gd name="connsiteX6" fmla="*/ 246436 w 246607"/>
                <a:gd name="connsiteY6" fmla="*/ 413955 h 451025"/>
                <a:gd name="connsiteX7" fmla="*/ 246607 w 246607"/>
                <a:gd name="connsiteY7" fmla="*/ 37179 h 451025"/>
                <a:gd name="connsiteX8" fmla="*/ 211217 w 246607"/>
                <a:gd name="connsiteY8" fmla="*/ 78 h 451025"/>
                <a:gd name="connsiteX9" fmla="*/ 230908 w 246607"/>
                <a:gd name="connsiteY9" fmla="*/ 412020 h 451025"/>
                <a:gd name="connsiteX10" fmla="*/ 213906 w 246607"/>
                <a:gd name="connsiteY10" fmla="*/ 429814 h 451025"/>
                <a:gd name="connsiteX11" fmla="*/ 32522 w 246607"/>
                <a:gd name="connsiteY11" fmla="*/ 429732 h 451025"/>
                <a:gd name="connsiteX12" fmla="*/ 15536 w 246607"/>
                <a:gd name="connsiteY12" fmla="*/ 411922 h 451025"/>
                <a:gd name="connsiteX13" fmla="*/ 15703 w 246607"/>
                <a:gd name="connsiteY13" fmla="*/ 38998 h 451025"/>
                <a:gd name="connsiteX14" fmla="*/ 32705 w 246607"/>
                <a:gd name="connsiteY14" fmla="*/ 21203 h 451025"/>
                <a:gd name="connsiteX15" fmla="*/ 71123 w 246607"/>
                <a:gd name="connsiteY15" fmla="*/ 21219 h 451025"/>
                <a:gd name="connsiteX16" fmla="*/ 79488 w 246607"/>
                <a:gd name="connsiteY16" fmla="*/ 28639 h 451025"/>
                <a:gd name="connsiteX17" fmla="*/ 165883 w 246607"/>
                <a:gd name="connsiteY17" fmla="*/ 28678 h 451025"/>
                <a:gd name="connsiteX18" fmla="*/ 174256 w 246607"/>
                <a:gd name="connsiteY18" fmla="*/ 21265 h 451025"/>
                <a:gd name="connsiteX19" fmla="*/ 214089 w 246607"/>
                <a:gd name="connsiteY19" fmla="*/ 21285 h 451025"/>
                <a:gd name="connsiteX20" fmla="*/ 231075 w 246607"/>
                <a:gd name="connsiteY20" fmla="*/ 39095 h 451025"/>
                <a:gd name="connsiteX21" fmla="*/ 230908 w 246607"/>
                <a:gd name="connsiteY21" fmla="*/ 412020 h 45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46607" h="451025">
                  <a:moveTo>
                    <a:pt x="211217" y="78"/>
                  </a:moveTo>
                  <a:lnTo>
                    <a:pt x="35597" y="0"/>
                  </a:lnTo>
                  <a:cubicBezTo>
                    <a:pt x="16123" y="-8"/>
                    <a:pt x="183" y="16671"/>
                    <a:pt x="171" y="37070"/>
                  </a:cubicBezTo>
                  <a:lnTo>
                    <a:pt x="0" y="413846"/>
                  </a:lnTo>
                  <a:cubicBezTo>
                    <a:pt x="-8" y="434241"/>
                    <a:pt x="15917" y="450940"/>
                    <a:pt x="35391" y="450947"/>
                  </a:cubicBezTo>
                  <a:lnTo>
                    <a:pt x="211011" y="451025"/>
                  </a:lnTo>
                  <a:cubicBezTo>
                    <a:pt x="230484" y="451033"/>
                    <a:pt x="246424" y="434354"/>
                    <a:pt x="246436" y="413955"/>
                  </a:cubicBezTo>
                  <a:lnTo>
                    <a:pt x="246607" y="37179"/>
                  </a:lnTo>
                  <a:cubicBezTo>
                    <a:pt x="246615" y="16784"/>
                    <a:pt x="230690" y="86"/>
                    <a:pt x="211217" y="78"/>
                  </a:cubicBezTo>
                  <a:close/>
                  <a:moveTo>
                    <a:pt x="230908" y="412020"/>
                  </a:moveTo>
                  <a:cubicBezTo>
                    <a:pt x="230904" y="421811"/>
                    <a:pt x="223250" y="429818"/>
                    <a:pt x="213906" y="429814"/>
                  </a:cubicBezTo>
                  <a:lnTo>
                    <a:pt x="32522" y="429732"/>
                  </a:lnTo>
                  <a:cubicBezTo>
                    <a:pt x="23174" y="429728"/>
                    <a:pt x="15532" y="421714"/>
                    <a:pt x="15536" y="411922"/>
                  </a:cubicBezTo>
                  <a:lnTo>
                    <a:pt x="15703" y="38998"/>
                  </a:lnTo>
                  <a:cubicBezTo>
                    <a:pt x="15707" y="29206"/>
                    <a:pt x="23361" y="21199"/>
                    <a:pt x="32705" y="21203"/>
                  </a:cubicBezTo>
                  <a:lnTo>
                    <a:pt x="71123" y="21219"/>
                  </a:lnTo>
                  <a:cubicBezTo>
                    <a:pt x="71804" y="25413"/>
                    <a:pt x="75298" y="28639"/>
                    <a:pt x="79488" y="28639"/>
                  </a:cubicBezTo>
                  <a:lnTo>
                    <a:pt x="165883" y="28678"/>
                  </a:lnTo>
                  <a:cubicBezTo>
                    <a:pt x="170073" y="28678"/>
                    <a:pt x="173571" y="25459"/>
                    <a:pt x="174256" y="21265"/>
                  </a:cubicBezTo>
                  <a:lnTo>
                    <a:pt x="214089" y="21285"/>
                  </a:lnTo>
                  <a:cubicBezTo>
                    <a:pt x="223437" y="21289"/>
                    <a:pt x="231079" y="29304"/>
                    <a:pt x="231075" y="39095"/>
                  </a:cubicBezTo>
                  <a:lnTo>
                    <a:pt x="230908" y="412020"/>
                  </a:lnTo>
                  <a:close/>
                </a:path>
              </a:pathLst>
            </a:custGeom>
            <a:solidFill>
              <a:srgbClr val="16343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0" name="Freeform: Shape 2819">
              <a:extLst>
                <a:ext uri="{FF2B5EF4-FFF2-40B4-BE49-F238E27FC236}">
                  <a16:creationId xmlns:a16="http://schemas.microsoft.com/office/drawing/2014/main" id="{8C6B4A5C-7160-5DA4-2F4C-7C7D474074D6}"/>
                </a:ext>
              </a:extLst>
            </p:cNvPr>
            <p:cNvSpPr/>
            <p:nvPr/>
          </p:nvSpPr>
          <p:spPr>
            <a:xfrm>
              <a:off x="9078253" y="3454250"/>
              <a:ext cx="177528" cy="24825"/>
            </a:xfrm>
            <a:custGeom>
              <a:avLst/>
              <a:gdLst>
                <a:gd name="connsiteX0" fmla="*/ 172864 w 177528"/>
                <a:gd name="connsiteY0" fmla="*/ 0 h 24825"/>
                <a:gd name="connsiteX1" fmla="*/ 177528 w 177528"/>
                <a:gd name="connsiteY1" fmla="*/ 4664 h 24825"/>
                <a:gd name="connsiteX2" fmla="*/ 177528 w 177528"/>
                <a:gd name="connsiteY2" fmla="*/ 20162 h 24825"/>
                <a:gd name="connsiteX3" fmla="*/ 172864 w 177528"/>
                <a:gd name="connsiteY3" fmla="*/ 24826 h 24825"/>
                <a:gd name="connsiteX4" fmla="*/ 4664 w 177528"/>
                <a:gd name="connsiteY4" fmla="*/ 24826 h 24825"/>
                <a:gd name="connsiteX5" fmla="*/ 0 w 177528"/>
                <a:gd name="connsiteY5" fmla="*/ 20162 h 24825"/>
                <a:gd name="connsiteX6" fmla="*/ 0 w 177528"/>
                <a:gd name="connsiteY6" fmla="*/ 4664 h 24825"/>
                <a:gd name="connsiteX7" fmla="*/ 4664 w 177528"/>
                <a:gd name="connsiteY7" fmla="*/ 0 h 2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528" h="24825">
                  <a:moveTo>
                    <a:pt x="172864" y="0"/>
                  </a:moveTo>
                  <a:cubicBezTo>
                    <a:pt x="175440" y="0"/>
                    <a:pt x="177528" y="2088"/>
                    <a:pt x="177528" y="4664"/>
                  </a:cubicBezTo>
                  <a:lnTo>
                    <a:pt x="177528" y="20162"/>
                  </a:lnTo>
                  <a:cubicBezTo>
                    <a:pt x="177528" y="22738"/>
                    <a:pt x="175440" y="24826"/>
                    <a:pt x="172864" y="24826"/>
                  </a:cubicBezTo>
                  <a:lnTo>
                    <a:pt x="4664" y="24826"/>
                  </a:lnTo>
                  <a:cubicBezTo>
                    <a:pt x="2088" y="24826"/>
                    <a:pt x="0" y="22738"/>
                    <a:pt x="0" y="20162"/>
                  </a:cubicBezTo>
                  <a:lnTo>
                    <a:pt x="0" y="4664"/>
                  </a:lnTo>
                  <a:cubicBezTo>
                    <a:pt x="0" y="2088"/>
                    <a:pt x="2088" y="0"/>
                    <a:pt x="4664" y="0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1" name="Freeform: Shape 2820">
              <a:extLst>
                <a:ext uri="{FF2B5EF4-FFF2-40B4-BE49-F238E27FC236}">
                  <a16:creationId xmlns:a16="http://schemas.microsoft.com/office/drawing/2014/main" id="{1107F4F2-C305-6741-3F42-0D71B36CF257}"/>
                </a:ext>
              </a:extLst>
            </p:cNvPr>
            <p:cNvSpPr/>
            <p:nvPr/>
          </p:nvSpPr>
          <p:spPr>
            <a:xfrm>
              <a:off x="9078253" y="3490709"/>
              <a:ext cx="177528" cy="58615"/>
            </a:xfrm>
            <a:custGeom>
              <a:avLst/>
              <a:gdLst>
                <a:gd name="connsiteX0" fmla="*/ 172864 w 177528"/>
                <a:gd name="connsiteY0" fmla="*/ 0 h 58615"/>
                <a:gd name="connsiteX1" fmla="*/ 177528 w 177528"/>
                <a:gd name="connsiteY1" fmla="*/ 4664 h 58615"/>
                <a:gd name="connsiteX2" fmla="*/ 177528 w 177528"/>
                <a:gd name="connsiteY2" fmla="*/ 53951 h 58615"/>
                <a:gd name="connsiteX3" fmla="*/ 172864 w 177528"/>
                <a:gd name="connsiteY3" fmla="*/ 58615 h 58615"/>
                <a:gd name="connsiteX4" fmla="*/ 4664 w 177528"/>
                <a:gd name="connsiteY4" fmla="*/ 58615 h 58615"/>
                <a:gd name="connsiteX5" fmla="*/ 0 w 177528"/>
                <a:gd name="connsiteY5" fmla="*/ 53951 h 58615"/>
                <a:gd name="connsiteX6" fmla="*/ 0 w 177528"/>
                <a:gd name="connsiteY6" fmla="*/ 4664 h 58615"/>
                <a:gd name="connsiteX7" fmla="*/ 4664 w 177528"/>
                <a:gd name="connsiteY7" fmla="*/ 0 h 5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528" h="58615">
                  <a:moveTo>
                    <a:pt x="172864" y="0"/>
                  </a:moveTo>
                  <a:cubicBezTo>
                    <a:pt x="175440" y="0"/>
                    <a:pt x="177528" y="2088"/>
                    <a:pt x="177528" y="4664"/>
                  </a:cubicBezTo>
                  <a:lnTo>
                    <a:pt x="177528" y="53951"/>
                  </a:lnTo>
                  <a:cubicBezTo>
                    <a:pt x="177528" y="56527"/>
                    <a:pt x="175440" y="58615"/>
                    <a:pt x="172864" y="58615"/>
                  </a:cubicBezTo>
                  <a:lnTo>
                    <a:pt x="4664" y="58615"/>
                  </a:lnTo>
                  <a:cubicBezTo>
                    <a:pt x="2088" y="58615"/>
                    <a:pt x="0" y="56527"/>
                    <a:pt x="0" y="53951"/>
                  </a:cubicBezTo>
                  <a:lnTo>
                    <a:pt x="0" y="4664"/>
                  </a:lnTo>
                  <a:cubicBezTo>
                    <a:pt x="0" y="2088"/>
                    <a:pt x="2088" y="0"/>
                    <a:pt x="4664" y="0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2" name="Freeform: Shape 2821">
              <a:extLst>
                <a:ext uri="{FF2B5EF4-FFF2-40B4-BE49-F238E27FC236}">
                  <a16:creationId xmlns:a16="http://schemas.microsoft.com/office/drawing/2014/main" id="{B276D78D-F5D5-829F-7DDC-6B7C96093F65}"/>
                </a:ext>
              </a:extLst>
            </p:cNvPr>
            <p:cNvSpPr/>
            <p:nvPr/>
          </p:nvSpPr>
          <p:spPr>
            <a:xfrm>
              <a:off x="9078253" y="3751725"/>
              <a:ext cx="177528" cy="58615"/>
            </a:xfrm>
            <a:custGeom>
              <a:avLst/>
              <a:gdLst>
                <a:gd name="connsiteX0" fmla="*/ 172864 w 177528"/>
                <a:gd name="connsiteY0" fmla="*/ 0 h 58615"/>
                <a:gd name="connsiteX1" fmla="*/ 177528 w 177528"/>
                <a:gd name="connsiteY1" fmla="*/ 4664 h 58615"/>
                <a:gd name="connsiteX2" fmla="*/ 177528 w 177528"/>
                <a:gd name="connsiteY2" fmla="*/ 53951 h 58615"/>
                <a:gd name="connsiteX3" fmla="*/ 172864 w 177528"/>
                <a:gd name="connsiteY3" fmla="*/ 58615 h 58615"/>
                <a:gd name="connsiteX4" fmla="*/ 4664 w 177528"/>
                <a:gd name="connsiteY4" fmla="*/ 58615 h 58615"/>
                <a:gd name="connsiteX5" fmla="*/ 0 w 177528"/>
                <a:gd name="connsiteY5" fmla="*/ 53951 h 58615"/>
                <a:gd name="connsiteX6" fmla="*/ 0 w 177528"/>
                <a:gd name="connsiteY6" fmla="*/ 4664 h 58615"/>
                <a:gd name="connsiteX7" fmla="*/ 4664 w 177528"/>
                <a:gd name="connsiteY7" fmla="*/ 0 h 5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528" h="58615">
                  <a:moveTo>
                    <a:pt x="172864" y="0"/>
                  </a:moveTo>
                  <a:cubicBezTo>
                    <a:pt x="175440" y="0"/>
                    <a:pt x="177528" y="2088"/>
                    <a:pt x="177528" y="4664"/>
                  </a:cubicBezTo>
                  <a:lnTo>
                    <a:pt x="177528" y="53951"/>
                  </a:lnTo>
                  <a:cubicBezTo>
                    <a:pt x="177528" y="56527"/>
                    <a:pt x="175440" y="58615"/>
                    <a:pt x="172864" y="58615"/>
                  </a:cubicBezTo>
                  <a:lnTo>
                    <a:pt x="4664" y="58615"/>
                  </a:lnTo>
                  <a:cubicBezTo>
                    <a:pt x="2088" y="58615"/>
                    <a:pt x="0" y="56527"/>
                    <a:pt x="0" y="53951"/>
                  </a:cubicBezTo>
                  <a:lnTo>
                    <a:pt x="0" y="4664"/>
                  </a:lnTo>
                  <a:cubicBezTo>
                    <a:pt x="0" y="2088"/>
                    <a:pt x="2088" y="0"/>
                    <a:pt x="4664" y="0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3" name="Freeform: Shape 2822">
              <a:extLst>
                <a:ext uri="{FF2B5EF4-FFF2-40B4-BE49-F238E27FC236}">
                  <a16:creationId xmlns:a16="http://schemas.microsoft.com/office/drawing/2014/main" id="{94469C03-A586-0378-6905-9C17E9984F2B}"/>
                </a:ext>
              </a:extLst>
            </p:cNvPr>
            <p:cNvSpPr/>
            <p:nvPr/>
          </p:nvSpPr>
          <p:spPr>
            <a:xfrm>
              <a:off x="9078253" y="3559862"/>
              <a:ext cx="177528" cy="179475"/>
            </a:xfrm>
            <a:custGeom>
              <a:avLst/>
              <a:gdLst>
                <a:gd name="connsiteX0" fmla="*/ 172864 w 177528"/>
                <a:gd name="connsiteY0" fmla="*/ 0 h 179475"/>
                <a:gd name="connsiteX1" fmla="*/ 177528 w 177528"/>
                <a:gd name="connsiteY1" fmla="*/ 4664 h 179475"/>
                <a:gd name="connsiteX2" fmla="*/ 177528 w 177528"/>
                <a:gd name="connsiteY2" fmla="*/ 174811 h 179475"/>
                <a:gd name="connsiteX3" fmla="*/ 172864 w 177528"/>
                <a:gd name="connsiteY3" fmla="*/ 179476 h 179475"/>
                <a:gd name="connsiteX4" fmla="*/ 4664 w 177528"/>
                <a:gd name="connsiteY4" fmla="*/ 179476 h 179475"/>
                <a:gd name="connsiteX5" fmla="*/ 0 w 177528"/>
                <a:gd name="connsiteY5" fmla="*/ 174811 h 179475"/>
                <a:gd name="connsiteX6" fmla="*/ 0 w 177528"/>
                <a:gd name="connsiteY6" fmla="*/ 4664 h 179475"/>
                <a:gd name="connsiteX7" fmla="*/ 4664 w 177528"/>
                <a:gd name="connsiteY7" fmla="*/ 0 h 17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528" h="179475">
                  <a:moveTo>
                    <a:pt x="172864" y="0"/>
                  </a:moveTo>
                  <a:cubicBezTo>
                    <a:pt x="175440" y="0"/>
                    <a:pt x="177528" y="2088"/>
                    <a:pt x="177528" y="4664"/>
                  </a:cubicBezTo>
                  <a:lnTo>
                    <a:pt x="177528" y="174811"/>
                  </a:lnTo>
                  <a:cubicBezTo>
                    <a:pt x="177528" y="177387"/>
                    <a:pt x="175440" y="179476"/>
                    <a:pt x="172864" y="179476"/>
                  </a:cubicBezTo>
                  <a:lnTo>
                    <a:pt x="4664" y="179476"/>
                  </a:lnTo>
                  <a:cubicBezTo>
                    <a:pt x="2088" y="179476"/>
                    <a:pt x="0" y="177387"/>
                    <a:pt x="0" y="174811"/>
                  </a:cubicBezTo>
                  <a:lnTo>
                    <a:pt x="0" y="4664"/>
                  </a:lnTo>
                  <a:cubicBezTo>
                    <a:pt x="0" y="2088"/>
                    <a:pt x="2088" y="0"/>
                    <a:pt x="4664" y="0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4" name="Freeform: Shape 2823">
              <a:extLst>
                <a:ext uri="{FF2B5EF4-FFF2-40B4-BE49-F238E27FC236}">
                  <a16:creationId xmlns:a16="http://schemas.microsoft.com/office/drawing/2014/main" id="{E46FB4DC-3B5F-F8F3-4381-1D1AA3B959CD}"/>
                </a:ext>
              </a:extLst>
            </p:cNvPr>
            <p:cNvSpPr/>
            <p:nvPr/>
          </p:nvSpPr>
          <p:spPr>
            <a:xfrm>
              <a:off x="9128512" y="3535390"/>
              <a:ext cx="254042" cy="259577"/>
            </a:xfrm>
            <a:custGeom>
              <a:avLst/>
              <a:gdLst>
                <a:gd name="connsiteX0" fmla="*/ 254043 w 254042"/>
                <a:gd name="connsiteY0" fmla="*/ 48750 h 259577"/>
                <a:gd name="connsiteX1" fmla="*/ 47860 w 254042"/>
                <a:gd name="connsiteY1" fmla="*/ 129789 h 259577"/>
                <a:gd name="connsiteX2" fmla="*/ 254043 w 254042"/>
                <a:gd name="connsiteY2" fmla="*/ 208523 h 259577"/>
                <a:gd name="connsiteX3" fmla="*/ 254043 w 254042"/>
                <a:gd name="connsiteY3" fmla="*/ 259578 h 259577"/>
                <a:gd name="connsiteX4" fmla="*/ 0 w 254042"/>
                <a:gd name="connsiteY4" fmla="*/ 129789 h 259577"/>
                <a:gd name="connsiteX5" fmla="*/ 254043 w 254042"/>
                <a:gd name="connsiteY5" fmla="*/ 0 h 259577"/>
                <a:gd name="connsiteX6" fmla="*/ 254043 w 254042"/>
                <a:gd name="connsiteY6" fmla="*/ 48754 h 25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042" h="259577">
                  <a:moveTo>
                    <a:pt x="254043" y="48750"/>
                  </a:moveTo>
                  <a:cubicBezTo>
                    <a:pt x="204854" y="48703"/>
                    <a:pt x="47860" y="42235"/>
                    <a:pt x="47860" y="129789"/>
                  </a:cubicBezTo>
                  <a:cubicBezTo>
                    <a:pt x="47860" y="217342"/>
                    <a:pt x="204850" y="208585"/>
                    <a:pt x="254043" y="208523"/>
                  </a:cubicBezTo>
                  <a:lnTo>
                    <a:pt x="254043" y="259578"/>
                  </a:lnTo>
                  <a:cubicBezTo>
                    <a:pt x="182360" y="259578"/>
                    <a:pt x="0" y="259461"/>
                    <a:pt x="0" y="129789"/>
                  </a:cubicBezTo>
                  <a:cubicBezTo>
                    <a:pt x="0" y="117"/>
                    <a:pt x="182360" y="0"/>
                    <a:pt x="254043" y="0"/>
                  </a:cubicBezTo>
                  <a:lnTo>
                    <a:pt x="254043" y="48754"/>
                  </a:lnTo>
                  <a:close/>
                </a:path>
              </a:pathLst>
            </a:custGeom>
            <a:solidFill>
              <a:srgbClr val="2E73B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5" name="Freeform: Shape 2824">
              <a:extLst>
                <a:ext uri="{FF2B5EF4-FFF2-40B4-BE49-F238E27FC236}">
                  <a16:creationId xmlns:a16="http://schemas.microsoft.com/office/drawing/2014/main" id="{51B4D913-D340-B6CD-5CDD-24DBE0809E72}"/>
                </a:ext>
              </a:extLst>
            </p:cNvPr>
            <p:cNvSpPr/>
            <p:nvPr/>
          </p:nvSpPr>
          <p:spPr>
            <a:xfrm>
              <a:off x="9313367" y="3535386"/>
              <a:ext cx="69191" cy="49865"/>
            </a:xfrm>
            <a:custGeom>
              <a:avLst/>
              <a:gdLst>
                <a:gd name="connsiteX0" fmla="*/ 0 w 69191"/>
                <a:gd name="connsiteY0" fmla="*/ 49866 h 49865"/>
                <a:gd name="connsiteX1" fmla="*/ 0 w 69191"/>
                <a:gd name="connsiteY1" fmla="*/ 1990 h 49865"/>
                <a:gd name="connsiteX2" fmla="*/ 69191 w 69191"/>
                <a:gd name="connsiteY2" fmla="*/ 0 h 49865"/>
                <a:gd name="connsiteX3" fmla="*/ 69191 w 69191"/>
                <a:gd name="connsiteY3" fmla="*/ 48754 h 49865"/>
                <a:gd name="connsiteX4" fmla="*/ 0 w 69191"/>
                <a:gd name="connsiteY4" fmla="*/ 49866 h 49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191" h="49865">
                  <a:moveTo>
                    <a:pt x="0" y="49866"/>
                  </a:moveTo>
                  <a:lnTo>
                    <a:pt x="0" y="1990"/>
                  </a:lnTo>
                  <a:cubicBezTo>
                    <a:pt x="26886" y="8"/>
                    <a:pt x="51432" y="0"/>
                    <a:pt x="69191" y="0"/>
                  </a:cubicBezTo>
                  <a:lnTo>
                    <a:pt x="69191" y="48754"/>
                  </a:lnTo>
                  <a:cubicBezTo>
                    <a:pt x="53896" y="48738"/>
                    <a:pt x="28180" y="48105"/>
                    <a:pt x="0" y="49866"/>
                  </a:cubicBez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6" name="Freeform: Shape 2825">
              <a:extLst>
                <a:ext uri="{FF2B5EF4-FFF2-40B4-BE49-F238E27FC236}">
                  <a16:creationId xmlns:a16="http://schemas.microsoft.com/office/drawing/2014/main" id="{59EDCC53-4FD8-8D74-2B2A-15AF84B44FBE}"/>
                </a:ext>
              </a:extLst>
            </p:cNvPr>
            <p:cNvSpPr/>
            <p:nvPr/>
          </p:nvSpPr>
          <p:spPr>
            <a:xfrm>
              <a:off x="9313367" y="3743329"/>
              <a:ext cx="69191" cy="51634"/>
            </a:xfrm>
            <a:custGeom>
              <a:avLst/>
              <a:gdLst>
                <a:gd name="connsiteX0" fmla="*/ 0 w 69191"/>
                <a:gd name="connsiteY0" fmla="*/ 4 h 51634"/>
                <a:gd name="connsiteX1" fmla="*/ 69191 w 69191"/>
                <a:gd name="connsiteY1" fmla="*/ 579 h 51634"/>
                <a:gd name="connsiteX2" fmla="*/ 69191 w 69191"/>
                <a:gd name="connsiteY2" fmla="*/ 51634 h 51634"/>
                <a:gd name="connsiteX3" fmla="*/ 0 w 69191"/>
                <a:gd name="connsiteY3" fmla="*/ 49644 h 51634"/>
                <a:gd name="connsiteX4" fmla="*/ 0 w 69191"/>
                <a:gd name="connsiteY4" fmla="*/ 0 h 51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191" h="51634">
                  <a:moveTo>
                    <a:pt x="0" y="4"/>
                  </a:moveTo>
                  <a:cubicBezTo>
                    <a:pt x="28180" y="1461"/>
                    <a:pt x="53896" y="599"/>
                    <a:pt x="69191" y="579"/>
                  </a:cubicBezTo>
                  <a:lnTo>
                    <a:pt x="69191" y="51634"/>
                  </a:lnTo>
                  <a:cubicBezTo>
                    <a:pt x="51436" y="51634"/>
                    <a:pt x="26886" y="51626"/>
                    <a:pt x="0" y="496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827" name="Graphic 2796">
              <a:extLst>
                <a:ext uri="{FF2B5EF4-FFF2-40B4-BE49-F238E27FC236}">
                  <a16:creationId xmlns:a16="http://schemas.microsoft.com/office/drawing/2014/main" id="{F68D8E31-5C7D-DB36-0059-D982CAC82B22}"/>
                </a:ext>
              </a:extLst>
            </p:cNvPr>
            <p:cNvGrpSpPr/>
            <p:nvPr/>
          </p:nvGrpSpPr>
          <p:grpSpPr>
            <a:xfrm>
              <a:off x="9128512" y="3535386"/>
              <a:ext cx="254046" cy="259581"/>
              <a:chOff x="9128512" y="3535386"/>
              <a:chExt cx="254046" cy="259581"/>
            </a:xfrm>
          </p:grpSpPr>
          <p:sp>
            <p:nvSpPr>
              <p:cNvPr id="2828" name="Freeform: Shape 2827">
                <a:extLst>
                  <a:ext uri="{FF2B5EF4-FFF2-40B4-BE49-F238E27FC236}">
                    <a16:creationId xmlns:a16="http://schemas.microsoft.com/office/drawing/2014/main" id="{8CB05F02-DE8E-4E83-D3D9-E9D5CBF0A6E5}"/>
                  </a:ext>
                </a:extLst>
              </p:cNvPr>
              <p:cNvSpPr/>
              <p:nvPr/>
            </p:nvSpPr>
            <p:spPr>
              <a:xfrm>
                <a:off x="9128512" y="3535390"/>
                <a:ext cx="254042" cy="259577"/>
              </a:xfrm>
              <a:custGeom>
                <a:avLst/>
                <a:gdLst>
                  <a:gd name="connsiteX0" fmla="*/ 254043 w 254042"/>
                  <a:gd name="connsiteY0" fmla="*/ 48750 h 259577"/>
                  <a:gd name="connsiteX1" fmla="*/ 47860 w 254042"/>
                  <a:gd name="connsiteY1" fmla="*/ 129789 h 259577"/>
                  <a:gd name="connsiteX2" fmla="*/ 254043 w 254042"/>
                  <a:gd name="connsiteY2" fmla="*/ 208523 h 259577"/>
                  <a:gd name="connsiteX3" fmla="*/ 254043 w 254042"/>
                  <a:gd name="connsiteY3" fmla="*/ 259578 h 259577"/>
                  <a:gd name="connsiteX4" fmla="*/ 0 w 254042"/>
                  <a:gd name="connsiteY4" fmla="*/ 129789 h 259577"/>
                  <a:gd name="connsiteX5" fmla="*/ 254043 w 254042"/>
                  <a:gd name="connsiteY5" fmla="*/ 0 h 259577"/>
                  <a:gd name="connsiteX6" fmla="*/ 254043 w 254042"/>
                  <a:gd name="connsiteY6" fmla="*/ 48754 h 259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042" h="259577">
                    <a:moveTo>
                      <a:pt x="254043" y="48750"/>
                    </a:moveTo>
                    <a:cubicBezTo>
                      <a:pt x="204854" y="48703"/>
                      <a:pt x="47860" y="42235"/>
                      <a:pt x="47860" y="129789"/>
                    </a:cubicBezTo>
                    <a:cubicBezTo>
                      <a:pt x="47860" y="217342"/>
                      <a:pt x="204850" y="208585"/>
                      <a:pt x="254043" y="208523"/>
                    </a:cubicBezTo>
                    <a:lnTo>
                      <a:pt x="254043" y="259578"/>
                    </a:lnTo>
                    <a:cubicBezTo>
                      <a:pt x="182360" y="259578"/>
                      <a:pt x="0" y="259461"/>
                      <a:pt x="0" y="129789"/>
                    </a:cubicBezTo>
                    <a:cubicBezTo>
                      <a:pt x="0" y="117"/>
                      <a:pt x="182360" y="0"/>
                      <a:pt x="254043" y="0"/>
                    </a:cubicBezTo>
                    <a:lnTo>
                      <a:pt x="254043" y="48754"/>
                    </a:lnTo>
                    <a:close/>
                  </a:path>
                </a:pathLst>
              </a:custGeom>
              <a:solidFill>
                <a:srgbClr val="2E73B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29" name="Freeform: Shape 2828">
                <a:extLst>
                  <a:ext uri="{FF2B5EF4-FFF2-40B4-BE49-F238E27FC236}">
                    <a16:creationId xmlns:a16="http://schemas.microsoft.com/office/drawing/2014/main" id="{9ACC09D6-CBD3-0998-E365-5C6BCD086A56}"/>
                  </a:ext>
                </a:extLst>
              </p:cNvPr>
              <p:cNvSpPr/>
              <p:nvPr/>
            </p:nvSpPr>
            <p:spPr>
              <a:xfrm>
                <a:off x="9313367" y="3535386"/>
                <a:ext cx="69191" cy="49865"/>
              </a:xfrm>
              <a:custGeom>
                <a:avLst/>
                <a:gdLst>
                  <a:gd name="connsiteX0" fmla="*/ 0 w 69191"/>
                  <a:gd name="connsiteY0" fmla="*/ 49866 h 49865"/>
                  <a:gd name="connsiteX1" fmla="*/ 0 w 69191"/>
                  <a:gd name="connsiteY1" fmla="*/ 1990 h 49865"/>
                  <a:gd name="connsiteX2" fmla="*/ 69191 w 69191"/>
                  <a:gd name="connsiteY2" fmla="*/ 0 h 49865"/>
                  <a:gd name="connsiteX3" fmla="*/ 69191 w 69191"/>
                  <a:gd name="connsiteY3" fmla="*/ 48754 h 49865"/>
                  <a:gd name="connsiteX4" fmla="*/ 0 w 69191"/>
                  <a:gd name="connsiteY4" fmla="*/ 49866 h 49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191" h="49865">
                    <a:moveTo>
                      <a:pt x="0" y="49866"/>
                    </a:moveTo>
                    <a:lnTo>
                      <a:pt x="0" y="1990"/>
                    </a:lnTo>
                    <a:cubicBezTo>
                      <a:pt x="26886" y="8"/>
                      <a:pt x="51432" y="0"/>
                      <a:pt x="69191" y="0"/>
                    </a:cubicBezTo>
                    <a:lnTo>
                      <a:pt x="69191" y="48754"/>
                    </a:lnTo>
                    <a:cubicBezTo>
                      <a:pt x="53896" y="48738"/>
                      <a:pt x="28180" y="48105"/>
                      <a:pt x="0" y="49866"/>
                    </a:cubicBez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30" name="Freeform: Shape 2829">
                <a:extLst>
                  <a:ext uri="{FF2B5EF4-FFF2-40B4-BE49-F238E27FC236}">
                    <a16:creationId xmlns:a16="http://schemas.microsoft.com/office/drawing/2014/main" id="{790BB833-B273-4B3D-7B6B-C443FD16D225}"/>
                  </a:ext>
                </a:extLst>
              </p:cNvPr>
              <p:cNvSpPr/>
              <p:nvPr/>
            </p:nvSpPr>
            <p:spPr>
              <a:xfrm>
                <a:off x="9313367" y="3743329"/>
                <a:ext cx="69191" cy="51634"/>
              </a:xfrm>
              <a:custGeom>
                <a:avLst/>
                <a:gdLst>
                  <a:gd name="connsiteX0" fmla="*/ 0 w 69191"/>
                  <a:gd name="connsiteY0" fmla="*/ 4 h 51634"/>
                  <a:gd name="connsiteX1" fmla="*/ 69191 w 69191"/>
                  <a:gd name="connsiteY1" fmla="*/ 579 h 51634"/>
                  <a:gd name="connsiteX2" fmla="*/ 69191 w 69191"/>
                  <a:gd name="connsiteY2" fmla="*/ 51634 h 51634"/>
                  <a:gd name="connsiteX3" fmla="*/ 0 w 69191"/>
                  <a:gd name="connsiteY3" fmla="*/ 49644 h 51634"/>
                  <a:gd name="connsiteX4" fmla="*/ 0 w 69191"/>
                  <a:gd name="connsiteY4" fmla="*/ 0 h 51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191" h="51634">
                    <a:moveTo>
                      <a:pt x="0" y="4"/>
                    </a:moveTo>
                    <a:cubicBezTo>
                      <a:pt x="28180" y="1461"/>
                      <a:pt x="53896" y="599"/>
                      <a:pt x="69191" y="579"/>
                    </a:cubicBezTo>
                    <a:lnTo>
                      <a:pt x="69191" y="51634"/>
                    </a:lnTo>
                    <a:cubicBezTo>
                      <a:pt x="51436" y="51634"/>
                      <a:pt x="26886" y="51626"/>
                      <a:pt x="0" y="4964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831" name="Freeform: Shape 2830">
              <a:extLst>
                <a:ext uri="{FF2B5EF4-FFF2-40B4-BE49-F238E27FC236}">
                  <a16:creationId xmlns:a16="http://schemas.microsoft.com/office/drawing/2014/main" id="{1CDC1A9F-2310-B5B9-81BB-240B60B99097}"/>
                </a:ext>
              </a:extLst>
            </p:cNvPr>
            <p:cNvSpPr/>
            <p:nvPr/>
          </p:nvSpPr>
          <p:spPr>
            <a:xfrm>
              <a:off x="9105505" y="3535390"/>
              <a:ext cx="254042" cy="259577"/>
            </a:xfrm>
            <a:custGeom>
              <a:avLst/>
              <a:gdLst>
                <a:gd name="connsiteX0" fmla="*/ 254043 w 254042"/>
                <a:gd name="connsiteY0" fmla="*/ 48750 h 259577"/>
                <a:gd name="connsiteX1" fmla="*/ 47860 w 254042"/>
                <a:gd name="connsiteY1" fmla="*/ 129789 h 259577"/>
                <a:gd name="connsiteX2" fmla="*/ 254043 w 254042"/>
                <a:gd name="connsiteY2" fmla="*/ 208523 h 259577"/>
                <a:gd name="connsiteX3" fmla="*/ 254043 w 254042"/>
                <a:gd name="connsiteY3" fmla="*/ 259578 h 259577"/>
                <a:gd name="connsiteX4" fmla="*/ 0 w 254042"/>
                <a:gd name="connsiteY4" fmla="*/ 129789 h 259577"/>
                <a:gd name="connsiteX5" fmla="*/ 254043 w 254042"/>
                <a:gd name="connsiteY5" fmla="*/ 0 h 259577"/>
                <a:gd name="connsiteX6" fmla="*/ 254043 w 254042"/>
                <a:gd name="connsiteY6" fmla="*/ 48754 h 25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042" h="259577">
                  <a:moveTo>
                    <a:pt x="254043" y="48750"/>
                  </a:moveTo>
                  <a:cubicBezTo>
                    <a:pt x="204854" y="48703"/>
                    <a:pt x="47860" y="42235"/>
                    <a:pt x="47860" y="129789"/>
                  </a:cubicBezTo>
                  <a:cubicBezTo>
                    <a:pt x="47860" y="217342"/>
                    <a:pt x="204850" y="208585"/>
                    <a:pt x="254043" y="208523"/>
                  </a:cubicBezTo>
                  <a:lnTo>
                    <a:pt x="254043" y="259578"/>
                  </a:lnTo>
                  <a:cubicBezTo>
                    <a:pt x="182360" y="259578"/>
                    <a:pt x="0" y="259461"/>
                    <a:pt x="0" y="129789"/>
                  </a:cubicBezTo>
                  <a:cubicBezTo>
                    <a:pt x="0" y="117"/>
                    <a:pt x="182360" y="0"/>
                    <a:pt x="254043" y="0"/>
                  </a:cubicBezTo>
                  <a:lnTo>
                    <a:pt x="254043" y="48754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2" name="Freeform: Shape 2831">
              <a:extLst>
                <a:ext uri="{FF2B5EF4-FFF2-40B4-BE49-F238E27FC236}">
                  <a16:creationId xmlns:a16="http://schemas.microsoft.com/office/drawing/2014/main" id="{9E2EDB46-77D6-7069-FFFF-56F11E1D2AE4}"/>
                </a:ext>
              </a:extLst>
            </p:cNvPr>
            <p:cNvSpPr/>
            <p:nvPr/>
          </p:nvSpPr>
          <p:spPr>
            <a:xfrm>
              <a:off x="9290356" y="3535386"/>
              <a:ext cx="69191" cy="49865"/>
            </a:xfrm>
            <a:custGeom>
              <a:avLst/>
              <a:gdLst>
                <a:gd name="connsiteX0" fmla="*/ 0 w 69191"/>
                <a:gd name="connsiteY0" fmla="*/ 49866 h 49865"/>
                <a:gd name="connsiteX1" fmla="*/ 0 w 69191"/>
                <a:gd name="connsiteY1" fmla="*/ 1990 h 49865"/>
                <a:gd name="connsiteX2" fmla="*/ 69191 w 69191"/>
                <a:gd name="connsiteY2" fmla="*/ 0 h 49865"/>
                <a:gd name="connsiteX3" fmla="*/ 69191 w 69191"/>
                <a:gd name="connsiteY3" fmla="*/ 48754 h 49865"/>
                <a:gd name="connsiteX4" fmla="*/ 0 w 69191"/>
                <a:gd name="connsiteY4" fmla="*/ 49866 h 49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191" h="49865">
                  <a:moveTo>
                    <a:pt x="0" y="49866"/>
                  </a:moveTo>
                  <a:lnTo>
                    <a:pt x="0" y="1990"/>
                  </a:lnTo>
                  <a:cubicBezTo>
                    <a:pt x="26886" y="8"/>
                    <a:pt x="51432" y="0"/>
                    <a:pt x="69191" y="0"/>
                  </a:cubicBezTo>
                  <a:lnTo>
                    <a:pt x="69191" y="48754"/>
                  </a:lnTo>
                  <a:cubicBezTo>
                    <a:pt x="53896" y="48738"/>
                    <a:pt x="28180" y="48105"/>
                    <a:pt x="0" y="49866"/>
                  </a:cubicBez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3" name="Freeform: Shape 2832">
              <a:extLst>
                <a:ext uri="{FF2B5EF4-FFF2-40B4-BE49-F238E27FC236}">
                  <a16:creationId xmlns:a16="http://schemas.microsoft.com/office/drawing/2014/main" id="{31939E2B-7439-F21C-F0F9-A187FECB40DF}"/>
                </a:ext>
              </a:extLst>
            </p:cNvPr>
            <p:cNvSpPr/>
            <p:nvPr/>
          </p:nvSpPr>
          <p:spPr>
            <a:xfrm>
              <a:off x="9290356" y="3743329"/>
              <a:ext cx="69191" cy="51634"/>
            </a:xfrm>
            <a:custGeom>
              <a:avLst/>
              <a:gdLst>
                <a:gd name="connsiteX0" fmla="*/ 0 w 69191"/>
                <a:gd name="connsiteY0" fmla="*/ 4 h 51634"/>
                <a:gd name="connsiteX1" fmla="*/ 69191 w 69191"/>
                <a:gd name="connsiteY1" fmla="*/ 579 h 51634"/>
                <a:gd name="connsiteX2" fmla="*/ 69191 w 69191"/>
                <a:gd name="connsiteY2" fmla="*/ 51634 h 51634"/>
                <a:gd name="connsiteX3" fmla="*/ 0 w 69191"/>
                <a:gd name="connsiteY3" fmla="*/ 49644 h 51634"/>
                <a:gd name="connsiteX4" fmla="*/ 0 w 69191"/>
                <a:gd name="connsiteY4" fmla="*/ 0 h 51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191" h="51634">
                  <a:moveTo>
                    <a:pt x="0" y="4"/>
                  </a:moveTo>
                  <a:cubicBezTo>
                    <a:pt x="28180" y="1461"/>
                    <a:pt x="53896" y="599"/>
                    <a:pt x="69191" y="579"/>
                  </a:cubicBezTo>
                  <a:lnTo>
                    <a:pt x="69191" y="51634"/>
                  </a:lnTo>
                  <a:cubicBezTo>
                    <a:pt x="51436" y="51634"/>
                    <a:pt x="26886" y="51626"/>
                    <a:pt x="0" y="496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4" name="Freeform: Shape 2833">
              <a:extLst>
                <a:ext uri="{FF2B5EF4-FFF2-40B4-BE49-F238E27FC236}">
                  <a16:creationId xmlns:a16="http://schemas.microsoft.com/office/drawing/2014/main" id="{5272427A-DB67-A11D-C5A9-37AA3452C89C}"/>
                </a:ext>
              </a:extLst>
            </p:cNvPr>
            <p:cNvSpPr/>
            <p:nvPr/>
          </p:nvSpPr>
          <p:spPr>
            <a:xfrm>
              <a:off x="8981112" y="3678645"/>
              <a:ext cx="38297" cy="198695"/>
            </a:xfrm>
            <a:custGeom>
              <a:avLst/>
              <a:gdLst>
                <a:gd name="connsiteX0" fmla="*/ 38161 w 38297"/>
                <a:gd name="connsiteY0" fmla="*/ 19188 h 198695"/>
                <a:gd name="connsiteX1" fmla="*/ 38122 w 38297"/>
                <a:gd name="connsiteY1" fmla="*/ 26604 h 198695"/>
                <a:gd name="connsiteX2" fmla="*/ 38107 w 38297"/>
                <a:gd name="connsiteY2" fmla="*/ 35109 h 198695"/>
                <a:gd name="connsiteX3" fmla="*/ 38103 w 38297"/>
                <a:gd name="connsiteY3" fmla="*/ 46136 h 198695"/>
                <a:gd name="connsiteX4" fmla="*/ 38165 w 38297"/>
                <a:gd name="connsiteY4" fmla="*/ 73745 h 198695"/>
                <a:gd name="connsiteX5" fmla="*/ 38289 w 38297"/>
                <a:gd name="connsiteY5" fmla="*/ 105424 h 198695"/>
                <a:gd name="connsiteX6" fmla="*/ 38297 w 38297"/>
                <a:gd name="connsiteY6" fmla="*/ 113575 h 198695"/>
                <a:gd name="connsiteX7" fmla="*/ 38274 w 38297"/>
                <a:gd name="connsiteY7" fmla="*/ 117683 h 198695"/>
                <a:gd name="connsiteX8" fmla="*/ 38227 w 38297"/>
                <a:gd name="connsiteY8" fmla="*/ 121706 h 198695"/>
                <a:gd name="connsiteX9" fmla="*/ 37998 w 38297"/>
                <a:gd name="connsiteY9" fmla="*/ 137320 h 198695"/>
                <a:gd name="connsiteX10" fmla="*/ 37524 w 38297"/>
                <a:gd name="connsiteY10" fmla="*/ 164909 h 198695"/>
                <a:gd name="connsiteX11" fmla="*/ 37341 w 38297"/>
                <a:gd name="connsiteY11" fmla="*/ 175917 h 198695"/>
                <a:gd name="connsiteX12" fmla="*/ 37213 w 38297"/>
                <a:gd name="connsiteY12" fmla="*/ 184402 h 198695"/>
                <a:gd name="connsiteX13" fmla="*/ 37119 w 38297"/>
                <a:gd name="connsiteY13" fmla="*/ 191799 h 198695"/>
                <a:gd name="connsiteX14" fmla="*/ 30045 w 38297"/>
                <a:gd name="connsiteY14" fmla="*/ 198695 h 198695"/>
                <a:gd name="connsiteX15" fmla="*/ 23177 w 38297"/>
                <a:gd name="connsiteY15" fmla="*/ 192347 h 198695"/>
                <a:gd name="connsiteX16" fmla="*/ 23177 w 38297"/>
                <a:gd name="connsiteY16" fmla="*/ 192297 h 198695"/>
                <a:gd name="connsiteX17" fmla="*/ 22536 w 38297"/>
                <a:gd name="connsiteY17" fmla="*/ 184950 h 198695"/>
                <a:gd name="connsiteX18" fmla="*/ 21762 w 38297"/>
                <a:gd name="connsiteY18" fmla="*/ 176520 h 198695"/>
                <a:gd name="connsiteX19" fmla="*/ 21284 w 38297"/>
                <a:gd name="connsiteY19" fmla="*/ 171334 h 198695"/>
                <a:gd name="connsiteX20" fmla="*/ 20717 w 38297"/>
                <a:gd name="connsiteY20" fmla="*/ 165586 h 198695"/>
                <a:gd name="connsiteX21" fmla="*/ 19414 w 38297"/>
                <a:gd name="connsiteY21" fmla="*/ 152658 h 198695"/>
                <a:gd name="connsiteX22" fmla="*/ 18688 w 38297"/>
                <a:gd name="connsiteY22" fmla="*/ 145607 h 198695"/>
                <a:gd name="connsiteX23" fmla="*/ 17887 w 38297"/>
                <a:gd name="connsiteY23" fmla="*/ 138249 h 198695"/>
                <a:gd name="connsiteX24" fmla="*/ 16122 w 38297"/>
                <a:gd name="connsiteY24" fmla="*/ 122892 h 198695"/>
                <a:gd name="connsiteX25" fmla="*/ 15644 w 38297"/>
                <a:gd name="connsiteY25" fmla="*/ 118977 h 198695"/>
                <a:gd name="connsiteX26" fmla="*/ 15147 w 38297"/>
                <a:gd name="connsiteY26" fmla="*/ 115106 h 198695"/>
                <a:gd name="connsiteX27" fmla="*/ 14618 w 38297"/>
                <a:gd name="connsiteY27" fmla="*/ 111141 h 198695"/>
                <a:gd name="connsiteX28" fmla="*/ 14482 w 38297"/>
                <a:gd name="connsiteY28" fmla="*/ 110142 h 198695"/>
                <a:gd name="connsiteX29" fmla="*/ 14447 w 38297"/>
                <a:gd name="connsiteY29" fmla="*/ 109894 h 198695"/>
                <a:gd name="connsiteX30" fmla="*/ 14431 w 38297"/>
                <a:gd name="connsiteY30" fmla="*/ 109769 h 198695"/>
                <a:gd name="connsiteX31" fmla="*/ 14427 w 38297"/>
                <a:gd name="connsiteY31" fmla="*/ 109769 h 198695"/>
                <a:gd name="connsiteX32" fmla="*/ 14420 w 38297"/>
                <a:gd name="connsiteY32" fmla="*/ 109707 h 198695"/>
                <a:gd name="connsiteX33" fmla="*/ 14346 w 38297"/>
                <a:gd name="connsiteY33" fmla="*/ 109209 h 198695"/>
                <a:gd name="connsiteX34" fmla="*/ 14050 w 38297"/>
                <a:gd name="connsiteY34" fmla="*/ 107223 h 198695"/>
                <a:gd name="connsiteX35" fmla="*/ 11656 w 38297"/>
                <a:gd name="connsiteY35" fmla="*/ 91407 h 198695"/>
                <a:gd name="connsiteX36" fmla="*/ 9250 w 38297"/>
                <a:gd name="connsiteY36" fmla="*/ 76073 h 198695"/>
                <a:gd name="connsiteX37" fmla="*/ 6930 w 38297"/>
                <a:gd name="connsiteY37" fmla="*/ 61734 h 198695"/>
                <a:gd name="connsiteX38" fmla="*/ 4823 w 38297"/>
                <a:gd name="connsiteY38" fmla="*/ 48888 h 198695"/>
                <a:gd name="connsiteX39" fmla="*/ 2996 w 38297"/>
                <a:gd name="connsiteY39" fmla="*/ 38036 h 198695"/>
                <a:gd name="connsiteX40" fmla="*/ 1566 w 38297"/>
                <a:gd name="connsiteY40" fmla="*/ 29671 h 198695"/>
                <a:gd name="connsiteX41" fmla="*/ 291 w 38297"/>
                <a:gd name="connsiteY41" fmla="*/ 22391 h 198695"/>
                <a:gd name="connsiteX42" fmla="*/ 291 w 38297"/>
                <a:gd name="connsiteY42" fmla="*/ 22383 h 198695"/>
                <a:gd name="connsiteX43" fmla="*/ 15792 w 38297"/>
                <a:gd name="connsiteY43" fmla="*/ 290 h 198695"/>
                <a:gd name="connsiteX44" fmla="*/ 37885 w 38297"/>
                <a:gd name="connsiteY44" fmla="*/ 15791 h 198695"/>
                <a:gd name="connsiteX45" fmla="*/ 38173 w 38297"/>
                <a:gd name="connsiteY45" fmla="*/ 19184 h 198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8297" h="198695">
                  <a:moveTo>
                    <a:pt x="38161" y="19188"/>
                  </a:moveTo>
                  <a:cubicBezTo>
                    <a:pt x="38161" y="19188"/>
                    <a:pt x="38146" y="21885"/>
                    <a:pt x="38122" y="26604"/>
                  </a:cubicBezTo>
                  <a:cubicBezTo>
                    <a:pt x="38118" y="28964"/>
                    <a:pt x="38111" y="31824"/>
                    <a:pt x="38107" y="35109"/>
                  </a:cubicBezTo>
                  <a:cubicBezTo>
                    <a:pt x="38107" y="38393"/>
                    <a:pt x="38107" y="42098"/>
                    <a:pt x="38103" y="46136"/>
                  </a:cubicBezTo>
                  <a:cubicBezTo>
                    <a:pt x="38122" y="54217"/>
                    <a:pt x="38142" y="63643"/>
                    <a:pt x="38165" y="73745"/>
                  </a:cubicBezTo>
                  <a:cubicBezTo>
                    <a:pt x="38204" y="83855"/>
                    <a:pt x="38247" y="94641"/>
                    <a:pt x="38289" y="105424"/>
                  </a:cubicBezTo>
                  <a:cubicBezTo>
                    <a:pt x="38289" y="108144"/>
                    <a:pt x="38297" y="110865"/>
                    <a:pt x="38297" y="113575"/>
                  </a:cubicBezTo>
                  <a:cubicBezTo>
                    <a:pt x="38289" y="114947"/>
                    <a:pt x="38282" y="116319"/>
                    <a:pt x="38274" y="117683"/>
                  </a:cubicBezTo>
                  <a:cubicBezTo>
                    <a:pt x="38258" y="119028"/>
                    <a:pt x="38243" y="120369"/>
                    <a:pt x="38227" y="121706"/>
                  </a:cubicBezTo>
                  <a:cubicBezTo>
                    <a:pt x="38149" y="127023"/>
                    <a:pt x="38072" y="132259"/>
                    <a:pt x="37998" y="137320"/>
                  </a:cubicBezTo>
                  <a:cubicBezTo>
                    <a:pt x="37823" y="147414"/>
                    <a:pt x="37664" y="156836"/>
                    <a:pt x="37524" y="164909"/>
                  </a:cubicBezTo>
                  <a:cubicBezTo>
                    <a:pt x="37438" y="168944"/>
                    <a:pt x="37384" y="172640"/>
                    <a:pt x="37341" y="175917"/>
                  </a:cubicBezTo>
                  <a:cubicBezTo>
                    <a:pt x="37290" y="179194"/>
                    <a:pt x="37248" y="182051"/>
                    <a:pt x="37213" y="184402"/>
                  </a:cubicBezTo>
                  <a:cubicBezTo>
                    <a:pt x="37154" y="189109"/>
                    <a:pt x="37119" y="191799"/>
                    <a:pt x="37119" y="191799"/>
                  </a:cubicBezTo>
                  <a:cubicBezTo>
                    <a:pt x="37069" y="195655"/>
                    <a:pt x="33905" y="198745"/>
                    <a:pt x="30045" y="198695"/>
                  </a:cubicBezTo>
                  <a:cubicBezTo>
                    <a:pt x="26430" y="198648"/>
                    <a:pt x="23496" y="195869"/>
                    <a:pt x="23177" y="192347"/>
                  </a:cubicBezTo>
                  <a:lnTo>
                    <a:pt x="23177" y="192297"/>
                  </a:lnTo>
                  <a:cubicBezTo>
                    <a:pt x="23177" y="192297"/>
                    <a:pt x="22944" y="189626"/>
                    <a:pt x="22536" y="184950"/>
                  </a:cubicBezTo>
                  <a:cubicBezTo>
                    <a:pt x="22322" y="182614"/>
                    <a:pt x="22061" y="179773"/>
                    <a:pt x="21762" y="176520"/>
                  </a:cubicBezTo>
                  <a:cubicBezTo>
                    <a:pt x="21611" y="174891"/>
                    <a:pt x="21451" y="173161"/>
                    <a:pt x="21284" y="171334"/>
                  </a:cubicBezTo>
                  <a:cubicBezTo>
                    <a:pt x="21105" y="169508"/>
                    <a:pt x="20915" y="167591"/>
                    <a:pt x="20717" y="165586"/>
                  </a:cubicBezTo>
                  <a:cubicBezTo>
                    <a:pt x="20312" y="161582"/>
                    <a:pt x="19877" y="157244"/>
                    <a:pt x="19414" y="152658"/>
                  </a:cubicBezTo>
                  <a:cubicBezTo>
                    <a:pt x="19177" y="150364"/>
                    <a:pt x="18936" y="148013"/>
                    <a:pt x="18688" y="145607"/>
                  </a:cubicBezTo>
                  <a:cubicBezTo>
                    <a:pt x="18427" y="143205"/>
                    <a:pt x="18159" y="140748"/>
                    <a:pt x="17887" y="138249"/>
                  </a:cubicBezTo>
                  <a:cubicBezTo>
                    <a:pt x="17331" y="133258"/>
                    <a:pt x="16764" y="128104"/>
                    <a:pt x="16122" y="122892"/>
                  </a:cubicBezTo>
                  <a:cubicBezTo>
                    <a:pt x="15963" y="121593"/>
                    <a:pt x="15803" y="120287"/>
                    <a:pt x="15644" y="118977"/>
                  </a:cubicBezTo>
                  <a:cubicBezTo>
                    <a:pt x="15477" y="117691"/>
                    <a:pt x="15314" y="116396"/>
                    <a:pt x="15147" y="115106"/>
                  </a:cubicBezTo>
                  <a:cubicBezTo>
                    <a:pt x="14972" y="113788"/>
                    <a:pt x="14793" y="112467"/>
                    <a:pt x="14618" y="111141"/>
                  </a:cubicBezTo>
                  <a:lnTo>
                    <a:pt x="14482" y="110142"/>
                  </a:lnTo>
                  <a:lnTo>
                    <a:pt x="14447" y="109894"/>
                  </a:lnTo>
                  <a:lnTo>
                    <a:pt x="14431" y="109769"/>
                  </a:lnTo>
                  <a:cubicBezTo>
                    <a:pt x="14431" y="109734"/>
                    <a:pt x="14431" y="109843"/>
                    <a:pt x="14427" y="109769"/>
                  </a:cubicBezTo>
                  <a:lnTo>
                    <a:pt x="14420" y="109707"/>
                  </a:lnTo>
                  <a:lnTo>
                    <a:pt x="14346" y="109209"/>
                  </a:lnTo>
                  <a:lnTo>
                    <a:pt x="14050" y="107223"/>
                  </a:lnTo>
                  <a:cubicBezTo>
                    <a:pt x="13250" y="101921"/>
                    <a:pt x="12445" y="96624"/>
                    <a:pt x="11656" y="91407"/>
                  </a:cubicBezTo>
                  <a:cubicBezTo>
                    <a:pt x="10836" y="86187"/>
                    <a:pt x="10031" y="81045"/>
                    <a:pt x="9250" y="76073"/>
                  </a:cubicBezTo>
                  <a:cubicBezTo>
                    <a:pt x="8473" y="71098"/>
                    <a:pt x="7668" y="66294"/>
                    <a:pt x="6930" y="61734"/>
                  </a:cubicBezTo>
                  <a:cubicBezTo>
                    <a:pt x="6183" y="57175"/>
                    <a:pt x="5476" y="52864"/>
                    <a:pt x="4823" y="48888"/>
                  </a:cubicBezTo>
                  <a:cubicBezTo>
                    <a:pt x="4178" y="44908"/>
                    <a:pt x="3548" y="41266"/>
                    <a:pt x="2996" y="38036"/>
                  </a:cubicBezTo>
                  <a:cubicBezTo>
                    <a:pt x="2444" y="34806"/>
                    <a:pt x="1962" y="31988"/>
                    <a:pt x="1566" y="29671"/>
                  </a:cubicBezTo>
                  <a:cubicBezTo>
                    <a:pt x="753" y="25038"/>
                    <a:pt x="291" y="22391"/>
                    <a:pt x="291" y="22391"/>
                  </a:cubicBezTo>
                  <a:lnTo>
                    <a:pt x="291" y="22383"/>
                  </a:lnTo>
                  <a:cubicBezTo>
                    <a:pt x="-1532" y="12001"/>
                    <a:pt x="5410" y="2109"/>
                    <a:pt x="15792" y="290"/>
                  </a:cubicBezTo>
                  <a:cubicBezTo>
                    <a:pt x="26174" y="-1529"/>
                    <a:pt x="36066" y="5409"/>
                    <a:pt x="37885" y="15791"/>
                  </a:cubicBezTo>
                  <a:cubicBezTo>
                    <a:pt x="38080" y="16895"/>
                    <a:pt x="38169" y="18100"/>
                    <a:pt x="38173" y="19184"/>
                  </a:cubicBezTo>
                  <a:close/>
                </a:path>
              </a:pathLst>
            </a:custGeom>
            <a:solidFill>
              <a:srgbClr val="293F5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5" name="Freeform: Shape 2834">
              <a:extLst>
                <a:ext uri="{FF2B5EF4-FFF2-40B4-BE49-F238E27FC236}">
                  <a16:creationId xmlns:a16="http://schemas.microsoft.com/office/drawing/2014/main" id="{8F36ED22-D4F8-510D-83D2-33F0A20DC70A}"/>
                </a:ext>
              </a:extLst>
            </p:cNvPr>
            <p:cNvSpPr/>
            <p:nvPr/>
          </p:nvSpPr>
          <p:spPr>
            <a:xfrm>
              <a:off x="8948244" y="3678783"/>
              <a:ext cx="44449" cy="198682"/>
            </a:xfrm>
            <a:custGeom>
              <a:avLst/>
              <a:gdLst>
                <a:gd name="connsiteX0" fmla="*/ 44166 w 44449"/>
                <a:gd name="connsiteY0" fmla="*/ 22296 h 198682"/>
                <a:gd name="connsiteX1" fmla="*/ 42887 w 44449"/>
                <a:gd name="connsiteY1" fmla="*/ 29642 h 198682"/>
                <a:gd name="connsiteX2" fmla="*/ 39575 w 44449"/>
                <a:gd name="connsiteY2" fmla="*/ 48987 h 198682"/>
                <a:gd name="connsiteX3" fmla="*/ 34950 w 44449"/>
                <a:gd name="connsiteY3" fmla="*/ 76355 h 198682"/>
                <a:gd name="connsiteX4" fmla="*/ 32334 w 44449"/>
                <a:gd name="connsiteY4" fmla="*/ 91825 h 198682"/>
                <a:gd name="connsiteX5" fmla="*/ 30935 w 44449"/>
                <a:gd name="connsiteY5" fmla="*/ 99821 h 198682"/>
                <a:gd name="connsiteX6" fmla="*/ 30196 w 44449"/>
                <a:gd name="connsiteY6" fmla="*/ 103886 h 198682"/>
                <a:gd name="connsiteX7" fmla="*/ 29392 w 44449"/>
                <a:gd name="connsiteY7" fmla="*/ 108096 h 198682"/>
                <a:gd name="connsiteX8" fmla="*/ 29155 w 44449"/>
                <a:gd name="connsiteY8" fmla="*/ 109262 h 198682"/>
                <a:gd name="connsiteX9" fmla="*/ 28851 w 44449"/>
                <a:gd name="connsiteY9" fmla="*/ 110681 h 198682"/>
                <a:gd name="connsiteX10" fmla="*/ 28758 w 44449"/>
                <a:gd name="connsiteY10" fmla="*/ 111089 h 198682"/>
                <a:gd name="connsiteX11" fmla="*/ 28711 w 44449"/>
                <a:gd name="connsiteY11" fmla="*/ 111291 h 198682"/>
                <a:gd name="connsiteX12" fmla="*/ 28731 w 44449"/>
                <a:gd name="connsiteY12" fmla="*/ 111171 h 198682"/>
                <a:gd name="connsiteX13" fmla="*/ 28715 w 44449"/>
                <a:gd name="connsiteY13" fmla="*/ 111233 h 198682"/>
                <a:gd name="connsiteX14" fmla="*/ 28591 w 44449"/>
                <a:gd name="connsiteY14" fmla="*/ 111722 h 198682"/>
                <a:gd name="connsiteX15" fmla="*/ 28338 w 44449"/>
                <a:gd name="connsiteY15" fmla="*/ 112702 h 198682"/>
                <a:gd name="connsiteX16" fmla="*/ 27382 w 44449"/>
                <a:gd name="connsiteY16" fmla="*/ 116519 h 198682"/>
                <a:gd name="connsiteX17" fmla="*/ 26531 w 44449"/>
                <a:gd name="connsiteY17" fmla="*/ 120134 h 198682"/>
                <a:gd name="connsiteX18" fmla="*/ 25707 w 44449"/>
                <a:gd name="connsiteY18" fmla="*/ 123943 h 198682"/>
                <a:gd name="connsiteX19" fmla="*/ 24910 w 44449"/>
                <a:gd name="connsiteY19" fmla="*/ 127748 h 198682"/>
                <a:gd name="connsiteX20" fmla="*/ 24144 w 44449"/>
                <a:gd name="connsiteY20" fmla="*/ 131538 h 198682"/>
                <a:gd name="connsiteX21" fmla="*/ 22710 w 44449"/>
                <a:gd name="connsiteY21" fmla="*/ 139020 h 198682"/>
                <a:gd name="connsiteX22" fmla="*/ 21377 w 44449"/>
                <a:gd name="connsiteY22" fmla="*/ 146293 h 198682"/>
                <a:gd name="connsiteX23" fmla="*/ 20160 w 44449"/>
                <a:gd name="connsiteY23" fmla="*/ 153278 h 198682"/>
                <a:gd name="connsiteX24" fmla="*/ 17999 w 44449"/>
                <a:gd name="connsiteY24" fmla="*/ 166105 h 198682"/>
                <a:gd name="connsiteX25" fmla="*/ 17062 w 44449"/>
                <a:gd name="connsiteY25" fmla="*/ 171815 h 198682"/>
                <a:gd name="connsiteX26" fmla="*/ 16258 w 44449"/>
                <a:gd name="connsiteY26" fmla="*/ 176973 h 198682"/>
                <a:gd name="connsiteX27" fmla="*/ 14971 w 44449"/>
                <a:gd name="connsiteY27" fmla="*/ 185361 h 198682"/>
                <a:gd name="connsiteX28" fmla="*/ 14174 w 44449"/>
                <a:gd name="connsiteY28" fmla="*/ 190760 h 198682"/>
                <a:gd name="connsiteX29" fmla="*/ 13902 w 44449"/>
                <a:gd name="connsiteY29" fmla="*/ 192664 h 198682"/>
                <a:gd name="connsiteX30" fmla="*/ 13902 w 44449"/>
                <a:gd name="connsiteY30" fmla="*/ 192691 h 198682"/>
                <a:gd name="connsiteX31" fmla="*/ 5992 w 44449"/>
                <a:gd name="connsiteY31" fmla="*/ 198611 h 198682"/>
                <a:gd name="connsiteX32" fmla="*/ 6 w 44449"/>
                <a:gd name="connsiteY32" fmla="*/ 191374 h 198682"/>
                <a:gd name="connsiteX33" fmla="*/ 1258 w 44449"/>
                <a:gd name="connsiteY33" fmla="*/ 164340 h 198682"/>
                <a:gd name="connsiteX34" fmla="*/ 1907 w 44449"/>
                <a:gd name="connsiteY34" fmla="*/ 151233 h 198682"/>
                <a:gd name="connsiteX35" fmla="*/ 2727 w 44449"/>
                <a:gd name="connsiteY35" fmla="*/ 136572 h 198682"/>
                <a:gd name="connsiteX36" fmla="*/ 3221 w 44449"/>
                <a:gd name="connsiteY36" fmla="*/ 128798 h 198682"/>
                <a:gd name="connsiteX37" fmla="*/ 3804 w 44449"/>
                <a:gd name="connsiteY37" fmla="*/ 120783 h 198682"/>
                <a:gd name="connsiteX38" fmla="*/ 4134 w 44449"/>
                <a:gd name="connsiteY38" fmla="*/ 116698 h 198682"/>
                <a:gd name="connsiteX39" fmla="*/ 4566 w 44449"/>
                <a:gd name="connsiteY39" fmla="*/ 112387 h 198682"/>
                <a:gd name="connsiteX40" fmla="*/ 5036 w 44449"/>
                <a:gd name="connsiteY40" fmla="*/ 108271 h 198682"/>
                <a:gd name="connsiteX41" fmla="*/ 5157 w 44449"/>
                <a:gd name="connsiteY41" fmla="*/ 107268 h 198682"/>
                <a:gd name="connsiteX42" fmla="*/ 5219 w 44449"/>
                <a:gd name="connsiteY42" fmla="*/ 106767 h 198682"/>
                <a:gd name="connsiteX43" fmla="*/ 5227 w 44449"/>
                <a:gd name="connsiteY43" fmla="*/ 106704 h 198682"/>
                <a:gd name="connsiteX44" fmla="*/ 5269 w 44449"/>
                <a:gd name="connsiteY44" fmla="*/ 106460 h 198682"/>
                <a:gd name="connsiteX45" fmla="*/ 5269 w 44449"/>
                <a:gd name="connsiteY45" fmla="*/ 106417 h 198682"/>
                <a:gd name="connsiteX46" fmla="*/ 5258 w 44449"/>
                <a:gd name="connsiteY46" fmla="*/ 106327 h 198682"/>
                <a:gd name="connsiteX47" fmla="*/ 5250 w 44449"/>
                <a:gd name="connsiteY47" fmla="*/ 106152 h 198682"/>
                <a:gd name="connsiteX48" fmla="*/ 5269 w 44449"/>
                <a:gd name="connsiteY48" fmla="*/ 105752 h 198682"/>
                <a:gd name="connsiteX49" fmla="*/ 5308 w 44449"/>
                <a:gd name="connsiteY49" fmla="*/ 104920 h 198682"/>
                <a:gd name="connsiteX50" fmla="*/ 5460 w 44449"/>
                <a:gd name="connsiteY50" fmla="*/ 101111 h 198682"/>
                <a:gd name="connsiteX51" fmla="*/ 5584 w 44449"/>
                <a:gd name="connsiteY51" fmla="*/ 97166 h 198682"/>
                <a:gd name="connsiteX52" fmla="*/ 5786 w 44449"/>
                <a:gd name="connsiteY52" fmla="*/ 89229 h 198682"/>
                <a:gd name="connsiteX53" fmla="*/ 6093 w 44449"/>
                <a:gd name="connsiteY53" fmla="*/ 73700 h 198682"/>
                <a:gd name="connsiteX54" fmla="*/ 6268 w 44449"/>
                <a:gd name="connsiteY54" fmla="*/ 59140 h 198682"/>
                <a:gd name="connsiteX55" fmla="*/ 6377 w 44449"/>
                <a:gd name="connsiteY55" fmla="*/ 46084 h 198682"/>
                <a:gd name="connsiteX56" fmla="*/ 6420 w 44449"/>
                <a:gd name="connsiteY56" fmla="*/ 35041 h 198682"/>
                <a:gd name="connsiteX57" fmla="*/ 6428 w 44449"/>
                <a:gd name="connsiteY57" fmla="*/ 26525 h 198682"/>
                <a:gd name="connsiteX58" fmla="*/ 6400 w 44449"/>
                <a:gd name="connsiteY58" fmla="*/ 19112 h 198682"/>
                <a:gd name="connsiteX59" fmla="*/ 6400 w 44449"/>
                <a:gd name="connsiteY59" fmla="*/ 19097 h 198682"/>
                <a:gd name="connsiteX60" fmla="*/ 25353 w 44449"/>
                <a:gd name="connsiteY60" fmla="*/ 0 h 198682"/>
                <a:gd name="connsiteX61" fmla="*/ 44450 w 44449"/>
                <a:gd name="connsiteY61" fmla="*/ 18953 h 198682"/>
                <a:gd name="connsiteX62" fmla="*/ 44166 w 44449"/>
                <a:gd name="connsiteY62" fmla="*/ 22292 h 198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44449" h="198682">
                  <a:moveTo>
                    <a:pt x="44166" y="22296"/>
                  </a:moveTo>
                  <a:cubicBezTo>
                    <a:pt x="44166" y="22296"/>
                    <a:pt x="43700" y="24966"/>
                    <a:pt x="42887" y="29642"/>
                  </a:cubicBezTo>
                  <a:cubicBezTo>
                    <a:pt x="42086" y="34310"/>
                    <a:pt x="40948" y="40984"/>
                    <a:pt x="39575" y="48987"/>
                  </a:cubicBezTo>
                  <a:cubicBezTo>
                    <a:pt x="38223" y="56998"/>
                    <a:pt x="36641" y="66342"/>
                    <a:pt x="34950" y="76355"/>
                  </a:cubicBezTo>
                  <a:cubicBezTo>
                    <a:pt x="34103" y="81373"/>
                    <a:pt x="33224" y="86558"/>
                    <a:pt x="32334" y="91825"/>
                  </a:cubicBezTo>
                  <a:cubicBezTo>
                    <a:pt x="31872" y="94472"/>
                    <a:pt x="31405" y="97139"/>
                    <a:pt x="30935" y="99821"/>
                  </a:cubicBezTo>
                  <a:cubicBezTo>
                    <a:pt x="30690" y="101173"/>
                    <a:pt x="30441" y="102530"/>
                    <a:pt x="30196" y="103886"/>
                  </a:cubicBezTo>
                  <a:cubicBezTo>
                    <a:pt x="29944" y="105255"/>
                    <a:pt x="29679" y="106638"/>
                    <a:pt x="29392" y="108096"/>
                  </a:cubicBezTo>
                  <a:lnTo>
                    <a:pt x="29155" y="109262"/>
                  </a:lnTo>
                  <a:lnTo>
                    <a:pt x="28851" y="110681"/>
                  </a:lnTo>
                  <a:lnTo>
                    <a:pt x="28758" y="111089"/>
                  </a:lnTo>
                  <a:lnTo>
                    <a:pt x="28711" y="111291"/>
                  </a:lnTo>
                  <a:cubicBezTo>
                    <a:pt x="28778" y="110945"/>
                    <a:pt x="28719" y="111229"/>
                    <a:pt x="28731" y="111171"/>
                  </a:cubicBezTo>
                  <a:lnTo>
                    <a:pt x="28715" y="111233"/>
                  </a:lnTo>
                  <a:lnTo>
                    <a:pt x="28591" y="111722"/>
                  </a:lnTo>
                  <a:lnTo>
                    <a:pt x="28338" y="112702"/>
                  </a:lnTo>
                  <a:cubicBezTo>
                    <a:pt x="28012" y="113992"/>
                    <a:pt x="27643" y="115361"/>
                    <a:pt x="27382" y="116519"/>
                  </a:cubicBezTo>
                  <a:cubicBezTo>
                    <a:pt x="27098" y="117728"/>
                    <a:pt x="26815" y="118933"/>
                    <a:pt x="26531" y="120134"/>
                  </a:cubicBezTo>
                  <a:cubicBezTo>
                    <a:pt x="26255" y="121409"/>
                    <a:pt x="25983" y="122680"/>
                    <a:pt x="25707" y="123943"/>
                  </a:cubicBezTo>
                  <a:cubicBezTo>
                    <a:pt x="25427" y="125206"/>
                    <a:pt x="25167" y="126477"/>
                    <a:pt x="24910" y="127748"/>
                  </a:cubicBezTo>
                  <a:cubicBezTo>
                    <a:pt x="24654" y="129019"/>
                    <a:pt x="24401" y="130283"/>
                    <a:pt x="24144" y="131538"/>
                  </a:cubicBezTo>
                  <a:cubicBezTo>
                    <a:pt x="23658" y="134069"/>
                    <a:pt x="23180" y="136564"/>
                    <a:pt x="22710" y="139020"/>
                  </a:cubicBezTo>
                  <a:cubicBezTo>
                    <a:pt x="22255" y="141489"/>
                    <a:pt x="21812" y="143918"/>
                    <a:pt x="21377" y="146293"/>
                  </a:cubicBezTo>
                  <a:cubicBezTo>
                    <a:pt x="20961" y="148676"/>
                    <a:pt x="20557" y="151008"/>
                    <a:pt x="20160" y="153278"/>
                  </a:cubicBezTo>
                  <a:cubicBezTo>
                    <a:pt x="19394" y="157829"/>
                    <a:pt x="18668" y="162132"/>
                    <a:pt x="17999" y="166105"/>
                  </a:cubicBezTo>
                  <a:cubicBezTo>
                    <a:pt x="17673" y="168095"/>
                    <a:pt x="17362" y="169999"/>
                    <a:pt x="17062" y="171815"/>
                  </a:cubicBezTo>
                  <a:cubicBezTo>
                    <a:pt x="16779" y="173630"/>
                    <a:pt x="16510" y="175352"/>
                    <a:pt x="16258" y="176973"/>
                  </a:cubicBezTo>
                  <a:cubicBezTo>
                    <a:pt x="15760" y="180210"/>
                    <a:pt x="15329" y="183036"/>
                    <a:pt x="14971" y="185361"/>
                  </a:cubicBezTo>
                  <a:cubicBezTo>
                    <a:pt x="14614" y="187685"/>
                    <a:pt x="14357" y="189516"/>
                    <a:pt x="14174" y="190760"/>
                  </a:cubicBezTo>
                  <a:cubicBezTo>
                    <a:pt x="13996" y="191999"/>
                    <a:pt x="13902" y="192664"/>
                    <a:pt x="13902" y="192664"/>
                  </a:cubicBezTo>
                  <a:lnTo>
                    <a:pt x="13902" y="192691"/>
                  </a:lnTo>
                  <a:cubicBezTo>
                    <a:pt x="13350" y="196508"/>
                    <a:pt x="9809" y="199159"/>
                    <a:pt x="5992" y="198611"/>
                  </a:cubicBezTo>
                  <a:cubicBezTo>
                    <a:pt x="2409" y="198098"/>
                    <a:pt x="-145" y="194915"/>
                    <a:pt x="6" y="191374"/>
                  </a:cubicBezTo>
                  <a:cubicBezTo>
                    <a:pt x="6" y="191374"/>
                    <a:pt x="508" y="180560"/>
                    <a:pt x="1258" y="164340"/>
                  </a:cubicBezTo>
                  <a:cubicBezTo>
                    <a:pt x="1460" y="160282"/>
                    <a:pt x="1678" y="155882"/>
                    <a:pt x="1907" y="151233"/>
                  </a:cubicBezTo>
                  <a:cubicBezTo>
                    <a:pt x="2168" y="146573"/>
                    <a:pt x="2444" y="141656"/>
                    <a:pt x="2727" y="136572"/>
                  </a:cubicBezTo>
                  <a:cubicBezTo>
                    <a:pt x="2891" y="134018"/>
                    <a:pt x="3054" y="131425"/>
                    <a:pt x="3221" y="128798"/>
                  </a:cubicBezTo>
                  <a:cubicBezTo>
                    <a:pt x="3423" y="126155"/>
                    <a:pt x="3571" y="123500"/>
                    <a:pt x="3804" y="120783"/>
                  </a:cubicBezTo>
                  <a:cubicBezTo>
                    <a:pt x="3913" y="119426"/>
                    <a:pt x="4026" y="118062"/>
                    <a:pt x="4134" y="116698"/>
                  </a:cubicBezTo>
                  <a:cubicBezTo>
                    <a:pt x="4278" y="115263"/>
                    <a:pt x="4422" y="113829"/>
                    <a:pt x="4566" y="112387"/>
                  </a:cubicBezTo>
                  <a:cubicBezTo>
                    <a:pt x="4706" y="110895"/>
                    <a:pt x="4877" y="109627"/>
                    <a:pt x="5036" y="108271"/>
                  </a:cubicBezTo>
                  <a:lnTo>
                    <a:pt x="5157" y="107268"/>
                  </a:lnTo>
                  <a:lnTo>
                    <a:pt x="5219" y="106767"/>
                  </a:lnTo>
                  <a:lnTo>
                    <a:pt x="5227" y="106704"/>
                  </a:lnTo>
                  <a:cubicBezTo>
                    <a:pt x="5246" y="106603"/>
                    <a:pt x="5195" y="106844"/>
                    <a:pt x="5269" y="106460"/>
                  </a:cubicBezTo>
                  <a:lnTo>
                    <a:pt x="5269" y="106417"/>
                  </a:lnTo>
                  <a:cubicBezTo>
                    <a:pt x="5269" y="106417"/>
                    <a:pt x="5258" y="106327"/>
                    <a:pt x="5258" y="106327"/>
                  </a:cubicBezTo>
                  <a:lnTo>
                    <a:pt x="5250" y="106152"/>
                  </a:lnTo>
                  <a:lnTo>
                    <a:pt x="5269" y="105752"/>
                  </a:lnTo>
                  <a:lnTo>
                    <a:pt x="5308" y="104920"/>
                  </a:lnTo>
                  <a:cubicBezTo>
                    <a:pt x="5359" y="103649"/>
                    <a:pt x="5409" y="102382"/>
                    <a:pt x="5460" y="101111"/>
                  </a:cubicBezTo>
                  <a:cubicBezTo>
                    <a:pt x="5503" y="99793"/>
                    <a:pt x="5541" y="98480"/>
                    <a:pt x="5584" y="97166"/>
                  </a:cubicBezTo>
                  <a:cubicBezTo>
                    <a:pt x="5650" y="94507"/>
                    <a:pt x="5720" y="91856"/>
                    <a:pt x="5786" y="89229"/>
                  </a:cubicBezTo>
                  <a:cubicBezTo>
                    <a:pt x="5891" y="83943"/>
                    <a:pt x="5992" y="78738"/>
                    <a:pt x="6093" y="73700"/>
                  </a:cubicBezTo>
                  <a:cubicBezTo>
                    <a:pt x="6194" y="68655"/>
                    <a:pt x="6218" y="63769"/>
                    <a:pt x="6268" y="59140"/>
                  </a:cubicBezTo>
                  <a:cubicBezTo>
                    <a:pt x="6307" y="54507"/>
                    <a:pt x="6342" y="50126"/>
                    <a:pt x="6377" y="46084"/>
                  </a:cubicBezTo>
                  <a:cubicBezTo>
                    <a:pt x="6416" y="42041"/>
                    <a:pt x="6412" y="38329"/>
                    <a:pt x="6420" y="35041"/>
                  </a:cubicBezTo>
                  <a:cubicBezTo>
                    <a:pt x="6420" y="31753"/>
                    <a:pt x="6424" y="28888"/>
                    <a:pt x="6428" y="26525"/>
                  </a:cubicBezTo>
                  <a:cubicBezTo>
                    <a:pt x="6408" y="21806"/>
                    <a:pt x="6400" y="19112"/>
                    <a:pt x="6400" y="19112"/>
                  </a:cubicBezTo>
                  <a:lnTo>
                    <a:pt x="6400" y="19097"/>
                  </a:lnTo>
                  <a:cubicBezTo>
                    <a:pt x="6362" y="8590"/>
                    <a:pt x="14847" y="43"/>
                    <a:pt x="25353" y="0"/>
                  </a:cubicBezTo>
                  <a:cubicBezTo>
                    <a:pt x="35860" y="-39"/>
                    <a:pt x="44407" y="8446"/>
                    <a:pt x="44450" y="18953"/>
                  </a:cubicBezTo>
                  <a:cubicBezTo>
                    <a:pt x="44454" y="20057"/>
                    <a:pt x="44345" y="21238"/>
                    <a:pt x="44166" y="22292"/>
                  </a:cubicBezTo>
                  <a:close/>
                </a:path>
              </a:pathLst>
            </a:custGeom>
            <a:solidFill>
              <a:srgbClr val="293F5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6" name="Freeform: Shape 2835">
              <a:extLst>
                <a:ext uri="{FF2B5EF4-FFF2-40B4-BE49-F238E27FC236}">
                  <a16:creationId xmlns:a16="http://schemas.microsoft.com/office/drawing/2014/main" id="{AF2775ED-40FC-ABD9-FCB2-05EB456F5457}"/>
                </a:ext>
              </a:extLst>
            </p:cNvPr>
            <p:cNvSpPr/>
            <p:nvPr/>
          </p:nvSpPr>
          <p:spPr>
            <a:xfrm>
              <a:off x="8954784" y="3676486"/>
              <a:ext cx="64648" cy="38351"/>
            </a:xfrm>
            <a:custGeom>
              <a:avLst/>
              <a:gdLst>
                <a:gd name="connsiteX0" fmla="*/ 1209 w 64648"/>
                <a:gd name="connsiteY0" fmla="*/ 120 h 38351"/>
                <a:gd name="connsiteX1" fmla="*/ 24 w 64648"/>
                <a:gd name="connsiteY1" fmla="*/ 16951 h 38351"/>
                <a:gd name="connsiteX2" fmla="*/ 32359 w 64648"/>
                <a:gd name="connsiteY2" fmla="*/ 38115 h 38351"/>
                <a:gd name="connsiteX3" fmla="*/ 32359 w 64648"/>
                <a:gd name="connsiteY3" fmla="*/ 38115 h 38351"/>
                <a:gd name="connsiteX4" fmla="*/ 64648 w 64648"/>
                <a:gd name="connsiteY4" fmla="*/ 24946 h 38351"/>
                <a:gd name="connsiteX5" fmla="*/ 63855 w 64648"/>
                <a:gd name="connsiteY5" fmla="*/ 0 h 38351"/>
                <a:gd name="connsiteX6" fmla="*/ 1206 w 64648"/>
                <a:gd name="connsiteY6" fmla="*/ 124 h 38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648" h="38351">
                  <a:moveTo>
                    <a:pt x="1209" y="120"/>
                  </a:moveTo>
                  <a:cubicBezTo>
                    <a:pt x="1209" y="120"/>
                    <a:pt x="378" y="12368"/>
                    <a:pt x="24" y="16951"/>
                  </a:cubicBezTo>
                  <a:cubicBezTo>
                    <a:pt x="-753" y="27084"/>
                    <a:pt x="17558" y="36770"/>
                    <a:pt x="32359" y="38115"/>
                  </a:cubicBezTo>
                  <a:lnTo>
                    <a:pt x="32359" y="38115"/>
                  </a:lnTo>
                  <a:cubicBezTo>
                    <a:pt x="47161" y="39460"/>
                    <a:pt x="63727" y="35068"/>
                    <a:pt x="64648" y="24946"/>
                  </a:cubicBezTo>
                  <a:lnTo>
                    <a:pt x="63855" y="0"/>
                  </a:lnTo>
                  <a:lnTo>
                    <a:pt x="1206" y="124"/>
                  </a:lnTo>
                  <a:close/>
                </a:path>
              </a:pathLst>
            </a:custGeom>
            <a:solidFill>
              <a:srgbClr val="293F5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7" name="Freeform: Shape 2836">
              <a:extLst>
                <a:ext uri="{FF2B5EF4-FFF2-40B4-BE49-F238E27FC236}">
                  <a16:creationId xmlns:a16="http://schemas.microsoft.com/office/drawing/2014/main" id="{308336BE-B1DD-AD3E-8709-088975590266}"/>
                </a:ext>
              </a:extLst>
            </p:cNvPr>
            <p:cNvSpPr/>
            <p:nvPr/>
          </p:nvSpPr>
          <p:spPr>
            <a:xfrm>
              <a:off x="9002416" y="3870110"/>
              <a:ext cx="45131" cy="14669"/>
            </a:xfrm>
            <a:custGeom>
              <a:avLst/>
              <a:gdLst>
                <a:gd name="connsiteX0" fmla="*/ 1818 w 45131"/>
                <a:gd name="connsiteY0" fmla="*/ 4 h 14669"/>
                <a:gd name="connsiteX1" fmla="*/ 1802 w 45131"/>
                <a:gd name="connsiteY1" fmla="*/ 14627 h 14669"/>
                <a:gd name="connsiteX2" fmla="*/ 45006 w 45131"/>
                <a:gd name="connsiteY2" fmla="*/ 14669 h 14669"/>
                <a:gd name="connsiteX3" fmla="*/ 37092 w 45131"/>
                <a:gd name="connsiteY3" fmla="*/ 7350 h 14669"/>
                <a:gd name="connsiteX4" fmla="*/ 16316 w 45131"/>
                <a:gd name="connsiteY4" fmla="*/ 12 h 14669"/>
                <a:gd name="connsiteX5" fmla="*/ 1818 w 45131"/>
                <a:gd name="connsiteY5" fmla="*/ 0 h 14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131" h="14669">
                  <a:moveTo>
                    <a:pt x="1818" y="4"/>
                  </a:moveTo>
                  <a:cubicBezTo>
                    <a:pt x="-2263" y="14766"/>
                    <a:pt x="1802" y="14627"/>
                    <a:pt x="1802" y="14627"/>
                  </a:cubicBezTo>
                  <a:lnTo>
                    <a:pt x="45006" y="14669"/>
                  </a:lnTo>
                  <a:cubicBezTo>
                    <a:pt x="45006" y="14669"/>
                    <a:pt x="46770" y="8209"/>
                    <a:pt x="37092" y="7350"/>
                  </a:cubicBezTo>
                  <a:cubicBezTo>
                    <a:pt x="30853" y="6798"/>
                    <a:pt x="16316" y="12"/>
                    <a:pt x="16316" y="12"/>
                  </a:cubicBezTo>
                  <a:lnTo>
                    <a:pt x="1818" y="0"/>
                  </a:lnTo>
                  <a:close/>
                </a:path>
              </a:pathLst>
            </a:custGeom>
            <a:solidFill>
              <a:srgbClr val="21324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8" name="Freeform: Shape 2837">
              <a:extLst>
                <a:ext uri="{FF2B5EF4-FFF2-40B4-BE49-F238E27FC236}">
                  <a16:creationId xmlns:a16="http://schemas.microsoft.com/office/drawing/2014/main" id="{10C5AEFB-D951-F32E-12D5-BA61CD2D4BB2}"/>
                </a:ext>
              </a:extLst>
            </p:cNvPr>
            <p:cNvSpPr/>
            <p:nvPr/>
          </p:nvSpPr>
          <p:spPr>
            <a:xfrm>
              <a:off x="8946362" y="3870226"/>
              <a:ext cx="31432" cy="14696"/>
            </a:xfrm>
            <a:custGeom>
              <a:avLst/>
              <a:gdLst>
                <a:gd name="connsiteX0" fmla="*/ 1904 w 31432"/>
                <a:gd name="connsiteY0" fmla="*/ 0 h 14696"/>
                <a:gd name="connsiteX1" fmla="*/ 1889 w 31432"/>
                <a:gd name="connsiteY1" fmla="*/ 14623 h 14696"/>
                <a:gd name="connsiteX2" fmla="*/ 31301 w 31432"/>
                <a:gd name="connsiteY2" fmla="*/ 14696 h 14696"/>
                <a:gd name="connsiteX3" fmla="*/ 23387 w 31432"/>
                <a:gd name="connsiteY3" fmla="*/ 7377 h 14696"/>
                <a:gd name="connsiteX4" fmla="*/ 15213 w 31432"/>
                <a:gd name="connsiteY4" fmla="*/ 16 h 14696"/>
                <a:gd name="connsiteX5" fmla="*/ 1900 w 31432"/>
                <a:gd name="connsiteY5" fmla="*/ 0 h 14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432" h="14696">
                  <a:moveTo>
                    <a:pt x="1904" y="0"/>
                  </a:moveTo>
                  <a:cubicBezTo>
                    <a:pt x="-2371" y="11358"/>
                    <a:pt x="1889" y="14623"/>
                    <a:pt x="1889" y="14623"/>
                  </a:cubicBezTo>
                  <a:lnTo>
                    <a:pt x="31301" y="14696"/>
                  </a:lnTo>
                  <a:cubicBezTo>
                    <a:pt x="31301" y="14696"/>
                    <a:pt x="33101" y="7587"/>
                    <a:pt x="23387" y="7377"/>
                  </a:cubicBezTo>
                  <a:cubicBezTo>
                    <a:pt x="21658" y="7339"/>
                    <a:pt x="15213" y="16"/>
                    <a:pt x="15213" y="16"/>
                  </a:cubicBezTo>
                  <a:lnTo>
                    <a:pt x="1900" y="0"/>
                  </a:lnTo>
                  <a:close/>
                </a:path>
              </a:pathLst>
            </a:custGeom>
            <a:solidFill>
              <a:srgbClr val="21324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9" name="Freeform: Shape 2838">
              <a:extLst>
                <a:ext uri="{FF2B5EF4-FFF2-40B4-BE49-F238E27FC236}">
                  <a16:creationId xmlns:a16="http://schemas.microsoft.com/office/drawing/2014/main" id="{B9938CD1-ECF8-198E-A09B-930172ED9F12}"/>
                </a:ext>
              </a:extLst>
            </p:cNvPr>
            <p:cNvSpPr/>
            <p:nvPr/>
          </p:nvSpPr>
          <p:spPr>
            <a:xfrm>
              <a:off x="8990413" y="3556209"/>
              <a:ext cx="95559" cy="54838"/>
            </a:xfrm>
            <a:custGeom>
              <a:avLst/>
              <a:gdLst>
                <a:gd name="connsiteX0" fmla="*/ 95420 w 95559"/>
                <a:gd name="connsiteY0" fmla="*/ 4186 h 54838"/>
                <a:gd name="connsiteX1" fmla="*/ 86985 w 95559"/>
                <a:gd name="connsiteY1" fmla="*/ 812 h 54838"/>
                <a:gd name="connsiteX2" fmla="*/ 56240 w 95559"/>
                <a:gd name="connsiteY2" fmla="*/ 33540 h 54838"/>
                <a:gd name="connsiteX3" fmla="*/ 37780 w 95559"/>
                <a:gd name="connsiteY3" fmla="*/ 24864 h 54838"/>
                <a:gd name="connsiteX4" fmla="*/ 18548 w 95559"/>
                <a:gd name="connsiteY4" fmla="*/ 16344 h 54838"/>
                <a:gd name="connsiteX5" fmla="*/ 2207 w 95559"/>
                <a:gd name="connsiteY5" fmla="*/ 20546 h 54838"/>
                <a:gd name="connsiteX6" fmla="*/ 3766 w 95559"/>
                <a:gd name="connsiteY6" fmla="*/ 36894 h 54838"/>
                <a:gd name="connsiteX7" fmla="*/ 17969 w 95559"/>
                <a:gd name="connsiteY7" fmla="*/ 43689 h 54838"/>
                <a:gd name="connsiteX8" fmla="*/ 52831 w 95559"/>
                <a:gd name="connsiteY8" fmla="*/ 54654 h 54838"/>
                <a:gd name="connsiteX9" fmla="*/ 65903 w 95559"/>
                <a:gd name="connsiteY9" fmla="*/ 50860 h 54838"/>
                <a:gd name="connsiteX10" fmla="*/ 95420 w 95559"/>
                <a:gd name="connsiteY10" fmla="*/ 4193 h 5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559" h="54838">
                  <a:moveTo>
                    <a:pt x="95420" y="4186"/>
                  </a:moveTo>
                  <a:cubicBezTo>
                    <a:pt x="92649" y="1920"/>
                    <a:pt x="89193" y="-1602"/>
                    <a:pt x="86985" y="812"/>
                  </a:cubicBezTo>
                  <a:cubicBezTo>
                    <a:pt x="84459" y="3575"/>
                    <a:pt x="56220" y="33544"/>
                    <a:pt x="56240" y="33540"/>
                  </a:cubicBezTo>
                  <a:cubicBezTo>
                    <a:pt x="56115" y="33540"/>
                    <a:pt x="41788" y="26458"/>
                    <a:pt x="37780" y="24864"/>
                  </a:cubicBezTo>
                  <a:cubicBezTo>
                    <a:pt x="31247" y="22268"/>
                    <a:pt x="24950" y="19224"/>
                    <a:pt x="18548" y="16344"/>
                  </a:cubicBezTo>
                  <a:cubicBezTo>
                    <a:pt x="12745" y="13736"/>
                    <a:pt x="5908" y="15139"/>
                    <a:pt x="2207" y="20546"/>
                  </a:cubicBezTo>
                  <a:cubicBezTo>
                    <a:pt x="-1252" y="25599"/>
                    <a:pt x="-580" y="32584"/>
                    <a:pt x="3766" y="36894"/>
                  </a:cubicBezTo>
                  <a:cubicBezTo>
                    <a:pt x="7645" y="40738"/>
                    <a:pt x="12896" y="42367"/>
                    <a:pt x="17969" y="43689"/>
                  </a:cubicBezTo>
                  <a:cubicBezTo>
                    <a:pt x="25451" y="45636"/>
                    <a:pt x="48232" y="54051"/>
                    <a:pt x="52831" y="54654"/>
                  </a:cubicBezTo>
                  <a:cubicBezTo>
                    <a:pt x="57682" y="55287"/>
                    <a:pt x="62062" y="54350"/>
                    <a:pt x="65903" y="50860"/>
                  </a:cubicBezTo>
                  <a:cubicBezTo>
                    <a:pt x="72405" y="44944"/>
                    <a:pt x="97659" y="6020"/>
                    <a:pt x="95420" y="4193"/>
                  </a:cubicBezTo>
                  <a:close/>
                </a:path>
              </a:pathLst>
            </a:custGeom>
            <a:solidFill>
              <a:srgbClr val="4D87C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0" name="Freeform: Shape 2839">
              <a:extLst>
                <a:ext uri="{FF2B5EF4-FFF2-40B4-BE49-F238E27FC236}">
                  <a16:creationId xmlns:a16="http://schemas.microsoft.com/office/drawing/2014/main" id="{76539F76-4268-F7BC-B630-161DF3D197F7}"/>
                </a:ext>
              </a:extLst>
            </p:cNvPr>
            <p:cNvSpPr/>
            <p:nvPr/>
          </p:nvSpPr>
          <p:spPr>
            <a:xfrm>
              <a:off x="8944937" y="3567247"/>
              <a:ext cx="74315" cy="126059"/>
            </a:xfrm>
            <a:custGeom>
              <a:avLst/>
              <a:gdLst>
                <a:gd name="connsiteX0" fmla="*/ 5650 w 74315"/>
                <a:gd name="connsiteY0" fmla="*/ 51669 h 126059"/>
                <a:gd name="connsiteX1" fmla="*/ 10154 w 74315"/>
                <a:gd name="connsiteY1" fmla="*/ 125249 h 126059"/>
                <a:gd name="connsiteX2" fmla="*/ 44589 w 74315"/>
                <a:gd name="connsiteY2" fmla="*/ 125704 h 126059"/>
                <a:gd name="connsiteX3" fmla="*/ 74289 w 74315"/>
                <a:gd name="connsiteY3" fmla="*/ 122629 h 126059"/>
                <a:gd name="connsiteX4" fmla="*/ 73788 w 74315"/>
                <a:gd name="connsiteY4" fmla="*/ 46053 h 126059"/>
                <a:gd name="connsiteX5" fmla="*/ 36096 w 74315"/>
                <a:gd name="connsiteY5" fmla="*/ 342 h 126059"/>
                <a:gd name="connsiteX6" fmla="*/ 5646 w 74315"/>
                <a:gd name="connsiteY6" fmla="*/ 51665 h 126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315" h="126059">
                  <a:moveTo>
                    <a:pt x="5650" y="51669"/>
                  </a:moveTo>
                  <a:cubicBezTo>
                    <a:pt x="9461" y="70902"/>
                    <a:pt x="10963" y="95428"/>
                    <a:pt x="10154" y="125249"/>
                  </a:cubicBezTo>
                  <a:cubicBezTo>
                    <a:pt x="10154" y="125249"/>
                    <a:pt x="30996" y="126714"/>
                    <a:pt x="44589" y="125704"/>
                  </a:cubicBezTo>
                  <a:cubicBezTo>
                    <a:pt x="57773" y="124724"/>
                    <a:pt x="74289" y="122629"/>
                    <a:pt x="74289" y="122629"/>
                  </a:cubicBezTo>
                  <a:cubicBezTo>
                    <a:pt x="74289" y="122629"/>
                    <a:pt x="74491" y="79904"/>
                    <a:pt x="73788" y="46053"/>
                  </a:cubicBezTo>
                  <a:cubicBezTo>
                    <a:pt x="73442" y="29319"/>
                    <a:pt x="81663" y="-3716"/>
                    <a:pt x="36096" y="342"/>
                  </a:cubicBezTo>
                  <a:cubicBezTo>
                    <a:pt x="-16957" y="5065"/>
                    <a:pt x="3519" y="40934"/>
                    <a:pt x="5646" y="51665"/>
                  </a:cubicBezTo>
                  <a:close/>
                </a:path>
              </a:pathLst>
            </a:custGeom>
            <a:solidFill>
              <a:srgbClr val="4D87C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1" name="Freeform: Shape 2840">
              <a:extLst>
                <a:ext uri="{FF2B5EF4-FFF2-40B4-BE49-F238E27FC236}">
                  <a16:creationId xmlns:a16="http://schemas.microsoft.com/office/drawing/2014/main" id="{ED9BA7BE-0CB6-065C-8F39-643316CD88D3}"/>
                </a:ext>
              </a:extLst>
            </p:cNvPr>
            <p:cNvSpPr/>
            <p:nvPr/>
          </p:nvSpPr>
          <p:spPr>
            <a:xfrm>
              <a:off x="8952826" y="3567266"/>
              <a:ext cx="67367" cy="126043"/>
            </a:xfrm>
            <a:custGeom>
              <a:avLst/>
              <a:gdLst>
                <a:gd name="connsiteX0" fmla="*/ 0 w 67367"/>
                <a:gd name="connsiteY0" fmla="*/ 65172 h 126043"/>
                <a:gd name="connsiteX1" fmla="*/ 12765 w 67367"/>
                <a:gd name="connsiteY1" fmla="*/ 46659 h 126043"/>
                <a:gd name="connsiteX2" fmla="*/ 8481 w 67367"/>
                <a:gd name="connsiteY2" fmla="*/ 4563 h 126043"/>
                <a:gd name="connsiteX3" fmla="*/ 19229 w 67367"/>
                <a:gd name="connsiteY3" fmla="*/ 1543 h 126043"/>
                <a:gd name="connsiteX4" fmla="*/ 20301 w 67367"/>
                <a:gd name="connsiteY4" fmla="*/ 4042 h 126043"/>
                <a:gd name="connsiteX5" fmla="*/ 42686 w 67367"/>
                <a:gd name="connsiteY5" fmla="*/ 31096 h 126043"/>
                <a:gd name="connsiteX6" fmla="*/ 39760 w 67367"/>
                <a:gd name="connsiteY6" fmla="*/ 0 h 126043"/>
                <a:gd name="connsiteX7" fmla="*/ 49741 w 67367"/>
                <a:gd name="connsiteY7" fmla="*/ 1500 h 126043"/>
                <a:gd name="connsiteX8" fmla="*/ 67365 w 67367"/>
                <a:gd name="connsiteY8" fmla="*/ 45279 h 126043"/>
                <a:gd name="connsiteX9" fmla="*/ 66222 w 67367"/>
                <a:gd name="connsiteY9" fmla="*/ 66455 h 126043"/>
                <a:gd name="connsiteX10" fmla="*/ 66785 w 67367"/>
                <a:gd name="connsiteY10" fmla="*/ 122614 h 126043"/>
                <a:gd name="connsiteX11" fmla="*/ 36708 w 67367"/>
                <a:gd name="connsiteY11" fmla="*/ 125688 h 126043"/>
                <a:gd name="connsiteX12" fmla="*/ 758 w 67367"/>
                <a:gd name="connsiteY12" fmla="*/ 125233 h 126043"/>
                <a:gd name="connsiteX13" fmla="*/ 4 w 67367"/>
                <a:gd name="connsiteY13" fmla="*/ 65172 h 12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7367" h="126043">
                  <a:moveTo>
                    <a:pt x="0" y="65172"/>
                  </a:moveTo>
                  <a:cubicBezTo>
                    <a:pt x="1236" y="64881"/>
                    <a:pt x="10541" y="50985"/>
                    <a:pt x="12765" y="46659"/>
                  </a:cubicBezTo>
                  <a:cubicBezTo>
                    <a:pt x="27053" y="18805"/>
                    <a:pt x="10133" y="5321"/>
                    <a:pt x="8481" y="4563"/>
                  </a:cubicBezTo>
                  <a:cubicBezTo>
                    <a:pt x="10833" y="3794"/>
                    <a:pt x="16321" y="2087"/>
                    <a:pt x="19229" y="1543"/>
                  </a:cubicBezTo>
                  <a:cubicBezTo>
                    <a:pt x="19151" y="2379"/>
                    <a:pt x="20029" y="3374"/>
                    <a:pt x="20301" y="4042"/>
                  </a:cubicBezTo>
                  <a:cubicBezTo>
                    <a:pt x="21942" y="8058"/>
                    <a:pt x="37913" y="32584"/>
                    <a:pt x="42686" y="31096"/>
                  </a:cubicBezTo>
                  <a:cubicBezTo>
                    <a:pt x="54087" y="27535"/>
                    <a:pt x="39934" y="618"/>
                    <a:pt x="39760" y="0"/>
                  </a:cubicBezTo>
                  <a:cubicBezTo>
                    <a:pt x="44521" y="206"/>
                    <a:pt x="46461" y="435"/>
                    <a:pt x="49741" y="1500"/>
                  </a:cubicBezTo>
                  <a:cubicBezTo>
                    <a:pt x="66910" y="22148"/>
                    <a:pt x="67357" y="44785"/>
                    <a:pt x="67365" y="45279"/>
                  </a:cubicBezTo>
                  <a:cubicBezTo>
                    <a:pt x="67450" y="49465"/>
                    <a:pt x="65546" y="64994"/>
                    <a:pt x="66222" y="66455"/>
                  </a:cubicBezTo>
                  <a:cubicBezTo>
                    <a:pt x="66537" y="94915"/>
                    <a:pt x="66785" y="122614"/>
                    <a:pt x="66785" y="122614"/>
                  </a:cubicBezTo>
                  <a:cubicBezTo>
                    <a:pt x="66785" y="122614"/>
                    <a:pt x="49889" y="124705"/>
                    <a:pt x="36708" y="125688"/>
                  </a:cubicBezTo>
                  <a:cubicBezTo>
                    <a:pt x="23112" y="126699"/>
                    <a:pt x="758" y="125233"/>
                    <a:pt x="758" y="125233"/>
                  </a:cubicBezTo>
                  <a:cubicBezTo>
                    <a:pt x="1745" y="88782"/>
                    <a:pt x="3063" y="82030"/>
                    <a:pt x="4" y="65172"/>
                  </a:cubicBezTo>
                  <a:close/>
                </a:path>
              </a:pathLst>
            </a:custGeom>
            <a:solidFill>
              <a:srgbClr val="4D87C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2" name="Freeform: Shape 2841">
              <a:extLst>
                <a:ext uri="{FF2B5EF4-FFF2-40B4-BE49-F238E27FC236}">
                  <a16:creationId xmlns:a16="http://schemas.microsoft.com/office/drawing/2014/main" id="{CD652055-3D07-5991-BAB3-8BDC275F79C5}"/>
                </a:ext>
              </a:extLst>
            </p:cNvPr>
            <p:cNvSpPr/>
            <p:nvPr/>
          </p:nvSpPr>
          <p:spPr>
            <a:xfrm>
              <a:off x="8987727" y="3578717"/>
              <a:ext cx="13511" cy="113685"/>
            </a:xfrm>
            <a:custGeom>
              <a:avLst/>
              <a:gdLst>
                <a:gd name="connsiteX0" fmla="*/ 10607 w 13511"/>
                <a:gd name="connsiteY0" fmla="*/ 113686 h 113685"/>
                <a:gd name="connsiteX1" fmla="*/ 12077 w 13511"/>
                <a:gd name="connsiteY1" fmla="*/ 112306 h 113685"/>
                <a:gd name="connsiteX2" fmla="*/ 2620 w 13511"/>
                <a:gd name="connsiteY2" fmla="*/ 545 h 113685"/>
                <a:gd name="connsiteX3" fmla="*/ 544 w 13511"/>
                <a:gd name="connsiteY3" fmla="*/ 331 h 113685"/>
                <a:gd name="connsiteX4" fmla="*/ 326 w 13511"/>
                <a:gd name="connsiteY4" fmla="*/ 2399 h 113685"/>
                <a:gd name="connsiteX5" fmla="*/ 6981 w 13511"/>
                <a:gd name="connsiteY5" fmla="*/ 23217 h 113685"/>
                <a:gd name="connsiteX6" fmla="*/ 9134 w 13511"/>
                <a:gd name="connsiteY6" fmla="*/ 112111 h 113685"/>
                <a:gd name="connsiteX7" fmla="*/ 10510 w 13511"/>
                <a:gd name="connsiteY7" fmla="*/ 113678 h 113685"/>
                <a:gd name="connsiteX8" fmla="*/ 10607 w 13511"/>
                <a:gd name="connsiteY8" fmla="*/ 113678 h 11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11" h="113685">
                  <a:moveTo>
                    <a:pt x="10607" y="113686"/>
                  </a:moveTo>
                  <a:cubicBezTo>
                    <a:pt x="11377" y="113686"/>
                    <a:pt x="12026" y="113087"/>
                    <a:pt x="12077" y="112306"/>
                  </a:cubicBezTo>
                  <a:cubicBezTo>
                    <a:pt x="18097" y="20687"/>
                    <a:pt x="3257" y="1322"/>
                    <a:pt x="2620" y="545"/>
                  </a:cubicBezTo>
                  <a:cubicBezTo>
                    <a:pt x="2107" y="-89"/>
                    <a:pt x="1178" y="-182"/>
                    <a:pt x="544" y="331"/>
                  </a:cubicBezTo>
                  <a:cubicBezTo>
                    <a:pt x="-86" y="844"/>
                    <a:pt x="-183" y="1765"/>
                    <a:pt x="326" y="2399"/>
                  </a:cubicBezTo>
                  <a:cubicBezTo>
                    <a:pt x="400" y="2492"/>
                    <a:pt x="4077" y="7370"/>
                    <a:pt x="6981" y="23217"/>
                  </a:cubicBezTo>
                  <a:cubicBezTo>
                    <a:pt x="11843" y="49769"/>
                    <a:pt x="10837" y="86217"/>
                    <a:pt x="9134" y="112111"/>
                  </a:cubicBezTo>
                  <a:cubicBezTo>
                    <a:pt x="9080" y="112924"/>
                    <a:pt x="9698" y="113627"/>
                    <a:pt x="10510" y="113678"/>
                  </a:cubicBezTo>
                  <a:cubicBezTo>
                    <a:pt x="10541" y="113678"/>
                    <a:pt x="10576" y="113678"/>
                    <a:pt x="10607" y="113678"/>
                  </a:cubicBezTo>
                  <a:close/>
                </a:path>
              </a:pathLst>
            </a:custGeom>
            <a:solidFill>
              <a:srgbClr val="4D87C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3" name="Freeform: Shape 2842">
              <a:extLst>
                <a:ext uri="{FF2B5EF4-FFF2-40B4-BE49-F238E27FC236}">
                  <a16:creationId xmlns:a16="http://schemas.microsoft.com/office/drawing/2014/main" id="{6DD88BB9-EE9F-4FF3-955F-4F73B1FFB23C}"/>
                </a:ext>
              </a:extLst>
            </p:cNvPr>
            <p:cNvSpPr/>
            <p:nvPr/>
          </p:nvSpPr>
          <p:spPr>
            <a:xfrm>
              <a:off x="8964495" y="3520526"/>
              <a:ext cx="35287" cy="42193"/>
            </a:xfrm>
            <a:custGeom>
              <a:avLst/>
              <a:gdLst>
                <a:gd name="connsiteX0" fmla="*/ 10164 w 35287"/>
                <a:gd name="connsiteY0" fmla="*/ 37159 h 42193"/>
                <a:gd name="connsiteX1" fmla="*/ 1624 w 35287"/>
                <a:gd name="connsiteY1" fmla="*/ 2725 h 42193"/>
                <a:gd name="connsiteX2" fmla="*/ 32074 w 35287"/>
                <a:gd name="connsiteY2" fmla="*/ 2064 h 42193"/>
                <a:gd name="connsiteX3" fmla="*/ 27857 w 35287"/>
                <a:gd name="connsiteY3" fmla="*/ 42189 h 42193"/>
                <a:gd name="connsiteX4" fmla="*/ 10160 w 35287"/>
                <a:gd name="connsiteY4" fmla="*/ 37163 h 4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87" h="42193">
                  <a:moveTo>
                    <a:pt x="10164" y="37159"/>
                  </a:moveTo>
                  <a:cubicBezTo>
                    <a:pt x="10164" y="37159"/>
                    <a:pt x="-4859" y="10048"/>
                    <a:pt x="1624" y="2725"/>
                  </a:cubicBezTo>
                  <a:cubicBezTo>
                    <a:pt x="6685" y="-2993"/>
                    <a:pt x="32074" y="2064"/>
                    <a:pt x="32074" y="2064"/>
                  </a:cubicBezTo>
                  <a:cubicBezTo>
                    <a:pt x="32074" y="2064"/>
                    <a:pt x="41597" y="41983"/>
                    <a:pt x="27857" y="42189"/>
                  </a:cubicBezTo>
                  <a:cubicBezTo>
                    <a:pt x="15807" y="42368"/>
                    <a:pt x="10160" y="37163"/>
                    <a:pt x="10160" y="37163"/>
                  </a:cubicBezTo>
                  <a:close/>
                </a:path>
              </a:pathLst>
            </a:custGeom>
            <a:solidFill>
              <a:srgbClr val="D8A98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4" name="Freeform: Shape 2843">
              <a:extLst>
                <a:ext uri="{FF2B5EF4-FFF2-40B4-BE49-F238E27FC236}">
                  <a16:creationId xmlns:a16="http://schemas.microsoft.com/office/drawing/2014/main" id="{47869F5B-DDAA-DEBF-E473-149A44AC896A}"/>
                </a:ext>
              </a:extLst>
            </p:cNvPr>
            <p:cNvSpPr/>
            <p:nvPr/>
          </p:nvSpPr>
          <p:spPr>
            <a:xfrm>
              <a:off x="8962487" y="3515532"/>
              <a:ext cx="35088" cy="44298"/>
            </a:xfrm>
            <a:custGeom>
              <a:avLst/>
              <a:gdLst>
                <a:gd name="connsiteX0" fmla="*/ 13213 w 35088"/>
                <a:gd name="connsiteY0" fmla="*/ 44298 h 44298"/>
                <a:gd name="connsiteX1" fmla="*/ 215 w 35088"/>
                <a:gd name="connsiteY1" fmla="*/ 16670 h 44298"/>
                <a:gd name="connsiteX2" fmla="*/ 14927 w 35088"/>
                <a:gd name="connsiteY2" fmla="*/ 477 h 44298"/>
                <a:gd name="connsiteX3" fmla="*/ 31995 w 35088"/>
                <a:gd name="connsiteY3" fmla="*/ 601 h 44298"/>
                <a:gd name="connsiteX4" fmla="*/ 29523 w 35088"/>
                <a:gd name="connsiteY4" fmla="*/ 14940 h 44298"/>
                <a:gd name="connsiteX5" fmla="*/ 15712 w 35088"/>
                <a:gd name="connsiteY5" fmla="*/ 19356 h 44298"/>
                <a:gd name="connsiteX6" fmla="*/ 17010 w 35088"/>
                <a:gd name="connsiteY6" fmla="*/ 24899 h 44298"/>
                <a:gd name="connsiteX7" fmla="*/ 14538 w 35088"/>
                <a:gd name="connsiteY7" fmla="*/ 26395 h 44298"/>
                <a:gd name="connsiteX8" fmla="*/ 9357 w 35088"/>
                <a:gd name="connsiteY8" fmla="*/ 26368 h 44298"/>
                <a:gd name="connsiteX9" fmla="*/ 13007 w 35088"/>
                <a:gd name="connsiteY9" fmla="*/ 34328 h 44298"/>
                <a:gd name="connsiteX10" fmla="*/ 13213 w 35088"/>
                <a:gd name="connsiteY10" fmla="*/ 44294 h 44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088" h="44298">
                  <a:moveTo>
                    <a:pt x="13213" y="44298"/>
                  </a:moveTo>
                  <a:cubicBezTo>
                    <a:pt x="13213" y="44298"/>
                    <a:pt x="-1969" y="37760"/>
                    <a:pt x="215" y="16670"/>
                  </a:cubicBezTo>
                  <a:cubicBezTo>
                    <a:pt x="1288" y="6323"/>
                    <a:pt x="7538" y="1639"/>
                    <a:pt x="14927" y="477"/>
                  </a:cubicBezTo>
                  <a:cubicBezTo>
                    <a:pt x="22316" y="-685"/>
                    <a:pt x="28275" y="648"/>
                    <a:pt x="31995" y="601"/>
                  </a:cubicBezTo>
                  <a:cubicBezTo>
                    <a:pt x="31995" y="601"/>
                    <a:pt x="40390" y="14085"/>
                    <a:pt x="29523" y="14940"/>
                  </a:cubicBezTo>
                  <a:cubicBezTo>
                    <a:pt x="18655" y="15795"/>
                    <a:pt x="15506" y="16767"/>
                    <a:pt x="15712" y="19356"/>
                  </a:cubicBezTo>
                  <a:cubicBezTo>
                    <a:pt x="15914" y="21945"/>
                    <a:pt x="17010" y="24899"/>
                    <a:pt x="17010" y="24899"/>
                  </a:cubicBezTo>
                  <a:lnTo>
                    <a:pt x="14538" y="26395"/>
                  </a:lnTo>
                  <a:cubicBezTo>
                    <a:pt x="14538" y="26395"/>
                    <a:pt x="9851" y="23981"/>
                    <a:pt x="9357" y="26368"/>
                  </a:cubicBezTo>
                  <a:cubicBezTo>
                    <a:pt x="8700" y="29555"/>
                    <a:pt x="9967" y="34134"/>
                    <a:pt x="13007" y="34328"/>
                  </a:cubicBezTo>
                  <a:cubicBezTo>
                    <a:pt x="13007" y="34328"/>
                    <a:pt x="13349" y="39789"/>
                    <a:pt x="13213" y="44294"/>
                  </a:cubicBezTo>
                  <a:close/>
                </a:path>
              </a:pathLst>
            </a:custGeom>
            <a:solidFill>
              <a:srgbClr val="A47C5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5" name="Freeform: Shape 2844">
              <a:extLst>
                <a:ext uri="{FF2B5EF4-FFF2-40B4-BE49-F238E27FC236}">
                  <a16:creationId xmlns:a16="http://schemas.microsoft.com/office/drawing/2014/main" id="{9FBA8E17-CFFB-5DDC-A510-C2DCCA321E3C}"/>
                </a:ext>
              </a:extLst>
            </p:cNvPr>
            <p:cNvSpPr/>
            <p:nvPr/>
          </p:nvSpPr>
          <p:spPr>
            <a:xfrm>
              <a:off x="8974853" y="3549638"/>
              <a:ext cx="17076" cy="26154"/>
            </a:xfrm>
            <a:custGeom>
              <a:avLst/>
              <a:gdLst>
                <a:gd name="connsiteX0" fmla="*/ 15816 w 17076"/>
                <a:gd name="connsiteY0" fmla="*/ 2811 h 26154"/>
                <a:gd name="connsiteX1" fmla="*/ 16671 w 17076"/>
                <a:gd name="connsiteY1" fmla="*/ 16544 h 26154"/>
                <a:gd name="connsiteX2" fmla="*/ 11980 w 17076"/>
                <a:gd name="connsiteY2" fmla="*/ 25974 h 26154"/>
                <a:gd name="connsiteX3" fmla="*/ 0 w 17076"/>
                <a:gd name="connsiteY3" fmla="*/ 18413 h 26154"/>
                <a:gd name="connsiteX4" fmla="*/ 1563 w 17076"/>
                <a:gd name="connsiteY4" fmla="*/ 5820 h 26154"/>
                <a:gd name="connsiteX5" fmla="*/ 6868 w 17076"/>
                <a:gd name="connsiteY5" fmla="*/ 13 h 26154"/>
                <a:gd name="connsiteX6" fmla="*/ 15816 w 17076"/>
                <a:gd name="connsiteY6" fmla="*/ 2807 h 26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076" h="26154">
                  <a:moveTo>
                    <a:pt x="15816" y="2811"/>
                  </a:moveTo>
                  <a:lnTo>
                    <a:pt x="16671" y="16544"/>
                  </a:lnTo>
                  <a:cubicBezTo>
                    <a:pt x="17981" y="20442"/>
                    <a:pt x="16041" y="25313"/>
                    <a:pt x="11980" y="25974"/>
                  </a:cubicBezTo>
                  <a:cubicBezTo>
                    <a:pt x="2740" y="27482"/>
                    <a:pt x="35" y="19078"/>
                    <a:pt x="0" y="18413"/>
                  </a:cubicBezTo>
                  <a:lnTo>
                    <a:pt x="1563" y="5820"/>
                  </a:lnTo>
                  <a:cubicBezTo>
                    <a:pt x="1423" y="2753"/>
                    <a:pt x="3798" y="153"/>
                    <a:pt x="6868" y="13"/>
                  </a:cubicBezTo>
                  <a:cubicBezTo>
                    <a:pt x="9403" y="-100"/>
                    <a:pt x="15042" y="518"/>
                    <a:pt x="15816" y="2807"/>
                  </a:cubicBezTo>
                  <a:close/>
                </a:path>
              </a:pathLst>
            </a:custGeom>
            <a:solidFill>
              <a:srgbClr val="D8A98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6" name="Freeform: Shape 2845">
              <a:extLst>
                <a:ext uri="{FF2B5EF4-FFF2-40B4-BE49-F238E27FC236}">
                  <a16:creationId xmlns:a16="http://schemas.microsoft.com/office/drawing/2014/main" id="{EEED21CD-DAE4-B733-C01D-DAAA0B9E94B0}"/>
                </a:ext>
              </a:extLst>
            </p:cNvPr>
            <p:cNvSpPr/>
            <p:nvPr/>
          </p:nvSpPr>
          <p:spPr>
            <a:xfrm>
              <a:off x="8925392" y="3579068"/>
              <a:ext cx="57616" cy="75562"/>
            </a:xfrm>
            <a:custGeom>
              <a:avLst/>
              <a:gdLst>
                <a:gd name="connsiteX0" fmla="*/ 52458 w 57616"/>
                <a:gd name="connsiteY0" fmla="*/ 63870 h 75562"/>
                <a:gd name="connsiteX1" fmla="*/ 22824 w 57616"/>
                <a:gd name="connsiteY1" fmla="*/ 55497 h 75562"/>
                <a:gd name="connsiteX2" fmla="*/ 28160 w 57616"/>
                <a:gd name="connsiteY2" fmla="*/ 46686 h 75562"/>
                <a:gd name="connsiteX3" fmla="*/ 35040 w 57616"/>
                <a:gd name="connsiteY3" fmla="*/ 33155 h 75562"/>
                <a:gd name="connsiteX4" fmla="*/ 41333 w 57616"/>
                <a:gd name="connsiteY4" fmla="*/ 21533 h 75562"/>
                <a:gd name="connsiteX5" fmla="*/ 44528 w 57616"/>
                <a:gd name="connsiteY5" fmla="*/ 13285 h 75562"/>
                <a:gd name="connsiteX6" fmla="*/ 30189 w 57616"/>
                <a:gd name="connsiteY6" fmla="*/ 93 h 75562"/>
                <a:gd name="connsiteX7" fmla="*/ 16356 w 57616"/>
                <a:gd name="connsiteY7" fmla="*/ 14510 h 75562"/>
                <a:gd name="connsiteX8" fmla="*/ 2650 w 57616"/>
                <a:gd name="connsiteY8" fmla="*/ 48388 h 75562"/>
                <a:gd name="connsiteX9" fmla="*/ 6024 w 57616"/>
                <a:gd name="connsiteY9" fmla="*/ 70952 h 75562"/>
                <a:gd name="connsiteX10" fmla="*/ 40533 w 57616"/>
                <a:gd name="connsiteY10" fmla="*/ 75507 h 75562"/>
                <a:gd name="connsiteX11" fmla="*/ 56205 w 57616"/>
                <a:gd name="connsiteY11" fmla="*/ 73230 h 75562"/>
                <a:gd name="connsiteX12" fmla="*/ 52454 w 57616"/>
                <a:gd name="connsiteY12" fmla="*/ 63870 h 75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16" h="75562">
                  <a:moveTo>
                    <a:pt x="52458" y="63870"/>
                  </a:moveTo>
                  <a:cubicBezTo>
                    <a:pt x="33590" y="57328"/>
                    <a:pt x="22311" y="56209"/>
                    <a:pt x="22824" y="55497"/>
                  </a:cubicBezTo>
                  <a:cubicBezTo>
                    <a:pt x="25918" y="51218"/>
                    <a:pt x="26944" y="49201"/>
                    <a:pt x="28160" y="46686"/>
                  </a:cubicBezTo>
                  <a:cubicBezTo>
                    <a:pt x="30360" y="42130"/>
                    <a:pt x="32677" y="37629"/>
                    <a:pt x="35040" y="33155"/>
                  </a:cubicBezTo>
                  <a:cubicBezTo>
                    <a:pt x="37097" y="29261"/>
                    <a:pt x="39192" y="25385"/>
                    <a:pt x="41333" y="21533"/>
                  </a:cubicBezTo>
                  <a:cubicBezTo>
                    <a:pt x="42803" y="18890"/>
                    <a:pt x="44346" y="16387"/>
                    <a:pt x="44528" y="13285"/>
                  </a:cubicBezTo>
                  <a:cubicBezTo>
                    <a:pt x="44983" y="5589"/>
                    <a:pt x="37991" y="-855"/>
                    <a:pt x="30189" y="93"/>
                  </a:cubicBezTo>
                  <a:cubicBezTo>
                    <a:pt x="22140" y="1069"/>
                    <a:pt x="18812" y="8077"/>
                    <a:pt x="16356" y="14510"/>
                  </a:cubicBezTo>
                  <a:cubicBezTo>
                    <a:pt x="12854" y="23683"/>
                    <a:pt x="5566" y="39017"/>
                    <a:pt x="2650" y="48388"/>
                  </a:cubicBezTo>
                  <a:cubicBezTo>
                    <a:pt x="-249" y="57717"/>
                    <a:pt x="-2620" y="68196"/>
                    <a:pt x="6024" y="70952"/>
                  </a:cubicBezTo>
                  <a:cubicBezTo>
                    <a:pt x="16678" y="74349"/>
                    <a:pt x="30151" y="75881"/>
                    <a:pt x="40533" y="75507"/>
                  </a:cubicBezTo>
                  <a:cubicBezTo>
                    <a:pt x="44081" y="75379"/>
                    <a:pt x="53616" y="76098"/>
                    <a:pt x="56205" y="73230"/>
                  </a:cubicBezTo>
                  <a:cubicBezTo>
                    <a:pt x="59264" y="69844"/>
                    <a:pt x="57052" y="64301"/>
                    <a:pt x="52454" y="63870"/>
                  </a:cubicBezTo>
                  <a:close/>
                </a:path>
              </a:pathLst>
            </a:custGeom>
            <a:solidFill>
              <a:srgbClr val="4D87C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7" name="Freeform: Shape 2846">
              <a:extLst>
                <a:ext uri="{FF2B5EF4-FFF2-40B4-BE49-F238E27FC236}">
                  <a16:creationId xmlns:a16="http://schemas.microsoft.com/office/drawing/2014/main" id="{5EB0F902-7946-A584-F5BB-F96CED4E3522}"/>
                </a:ext>
              </a:extLst>
            </p:cNvPr>
            <p:cNvSpPr/>
            <p:nvPr/>
          </p:nvSpPr>
          <p:spPr>
            <a:xfrm>
              <a:off x="8978478" y="3626826"/>
              <a:ext cx="51036" cy="30897"/>
            </a:xfrm>
            <a:custGeom>
              <a:avLst/>
              <a:gdLst>
                <a:gd name="connsiteX0" fmla="*/ 36267 w 51036"/>
                <a:gd name="connsiteY0" fmla="*/ 29479 h 30897"/>
                <a:gd name="connsiteX1" fmla="*/ 3243 w 51036"/>
                <a:gd name="connsiteY1" fmla="*/ 30898 h 30897"/>
                <a:gd name="connsiteX2" fmla="*/ 79 w 51036"/>
                <a:gd name="connsiteY2" fmla="*/ 27275 h 30897"/>
                <a:gd name="connsiteX3" fmla="*/ 13485 w 51036"/>
                <a:gd name="connsiteY3" fmla="*/ 2453 h 30897"/>
                <a:gd name="connsiteX4" fmla="*/ 17901 w 51036"/>
                <a:gd name="connsiteY4" fmla="*/ 101 h 30897"/>
                <a:gd name="connsiteX5" fmla="*/ 48872 w 51036"/>
                <a:gd name="connsiteY5" fmla="*/ 688 h 30897"/>
                <a:gd name="connsiteX6" fmla="*/ 50956 w 51036"/>
                <a:gd name="connsiteY6" fmla="*/ 4078 h 30897"/>
                <a:gd name="connsiteX7" fmla="*/ 39920 w 51036"/>
                <a:gd name="connsiteY7" fmla="*/ 27038 h 30897"/>
                <a:gd name="connsiteX8" fmla="*/ 36271 w 51036"/>
                <a:gd name="connsiteY8" fmla="*/ 29475 h 3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036" h="30897">
                  <a:moveTo>
                    <a:pt x="36267" y="29479"/>
                  </a:moveTo>
                  <a:lnTo>
                    <a:pt x="3243" y="30898"/>
                  </a:lnTo>
                  <a:cubicBezTo>
                    <a:pt x="1071" y="30692"/>
                    <a:pt x="-360" y="29067"/>
                    <a:pt x="79" y="27275"/>
                  </a:cubicBezTo>
                  <a:lnTo>
                    <a:pt x="13485" y="2453"/>
                  </a:lnTo>
                  <a:cubicBezTo>
                    <a:pt x="13913" y="708"/>
                    <a:pt x="15903" y="-342"/>
                    <a:pt x="17901" y="101"/>
                  </a:cubicBezTo>
                  <a:lnTo>
                    <a:pt x="48872" y="688"/>
                  </a:lnTo>
                  <a:cubicBezTo>
                    <a:pt x="50400" y="1062"/>
                    <a:pt x="51325" y="2577"/>
                    <a:pt x="50956" y="4078"/>
                  </a:cubicBezTo>
                  <a:lnTo>
                    <a:pt x="39920" y="27038"/>
                  </a:lnTo>
                  <a:cubicBezTo>
                    <a:pt x="39543" y="28573"/>
                    <a:pt x="37919" y="29666"/>
                    <a:pt x="36271" y="29475"/>
                  </a:cubicBezTo>
                  <a:close/>
                </a:path>
              </a:pathLst>
            </a:custGeom>
            <a:solidFill>
              <a:srgbClr val="2F457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8" name="Freeform: Shape 2847">
              <a:extLst>
                <a:ext uri="{FF2B5EF4-FFF2-40B4-BE49-F238E27FC236}">
                  <a16:creationId xmlns:a16="http://schemas.microsoft.com/office/drawing/2014/main" id="{0E5057AA-F493-BE13-45DD-CCFFF4C522C5}"/>
                </a:ext>
              </a:extLst>
            </p:cNvPr>
            <p:cNvSpPr/>
            <p:nvPr/>
          </p:nvSpPr>
          <p:spPr>
            <a:xfrm>
              <a:off x="8972185" y="3638300"/>
              <a:ext cx="29694" cy="16628"/>
            </a:xfrm>
            <a:custGeom>
              <a:avLst/>
              <a:gdLst>
                <a:gd name="connsiteX0" fmla="*/ 26367 w 29694"/>
                <a:gd name="connsiteY0" fmla="*/ 9045 h 16628"/>
                <a:gd name="connsiteX1" fmla="*/ 20315 w 29694"/>
                <a:gd name="connsiteY1" fmla="*/ 11249 h 16628"/>
                <a:gd name="connsiteX2" fmla="*/ 28808 w 29694"/>
                <a:gd name="connsiteY2" fmla="*/ 7393 h 16628"/>
                <a:gd name="connsiteX3" fmla="*/ 28509 w 29694"/>
                <a:gd name="connsiteY3" fmla="*/ 5247 h 16628"/>
                <a:gd name="connsiteX4" fmla="*/ 28462 w 29694"/>
                <a:gd name="connsiteY4" fmla="*/ 5247 h 16628"/>
                <a:gd name="connsiteX5" fmla="*/ 25352 w 29694"/>
                <a:gd name="connsiteY5" fmla="*/ 6219 h 16628"/>
                <a:gd name="connsiteX6" fmla="*/ 29018 w 29694"/>
                <a:gd name="connsiteY6" fmla="*/ 4684 h 16628"/>
                <a:gd name="connsiteX7" fmla="*/ 28792 w 29694"/>
                <a:gd name="connsiteY7" fmla="*/ 2694 h 16628"/>
                <a:gd name="connsiteX8" fmla="*/ 28695 w 29694"/>
                <a:gd name="connsiteY8" fmla="*/ 2694 h 16628"/>
                <a:gd name="connsiteX9" fmla="*/ 26316 w 29694"/>
                <a:gd name="connsiteY9" fmla="*/ 3354 h 16628"/>
                <a:gd name="connsiteX10" fmla="*/ 27622 w 29694"/>
                <a:gd name="connsiteY10" fmla="*/ 2468 h 16628"/>
                <a:gd name="connsiteX11" fmla="*/ 27517 w 29694"/>
                <a:gd name="connsiteY11" fmla="*/ 1003 h 16628"/>
                <a:gd name="connsiteX12" fmla="*/ 26452 w 29694"/>
                <a:gd name="connsiteY12" fmla="*/ 847 h 16628"/>
                <a:gd name="connsiteX13" fmla="*/ 17462 w 29694"/>
                <a:gd name="connsiteY13" fmla="*/ 3121 h 16628"/>
                <a:gd name="connsiteX14" fmla="*/ 13178 w 29694"/>
                <a:gd name="connsiteY14" fmla="*/ 3455 h 16628"/>
                <a:gd name="connsiteX15" fmla="*/ 14951 w 29694"/>
                <a:gd name="connsiteY15" fmla="*/ 0 h 16628"/>
                <a:gd name="connsiteX16" fmla="*/ 12599 w 29694"/>
                <a:gd name="connsiteY16" fmla="*/ 249 h 16628"/>
                <a:gd name="connsiteX17" fmla="*/ 7507 w 29694"/>
                <a:gd name="connsiteY17" fmla="*/ 2464 h 16628"/>
                <a:gd name="connsiteX18" fmla="*/ 1448 w 29694"/>
                <a:gd name="connsiteY18" fmla="*/ 6876 h 16628"/>
                <a:gd name="connsiteX19" fmla="*/ 1755 w 29694"/>
                <a:gd name="connsiteY19" fmla="*/ 15000 h 16628"/>
                <a:gd name="connsiteX20" fmla="*/ 17952 w 29694"/>
                <a:gd name="connsiteY20" fmla="*/ 15213 h 16628"/>
                <a:gd name="connsiteX21" fmla="*/ 27199 w 29694"/>
                <a:gd name="connsiteY21" fmla="*/ 11218 h 16628"/>
                <a:gd name="connsiteX22" fmla="*/ 26398 w 29694"/>
                <a:gd name="connsiteY22" fmla="*/ 9033 h 16628"/>
                <a:gd name="connsiteX23" fmla="*/ 26363 w 29694"/>
                <a:gd name="connsiteY23" fmla="*/ 9041 h 1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694" h="16628">
                  <a:moveTo>
                    <a:pt x="26367" y="9045"/>
                  </a:moveTo>
                  <a:cubicBezTo>
                    <a:pt x="25216" y="9263"/>
                    <a:pt x="20315" y="11249"/>
                    <a:pt x="20315" y="11249"/>
                  </a:cubicBezTo>
                  <a:lnTo>
                    <a:pt x="28808" y="7393"/>
                  </a:lnTo>
                  <a:cubicBezTo>
                    <a:pt x="29900" y="6899"/>
                    <a:pt x="29663" y="5181"/>
                    <a:pt x="28509" y="5247"/>
                  </a:cubicBezTo>
                  <a:cubicBezTo>
                    <a:pt x="28493" y="5247"/>
                    <a:pt x="28477" y="5247"/>
                    <a:pt x="28462" y="5247"/>
                  </a:cubicBezTo>
                  <a:cubicBezTo>
                    <a:pt x="27902" y="5294"/>
                    <a:pt x="26686" y="5706"/>
                    <a:pt x="25352" y="6219"/>
                  </a:cubicBezTo>
                  <a:lnTo>
                    <a:pt x="29018" y="4684"/>
                  </a:lnTo>
                  <a:cubicBezTo>
                    <a:pt x="30036" y="4256"/>
                    <a:pt x="29861" y="2678"/>
                    <a:pt x="28792" y="2694"/>
                  </a:cubicBezTo>
                  <a:cubicBezTo>
                    <a:pt x="28761" y="2694"/>
                    <a:pt x="28730" y="2694"/>
                    <a:pt x="28695" y="2694"/>
                  </a:cubicBezTo>
                  <a:lnTo>
                    <a:pt x="26316" y="3354"/>
                  </a:lnTo>
                  <a:lnTo>
                    <a:pt x="27622" y="2468"/>
                  </a:lnTo>
                  <a:cubicBezTo>
                    <a:pt x="28190" y="2083"/>
                    <a:pt x="28124" y="1205"/>
                    <a:pt x="27517" y="1003"/>
                  </a:cubicBezTo>
                  <a:cubicBezTo>
                    <a:pt x="27203" y="898"/>
                    <a:pt x="26845" y="828"/>
                    <a:pt x="26452" y="847"/>
                  </a:cubicBezTo>
                  <a:cubicBezTo>
                    <a:pt x="25123" y="906"/>
                    <a:pt x="19390" y="2733"/>
                    <a:pt x="17462" y="3121"/>
                  </a:cubicBezTo>
                  <a:cubicBezTo>
                    <a:pt x="15938" y="3428"/>
                    <a:pt x="13178" y="3455"/>
                    <a:pt x="13178" y="3455"/>
                  </a:cubicBezTo>
                  <a:lnTo>
                    <a:pt x="14951" y="0"/>
                  </a:lnTo>
                  <a:cubicBezTo>
                    <a:pt x="14838" y="62"/>
                    <a:pt x="14379" y="171"/>
                    <a:pt x="12599" y="249"/>
                  </a:cubicBezTo>
                  <a:cubicBezTo>
                    <a:pt x="9941" y="369"/>
                    <a:pt x="7507" y="2464"/>
                    <a:pt x="7507" y="2464"/>
                  </a:cubicBezTo>
                  <a:lnTo>
                    <a:pt x="1448" y="6876"/>
                  </a:lnTo>
                  <a:cubicBezTo>
                    <a:pt x="-1619" y="10642"/>
                    <a:pt x="1028" y="14514"/>
                    <a:pt x="1755" y="15000"/>
                  </a:cubicBezTo>
                  <a:cubicBezTo>
                    <a:pt x="4044" y="16535"/>
                    <a:pt x="12778" y="17631"/>
                    <a:pt x="17952" y="15213"/>
                  </a:cubicBezTo>
                  <a:cubicBezTo>
                    <a:pt x="20187" y="14172"/>
                    <a:pt x="27199" y="11218"/>
                    <a:pt x="27199" y="11218"/>
                  </a:cubicBezTo>
                  <a:cubicBezTo>
                    <a:pt x="28100" y="10763"/>
                    <a:pt x="27370" y="8874"/>
                    <a:pt x="26398" y="9033"/>
                  </a:cubicBezTo>
                  <a:cubicBezTo>
                    <a:pt x="26386" y="9033"/>
                    <a:pt x="26375" y="9037"/>
                    <a:pt x="26363" y="9041"/>
                  </a:cubicBezTo>
                  <a:close/>
                </a:path>
              </a:pathLst>
            </a:custGeom>
            <a:solidFill>
              <a:srgbClr val="EDBA9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9" name="Freeform: Shape 2848">
              <a:extLst>
                <a:ext uri="{FF2B5EF4-FFF2-40B4-BE49-F238E27FC236}">
                  <a16:creationId xmlns:a16="http://schemas.microsoft.com/office/drawing/2014/main" id="{73D0719F-0EB6-EFB4-4A7D-0C546427E7E5}"/>
                </a:ext>
              </a:extLst>
            </p:cNvPr>
            <p:cNvSpPr/>
            <p:nvPr/>
          </p:nvSpPr>
          <p:spPr>
            <a:xfrm>
              <a:off x="9077496" y="3532066"/>
              <a:ext cx="23022" cy="30681"/>
            </a:xfrm>
            <a:custGeom>
              <a:avLst/>
              <a:gdLst>
                <a:gd name="connsiteX0" fmla="*/ 22365 w 23022"/>
                <a:gd name="connsiteY0" fmla="*/ 14153 h 30681"/>
                <a:gd name="connsiteX1" fmla="*/ 19975 w 23022"/>
                <a:gd name="connsiteY1" fmla="*/ 14448 h 30681"/>
                <a:gd name="connsiteX2" fmla="*/ 19944 w 23022"/>
                <a:gd name="connsiteY2" fmla="*/ 14487 h 30681"/>
                <a:gd name="connsiteX3" fmla="*/ 20084 w 23022"/>
                <a:gd name="connsiteY3" fmla="*/ 13920 h 30681"/>
                <a:gd name="connsiteX4" fmla="*/ 20717 w 23022"/>
                <a:gd name="connsiteY4" fmla="*/ 12575 h 30681"/>
                <a:gd name="connsiteX5" fmla="*/ 20717 w 23022"/>
                <a:gd name="connsiteY5" fmla="*/ 12575 h 30681"/>
                <a:gd name="connsiteX6" fmla="*/ 20173 w 23022"/>
                <a:gd name="connsiteY6" fmla="*/ 10826 h 30681"/>
                <a:gd name="connsiteX7" fmla="*/ 18187 w 23022"/>
                <a:gd name="connsiteY7" fmla="*/ 11265 h 30681"/>
                <a:gd name="connsiteX8" fmla="*/ 17390 w 23022"/>
                <a:gd name="connsiteY8" fmla="*/ 12458 h 30681"/>
                <a:gd name="connsiteX9" fmla="*/ 18444 w 23022"/>
                <a:gd name="connsiteY9" fmla="*/ 10616 h 30681"/>
                <a:gd name="connsiteX10" fmla="*/ 18451 w 23022"/>
                <a:gd name="connsiteY10" fmla="*/ 10604 h 30681"/>
                <a:gd name="connsiteX11" fmla="*/ 18051 w 23022"/>
                <a:gd name="connsiteY11" fmla="*/ 8540 h 30681"/>
                <a:gd name="connsiteX12" fmla="*/ 15793 w 23022"/>
                <a:gd name="connsiteY12" fmla="*/ 8843 h 30681"/>
                <a:gd name="connsiteX13" fmla="*/ 17701 w 23022"/>
                <a:gd name="connsiteY13" fmla="*/ 4754 h 30681"/>
                <a:gd name="connsiteX14" fmla="*/ 18961 w 23022"/>
                <a:gd name="connsiteY14" fmla="*/ 105 h 30681"/>
                <a:gd name="connsiteX15" fmla="*/ 15225 w 23022"/>
                <a:gd name="connsiteY15" fmla="*/ 3195 h 30681"/>
                <a:gd name="connsiteX16" fmla="*/ 10153 w 23022"/>
                <a:gd name="connsiteY16" fmla="*/ 10243 h 30681"/>
                <a:gd name="connsiteX17" fmla="*/ 6612 w 23022"/>
                <a:gd name="connsiteY17" fmla="*/ 14930 h 30681"/>
                <a:gd name="connsiteX18" fmla="*/ 6868 w 23022"/>
                <a:gd name="connsiteY18" fmla="*/ 14320 h 30681"/>
                <a:gd name="connsiteX19" fmla="*/ 8100 w 23022"/>
                <a:gd name="connsiteY19" fmla="*/ 11696 h 30681"/>
                <a:gd name="connsiteX20" fmla="*/ 9045 w 23022"/>
                <a:gd name="connsiteY20" fmla="*/ 9858 h 30681"/>
                <a:gd name="connsiteX21" fmla="*/ 8229 w 23022"/>
                <a:gd name="connsiteY21" fmla="*/ 6740 h 30681"/>
                <a:gd name="connsiteX22" fmla="*/ 6857 w 23022"/>
                <a:gd name="connsiteY22" fmla="*/ 8610 h 30681"/>
                <a:gd name="connsiteX23" fmla="*/ 5679 w 23022"/>
                <a:gd name="connsiteY23" fmla="*/ 10398 h 30681"/>
                <a:gd name="connsiteX24" fmla="*/ 4093 w 23022"/>
                <a:gd name="connsiteY24" fmla="*/ 13002 h 30681"/>
                <a:gd name="connsiteX25" fmla="*/ 3253 w 23022"/>
                <a:gd name="connsiteY25" fmla="*/ 14565 h 30681"/>
                <a:gd name="connsiteX26" fmla="*/ 2865 w 23022"/>
                <a:gd name="connsiteY26" fmla="*/ 15377 h 30681"/>
                <a:gd name="connsiteX27" fmla="*/ 2488 w 23022"/>
                <a:gd name="connsiteY27" fmla="*/ 16252 h 30681"/>
                <a:gd name="connsiteX28" fmla="*/ 1306 w 23022"/>
                <a:gd name="connsiteY28" fmla="*/ 19645 h 30681"/>
                <a:gd name="connsiteX29" fmla="*/ 548 w 23022"/>
                <a:gd name="connsiteY29" fmla="*/ 22657 h 30681"/>
                <a:gd name="connsiteX30" fmla="*/ 144 w 23022"/>
                <a:gd name="connsiteY30" fmla="*/ 24826 h 30681"/>
                <a:gd name="connsiteX31" fmla="*/ 51 w 23022"/>
                <a:gd name="connsiteY31" fmla="*/ 25452 h 30681"/>
                <a:gd name="connsiteX32" fmla="*/ 19 w 23022"/>
                <a:gd name="connsiteY32" fmla="*/ 25685 h 30681"/>
                <a:gd name="connsiteX33" fmla="*/ 19 w 23022"/>
                <a:gd name="connsiteY33" fmla="*/ 25705 h 30681"/>
                <a:gd name="connsiteX34" fmla="*/ 0 w 23022"/>
                <a:gd name="connsiteY34" fmla="*/ 26004 h 30681"/>
                <a:gd name="connsiteX35" fmla="*/ 393 w 23022"/>
                <a:gd name="connsiteY35" fmla="*/ 27244 h 30681"/>
                <a:gd name="connsiteX36" fmla="*/ 3436 w 23022"/>
                <a:gd name="connsiteY36" fmla="*/ 30105 h 30681"/>
                <a:gd name="connsiteX37" fmla="*/ 3436 w 23022"/>
                <a:gd name="connsiteY37" fmla="*/ 30105 h 30681"/>
                <a:gd name="connsiteX38" fmla="*/ 12104 w 23022"/>
                <a:gd name="connsiteY38" fmla="*/ 27905 h 30681"/>
                <a:gd name="connsiteX39" fmla="*/ 16970 w 23022"/>
                <a:gd name="connsiteY39" fmla="*/ 23652 h 30681"/>
                <a:gd name="connsiteX40" fmla="*/ 17414 w 23022"/>
                <a:gd name="connsiteY40" fmla="*/ 23291 h 30681"/>
                <a:gd name="connsiteX41" fmla="*/ 17674 w 23022"/>
                <a:gd name="connsiteY41" fmla="*/ 22999 h 30681"/>
                <a:gd name="connsiteX42" fmla="*/ 18331 w 23022"/>
                <a:gd name="connsiteY42" fmla="*/ 22249 h 30681"/>
                <a:gd name="connsiteX43" fmla="*/ 20232 w 23022"/>
                <a:gd name="connsiteY43" fmla="*/ 19925 h 30681"/>
                <a:gd name="connsiteX44" fmla="*/ 22008 w 23022"/>
                <a:gd name="connsiteY44" fmla="*/ 17492 h 30681"/>
                <a:gd name="connsiteX45" fmla="*/ 22560 w 23022"/>
                <a:gd name="connsiteY45" fmla="*/ 16656 h 30681"/>
                <a:gd name="connsiteX46" fmla="*/ 22766 w 23022"/>
                <a:gd name="connsiteY46" fmla="*/ 16333 h 30681"/>
                <a:gd name="connsiteX47" fmla="*/ 22365 w 23022"/>
                <a:gd name="connsiteY47" fmla="*/ 14145 h 30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3022" h="30681">
                  <a:moveTo>
                    <a:pt x="22365" y="14153"/>
                  </a:moveTo>
                  <a:cubicBezTo>
                    <a:pt x="21623" y="13593"/>
                    <a:pt x="20550" y="13725"/>
                    <a:pt x="19975" y="14448"/>
                  </a:cubicBezTo>
                  <a:lnTo>
                    <a:pt x="19944" y="14487"/>
                  </a:lnTo>
                  <a:cubicBezTo>
                    <a:pt x="19944" y="14487"/>
                    <a:pt x="19936" y="14227"/>
                    <a:pt x="20084" y="13920"/>
                  </a:cubicBezTo>
                  <a:cubicBezTo>
                    <a:pt x="20473" y="13115"/>
                    <a:pt x="20717" y="12575"/>
                    <a:pt x="20717" y="12575"/>
                  </a:cubicBezTo>
                  <a:lnTo>
                    <a:pt x="20717" y="12575"/>
                  </a:lnTo>
                  <a:cubicBezTo>
                    <a:pt x="21001" y="11949"/>
                    <a:pt x="20783" y="11199"/>
                    <a:pt x="20173" y="10826"/>
                  </a:cubicBezTo>
                  <a:cubicBezTo>
                    <a:pt x="19501" y="10414"/>
                    <a:pt x="18615" y="10608"/>
                    <a:pt x="18187" y="11265"/>
                  </a:cubicBezTo>
                  <a:cubicBezTo>
                    <a:pt x="18187" y="11265"/>
                    <a:pt x="17872" y="11747"/>
                    <a:pt x="17390" y="12458"/>
                  </a:cubicBezTo>
                  <a:cubicBezTo>
                    <a:pt x="17017" y="13010"/>
                    <a:pt x="18444" y="10616"/>
                    <a:pt x="18444" y="10616"/>
                  </a:cubicBezTo>
                  <a:lnTo>
                    <a:pt x="18451" y="10604"/>
                  </a:lnTo>
                  <a:cubicBezTo>
                    <a:pt x="18875" y="9924"/>
                    <a:pt x="18716" y="9030"/>
                    <a:pt x="18051" y="8540"/>
                  </a:cubicBezTo>
                  <a:cubicBezTo>
                    <a:pt x="17344" y="8015"/>
                    <a:pt x="16329" y="8151"/>
                    <a:pt x="15793" y="8843"/>
                  </a:cubicBezTo>
                  <a:cubicBezTo>
                    <a:pt x="15793" y="8843"/>
                    <a:pt x="16415" y="6771"/>
                    <a:pt x="17701" y="4754"/>
                  </a:cubicBezTo>
                  <a:cubicBezTo>
                    <a:pt x="18346" y="3747"/>
                    <a:pt x="19897" y="1124"/>
                    <a:pt x="18961" y="105"/>
                  </a:cubicBezTo>
                  <a:cubicBezTo>
                    <a:pt x="18335" y="-575"/>
                    <a:pt x="15901" y="2224"/>
                    <a:pt x="15225" y="3195"/>
                  </a:cubicBezTo>
                  <a:cubicBezTo>
                    <a:pt x="13876" y="5139"/>
                    <a:pt x="12038" y="7704"/>
                    <a:pt x="10153" y="10243"/>
                  </a:cubicBezTo>
                  <a:cubicBezTo>
                    <a:pt x="8944" y="11871"/>
                    <a:pt x="7719" y="13484"/>
                    <a:pt x="6612" y="14930"/>
                  </a:cubicBezTo>
                  <a:cubicBezTo>
                    <a:pt x="6697" y="14724"/>
                    <a:pt x="6783" y="14518"/>
                    <a:pt x="6868" y="14320"/>
                  </a:cubicBezTo>
                  <a:cubicBezTo>
                    <a:pt x="7288" y="13360"/>
                    <a:pt x="7719" y="12462"/>
                    <a:pt x="8100" y="11696"/>
                  </a:cubicBezTo>
                  <a:cubicBezTo>
                    <a:pt x="8481" y="10930"/>
                    <a:pt x="8812" y="10297"/>
                    <a:pt x="9045" y="9858"/>
                  </a:cubicBezTo>
                  <a:cubicBezTo>
                    <a:pt x="9278" y="9422"/>
                    <a:pt x="10277" y="5123"/>
                    <a:pt x="8229" y="6740"/>
                  </a:cubicBezTo>
                  <a:cubicBezTo>
                    <a:pt x="8229" y="6740"/>
                    <a:pt x="7152" y="8182"/>
                    <a:pt x="6857" y="8610"/>
                  </a:cubicBezTo>
                  <a:cubicBezTo>
                    <a:pt x="6565" y="9038"/>
                    <a:pt x="6157" y="9652"/>
                    <a:pt x="5679" y="10398"/>
                  </a:cubicBezTo>
                  <a:cubicBezTo>
                    <a:pt x="5201" y="11144"/>
                    <a:pt x="4653" y="12027"/>
                    <a:pt x="4093" y="13002"/>
                  </a:cubicBezTo>
                  <a:cubicBezTo>
                    <a:pt x="3813" y="13500"/>
                    <a:pt x="3537" y="13993"/>
                    <a:pt x="3253" y="14565"/>
                  </a:cubicBezTo>
                  <a:cubicBezTo>
                    <a:pt x="3102" y="14860"/>
                    <a:pt x="2989" y="15113"/>
                    <a:pt x="2865" y="15377"/>
                  </a:cubicBezTo>
                  <a:cubicBezTo>
                    <a:pt x="2740" y="15669"/>
                    <a:pt x="2612" y="15960"/>
                    <a:pt x="2488" y="16252"/>
                  </a:cubicBezTo>
                  <a:cubicBezTo>
                    <a:pt x="2017" y="17394"/>
                    <a:pt x="1625" y="18553"/>
                    <a:pt x="1306" y="19645"/>
                  </a:cubicBezTo>
                  <a:cubicBezTo>
                    <a:pt x="987" y="20741"/>
                    <a:pt x="739" y="21771"/>
                    <a:pt x="548" y="22657"/>
                  </a:cubicBezTo>
                  <a:cubicBezTo>
                    <a:pt x="358" y="23548"/>
                    <a:pt x="225" y="24294"/>
                    <a:pt x="144" y="24826"/>
                  </a:cubicBezTo>
                  <a:cubicBezTo>
                    <a:pt x="105" y="25098"/>
                    <a:pt x="74" y="25308"/>
                    <a:pt x="51" y="25452"/>
                  </a:cubicBezTo>
                  <a:cubicBezTo>
                    <a:pt x="31" y="25604"/>
                    <a:pt x="19" y="25685"/>
                    <a:pt x="19" y="25685"/>
                  </a:cubicBezTo>
                  <a:lnTo>
                    <a:pt x="19" y="25705"/>
                  </a:lnTo>
                  <a:cubicBezTo>
                    <a:pt x="4" y="25802"/>
                    <a:pt x="0" y="25903"/>
                    <a:pt x="0" y="26004"/>
                  </a:cubicBezTo>
                  <a:cubicBezTo>
                    <a:pt x="8" y="26463"/>
                    <a:pt x="152" y="26886"/>
                    <a:pt x="393" y="27244"/>
                  </a:cubicBezTo>
                  <a:cubicBezTo>
                    <a:pt x="855" y="28410"/>
                    <a:pt x="1947" y="29417"/>
                    <a:pt x="3436" y="30105"/>
                  </a:cubicBezTo>
                  <a:lnTo>
                    <a:pt x="3436" y="30105"/>
                  </a:lnTo>
                  <a:cubicBezTo>
                    <a:pt x="6289" y="31419"/>
                    <a:pt x="8606" y="30404"/>
                    <a:pt x="12104" y="27905"/>
                  </a:cubicBezTo>
                  <a:cubicBezTo>
                    <a:pt x="14012" y="26540"/>
                    <a:pt x="15416" y="25526"/>
                    <a:pt x="16970" y="23652"/>
                  </a:cubicBezTo>
                  <a:cubicBezTo>
                    <a:pt x="17130" y="23551"/>
                    <a:pt x="17281" y="23435"/>
                    <a:pt x="17414" y="23291"/>
                  </a:cubicBezTo>
                  <a:cubicBezTo>
                    <a:pt x="17414" y="23291"/>
                    <a:pt x="17511" y="23186"/>
                    <a:pt x="17674" y="22999"/>
                  </a:cubicBezTo>
                  <a:cubicBezTo>
                    <a:pt x="17833" y="22817"/>
                    <a:pt x="18059" y="22560"/>
                    <a:pt x="18331" y="22249"/>
                  </a:cubicBezTo>
                  <a:cubicBezTo>
                    <a:pt x="18867" y="21627"/>
                    <a:pt x="19563" y="20788"/>
                    <a:pt x="20232" y="19925"/>
                  </a:cubicBezTo>
                  <a:cubicBezTo>
                    <a:pt x="20900" y="19062"/>
                    <a:pt x="21545" y="18176"/>
                    <a:pt x="22008" y="17492"/>
                  </a:cubicBezTo>
                  <a:cubicBezTo>
                    <a:pt x="22241" y="17150"/>
                    <a:pt x="22432" y="16862"/>
                    <a:pt x="22560" y="16656"/>
                  </a:cubicBezTo>
                  <a:cubicBezTo>
                    <a:pt x="22692" y="16450"/>
                    <a:pt x="22766" y="16333"/>
                    <a:pt x="22766" y="16333"/>
                  </a:cubicBezTo>
                  <a:cubicBezTo>
                    <a:pt x="23221" y="15622"/>
                    <a:pt x="23061" y="14670"/>
                    <a:pt x="22365" y="14145"/>
                  </a:cubicBezTo>
                  <a:close/>
                </a:path>
              </a:pathLst>
            </a:custGeom>
            <a:solidFill>
              <a:srgbClr val="D8A98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70" name="Group 3169">
            <a:extLst>
              <a:ext uri="{FF2B5EF4-FFF2-40B4-BE49-F238E27FC236}">
                <a16:creationId xmlns:a16="http://schemas.microsoft.com/office/drawing/2014/main" id="{BEA02783-3E53-7F82-21E5-0FC5E2F757A5}"/>
              </a:ext>
            </a:extLst>
          </p:cNvPr>
          <p:cNvGrpSpPr/>
          <p:nvPr/>
        </p:nvGrpSpPr>
        <p:grpSpPr>
          <a:xfrm>
            <a:off x="8700740" y="3420613"/>
            <a:ext cx="684624" cy="431708"/>
            <a:chOff x="8700740" y="3420613"/>
            <a:chExt cx="684624" cy="431708"/>
          </a:xfrm>
        </p:grpSpPr>
        <p:sp>
          <p:nvSpPr>
            <p:cNvPr id="2856" name="Freeform: Shape 2855">
              <a:extLst>
                <a:ext uri="{FF2B5EF4-FFF2-40B4-BE49-F238E27FC236}">
                  <a16:creationId xmlns:a16="http://schemas.microsoft.com/office/drawing/2014/main" id="{0F94E603-A707-AD53-825A-FD9122763053}"/>
                </a:ext>
              </a:extLst>
            </p:cNvPr>
            <p:cNvSpPr/>
            <p:nvPr/>
          </p:nvSpPr>
          <p:spPr>
            <a:xfrm>
              <a:off x="9331434" y="3714735"/>
              <a:ext cx="23029" cy="47205"/>
            </a:xfrm>
            <a:custGeom>
              <a:avLst/>
              <a:gdLst>
                <a:gd name="connsiteX0" fmla="*/ 22070 w 23029"/>
                <a:gd name="connsiteY0" fmla="*/ 20128 h 47205"/>
                <a:gd name="connsiteX1" fmla="*/ 5061 w 23029"/>
                <a:gd name="connsiteY1" fmla="*/ 0 h 47205"/>
                <a:gd name="connsiteX2" fmla="*/ 942 w 23029"/>
                <a:gd name="connsiteY2" fmla="*/ 27031 h 47205"/>
                <a:gd name="connsiteX3" fmla="*/ 18136 w 23029"/>
                <a:gd name="connsiteY3" fmla="*/ 47206 h 47205"/>
                <a:gd name="connsiteX4" fmla="*/ 22070 w 23029"/>
                <a:gd name="connsiteY4" fmla="*/ 20128 h 47205"/>
                <a:gd name="connsiteX5" fmla="*/ 22070 w 23029"/>
                <a:gd name="connsiteY5" fmla="*/ 20128 h 47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29" h="47205">
                  <a:moveTo>
                    <a:pt x="22070" y="20128"/>
                  </a:moveTo>
                  <a:cubicBezTo>
                    <a:pt x="18512" y="7106"/>
                    <a:pt x="5061" y="0"/>
                    <a:pt x="5061" y="0"/>
                  </a:cubicBezTo>
                  <a:cubicBezTo>
                    <a:pt x="5061" y="0"/>
                    <a:pt x="-2618" y="14008"/>
                    <a:pt x="942" y="27031"/>
                  </a:cubicBezTo>
                  <a:cubicBezTo>
                    <a:pt x="4500" y="40054"/>
                    <a:pt x="18136" y="47206"/>
                    <a:pt x="18136" y="47206"/>
                  </a:cubicBezTo>
                  <a:cubicBezTo>
                    <a:pt x="18136" y="47206"/>
                    <a:pt x="25630" y="33151"/>
                    <a:pt x="22070" y="20128"/>
                  </a:cubicBezTo>
                  <a:lnTo>
                    <a:pt x="22070" y="20128"/>
                  </a:lnTo>
                  <a:close/>
                </a:path>
              </a:pathLst>
            </a:custGeom>
            <a:solidFill>
              <a:srgbClr val="89CE3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7" name="Freeform: Shape 2856">
              <a:extLst>
                <a:ext uri="{FF2B5EF4-FFF2-40B4-BE49-F238E27FC236}">
                  <a16:creationId xmlns:a16="http://schemas.microsoft.com/office/drawing/2014/main" id="{E5DC025E-6042-C848-A9E6-3164CE9C5B14}"/>
                </a:ext>
              </a:extLst>
            </p:cNvPr>
            <p:cNvSpPr/>
            <p:nvPr/>
          </p:nvSpPr>
          <p:spPr>
            <a:xfrm>
              <a:off x="8747379" y="3850039"/>
              <a:ext cx="1104" cy="1959"/>
            </a:xfrm>
            <a:custGeom>
              <a:avLst/>
              <a:gdLst>
                <a:gd name="connsiteX0" fmla="*/ 0 w 1104"/>
                <a:gd name="connsiteY0" fmla="*/ 0 h 1959"/>
                <a:gd name="connsiteX1" fmla="*/ 747 w 1104"/>
                <a:gd name="connsiteY1" fmla="*/ 1959 h 1959"/>
                <a:gd name="connsiteX2" fmla="*/ 1104 w 1104"/>
                <a:gd name="connsiteY2" fmla="*/ 1959 h 1959"/>
                <a:gd name="connsiteX3" fmla="*/ 0 w 1104"/>
                <a:gd name="connsiteY3" fmla="*/ 0 h 1959"/>
                <a:gd name="connsiteX4" fmla="*/ 0 w 1104"/>
                <a:gd name="connsiteY4" fmla="*/ 0 h 1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4" h="1959">
                  <a:moveTo>
                    <a:pt x="0" y="0"/>
                  </a:moveTo>
                  <a:cubicBezTo>
                    <a:pt x="294" y="767"/>
                    <a:pt x="534" y="1380"/>
                    <a:pt x="747" y="1959"/>
                  </a:cubicBezTo>
                  <a:lnTo>
                    <a:pt x="1104" y="1959"/>
                  </a:lnTo>
                  <a:cubicBezTo>
                    <a:pt x="730" y="1310"/>
                    <a:pt x="367" y="654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0662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8" name="Freeform: Shape 2857">
              <a:extLst>
                <a:ext uri="{FF2B5EF4-FFF2-40B4-BE49-F238E27FC236}">
                  <a16:creationId xmlns:a16="http://schemas.microsoft.com/office/drawing/2014/main" id="{ED8813AA-74E1-3FD6-8016-22A45E11143D}"/>
                </a:ext>
              </a:extLst>
            </p:cNvPr>
            <p:cNvSpPr/>
            <p:nvPr/>
          </p:nvSpPr>
          <p:spPr>
            <a:xfrm>
              <a:off x="8721730" y="3781289"/>
              <a:ext cx="28439" cy="61934"/>
            </a:xfrm>
            <a:custGeom>
              <a:avLst/>
              <a:gdLst>
                <a:gd name="connsiteX0" fmla="*/ 369 w 28439"/>
                <a:gd name="connsiteY0" fmla="*/ 28444 h 61934"/>
                <a:gd name="connsiteX1" fmla="*/ 18848 w 28439"/>
                <a:gd name="connsiteY1" fmla="*/ 0 h 61934"/>
                <a:gd name="connsiteX2" fmla="*/ 28077 w 28439"/>
                <a:gd name="connsiteY2" fmla="*/ 33398 h 61934"/>
                <a:gd name="connsiteX3" fmla="*/ 9372 w 28439"/>
                <a:gd name="connsiteY3" fmla="*/ 61935 h 61934"/>
                <a:gd name="connsiteX4" fmla="*/ 369 w 28439"/>
                <a:gd name="connsiteY4" fmla="*/ 28444 h 61934"/>
                <a:gd name="connsiteX5" fmla="*/ 369 w 28439"/>
                <a:gd name="connsiteY5" fmla="*/ 28444 h 61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439" h="61934">
                  <a:moveTo>
                    <a:pt x="369" y="28444"/>
                  </a:moveTo>
                  <a:cubicBezTo>
                    <a:pt x="2923" y="11366"/>
                    <a:pt x="18848" y="0"/>
                    <a:pt x="18848" y="0"/>
                  </a:cubicBezTo>
                  <a:cubicBezTo>
                    <a:pt x="18848" y="0"/>
                    <a:pt x="30632" y="16321"/>
                    <a:pt x="28077" y="33398"/>
                  </a:cubicBezTo>
                  <a:cubicBezTo>
                    <a:pt x="25523" y="50475"/>
                    <a:pt x="9372" y="61935"/>
                    <a:pt x="9372" y="61935"/>
                  </a:cubicBezTo>
                  <a:cubicBezTo>
                    <a:pt x="9372" y="61935"/>
                    <a:pt x="-2186" y="45521"/>
                    <a:pt x="369" y="28444"/>
                  </a:cubicBezTo>
                  <a:lnTo>
                    <a:pt x="369" y="28444"/>
                  </a:lnTo>
                  <a:close/>
                </a:path>
              </a:pathLst>
            </a:custGeom>
            <a:solidFill>
              <a:srgbClr val="89CE3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9" name="Freeform: Shape 2858">
              <a:extLst>
                <a:ext uri="{FF2B5EF4-FFF2-40B4-BE49-F238E27FC236}">
                  <a16:creationId xmlns:a16="http://schemas.microsoft.com/office/drawing/2014/main" id="{A766469B-418A-84D3-0E20-2A3A4E077C59}"/>
                </a:ext>
              </a:extLst>
            </p:cNvPr>
            <p:cNvSpPr/>
            <p:nvPr/>
          </p:nvSpPr>
          <p:spPr>
            <a:xfrm>
              <a:off x="8709284" y="3514882"/>
              <a:ext cx="12158" cy="50023"/>
            </a:xfrm>
            <a:custGeom>
              <a:avLst/>
              <a:gdLst>
                <a:gd name="connsiteX0" fmla="*/ 12159 w 12158"/>
                <a:gd name="connsiteY0" fmla="*/ 6071 h 50023"/>
                <a:gd name="connsiteX1" fmla="*/ 12134 w 12158"/>
                <a:gd name="connsiteY1" fmla="*/ 43961 h 50023"/>
                <a:gd name="connsiteX2" fmla="*/ 6062 w 12158"/>
                <a:gd name="connsiteY2" fmla="*/ 50024 h 50023"/>
                <a:gd name="connsiteX3" fmla="*/ 0 w 12158"/>
                <a:gd name="connsiteY3" fmla="*/ 43952 h 50023"/>
                <a:gd name="connsiteX4" fmla="*/ 27 w 12158"/>
                <a:gd name="connsiteY4" fmla="*/ 6062 h 50023"/>
                <a:gd name="connsiteX5" fmla="*/ 6096 w 12158"/>
                <a:gd name="connsiteY5" fmla="*/ 0 h 50023"/>
                <a:gd name="connsiteX6" fmla="*/ 12159 w 12158"/>
                <a:gd name="connsiteY6" fmla="*/ 6071 h 50023"/>
                <a:gd name="connsiteX7" fmla="*/ 12159 w 12158"/>
                <a:gd name="connsiteY7" fmla="*/ 6071 h 50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58" h="50023">
                  <a:moveTo>
                    <a:pt x="12159" y="6071"/>
                  </a:moveTo>
                  <a:lnTo>
                    <a:pt x="12134" y="43961"/>
                  </a:lnTo>
                  <a:cubicBezTo>
                    <a:pt x="12130" y="47311"/>
                    <a:pt x="9412" y="50025"/>
                    <a:pt x="6062" y="50024"/>
                  </a:cubicBezTo>
                  <a:cubicBezTo>
                    <a:pt x="2712" y="50024"/>
                    <a:pt x="-2" y="47302"/>
                    <a:pt x="0" y="43952"/>
                  </a:cubicBezTo>
                  <a:lnTo>
                    <a:pt x="27" y="6062"/>
                  </a:lnTo>
                  <a:cubicBezTo>
                    <a:pt x="29" y="2712"/>
                    <a:pt x="2746" y="-2"/>
                    <a:pt x="6096" y="0"/>
                  </a:cubicBezTo>
                  <a:cubicBezTo>
                    <a:pt x="9448" y="2"/>
                    <a:pt x="12162" y="2721"/>
                    <a:pt x="12159" y="6071"/>
                  </a:cubicBezTo>
                  <a:lnTo>
                    <a:pt x="12159" y="6071"/>
                  </a:lnTo>
                  <a:close/>
                </a:path>
              </a:pathLst>
            </a:custGeom>
            <a:solidFill>
              <a:srgbClr val="01273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0" name="Freeform: Shape 2859">
              <a:extLst>
                <a:ext uri="{FF2B5EF4-FFF2-40B4-BE49-F238E27FC236}">
                  <a16:creationId xmlns:a16="http://schemas.microsoft.com/office/drawing/2014/main" id="{85193CA5-F32B-67BD-7C65-FE23CD5FAA30}"/>
                </a:ext>
              </a:extLst>
            </p:cNvPr>
            <p:cNvSpPr/>
            <p:nvPr/>
          </p:nvSpPr>
          <p:spPr>
            <a:xfrm>
              <a:off x="8780223" y="3420613"/>
              <a:ext cx="50023" cy="12155"/>
            </a:xfrm>
            <a:custGeom>
              <a:avLst/>
              <a:gdLst>
                <a:gd name="connsiteX0" fmla="*/ 6071 w 50023"/>
                <a:gd name="connsiteY0" fmla="*/ 0 h 12155"/>
                <a:gd name="connsiteX1" fmla="*/ 43961 w 50023"/>
                <a:gd name="connsiteY1" fmla="*/ 23 h 12155"/>
                <a:gd name="connsiteX2" fmla="*/ 50024 w 50023"/>
                <a:gd name="connsiteY2" fmla="*/ 6093 h 12155"/>
                <a:gd name="connsiteX3" fmla="*/ 43954 w 50023"/>
                <a:gd name="connsiteY3" fmla="*/ 12155 h 12155"/>
                <a:gd name="connsiteX4" fmla="*/ 6062 w 50023"/>
                <a:gd name="connsiteY4" fmla="*/ 12132 h 12155"/>
                <a:gd name="connsiteX5" fmla="*/ 0 w 50023"/>
                <a:gd name="connsiteY5" fmla="*/ 6062 h 12155"/>
                <a:gd name="connsiteX6" fmla="*/ 6071 w 50023"/>
                <a:gd name="connsiteY6" fmla="*/ 0 h 12155"/>
                <a:gd name="connsiteX7" fmla="*/ 6071 w 50023"/>
                <a:gd name="connsiteY7" fmla="*/ 0 h 12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023" h="12155">
                  <a:moveTo>
                    <a:pt x="6071" y="0"/>
                  </a:moveTo>
                  <a:lnTo>
                    <a:pt x="43961" y="23"/>
                  </a:lnTo>
                  <a:cubicBezTo>
                    <a:pt x="47312" y="25"/>
                    <a:pt x="50025" y="2743"/>
                    <a:pt x="50024" y="6093"/>
                  </a:cubicBezTo>
                  <a:cubicBezTo>
                    <a:pt x="50022" y="9443"/>
                    <a:pt x="47304" y="12157"/>
                    <a:pt x="43954" y="12155"/>
                  </a:cubicBezTo>
                  <a:lnTo>
                    <a:pt x="6062" y="12132"/>
                  </a:lnTo>
                  <a:cubicBezTo>
                    <a:pt x="2712" y="12130"/>
                    <a:pt x="-2" y="9412"/>
                    <a:pt x="0" y="6062"/>
                  </a:cubicBezTo>
                  <a:cubicBezTo>
                    <a:pt x="2" y="2712"/>
                    <a:pt x="2721" y="-2"/>
                    <a:pt x="6071" y="0"/>
                  </a:cubicBezTo>
                  <a:lnTo>
                    <a:pt x="6071" y="0"/>
                  </a:lnTo>
                  <a:close/>
                </a:path>
              </a:pathLst>
            </a:custGeom>
            <a:solidFill>
              <a:srgbClr val="01273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1" name="Freeform: Shape 2860">
              <a:extLst>
                <a:ext uri="{FF2B5EF4-FFF2-40B4-BE49-F238E27FC236}">
                  <a16:creationId xmlns:a16="http://schemas.microsoft.com/office/drawing/2014/main" id="{97C72C3F-9518-DDAE-BE67-70FFE5BE930D}"/>
                </a:ext>
              </a:extLst>
            </p:cNvPr>
            <p:cNvSpPr/>
            <p:nvPr/>
          </p:nvSpPr>
          <p:spPr>
            <a:xfrm>
              <a:off x="8837211" y="3420648"/>
              <a:ext cx="50023" cy="12156"/>
            </a:xfrm>
            <a:custGeom>
              <a:avLst/>
              <a:gdLst>
                <a:gd name="connsiteX0" fmla="*/ 6071 w 50023"/>
                <a:gd name="connsiteY0" fmla="*/ 0 h 12156"/>
                <a:gd name="connsiteX1" fmla="*/ 43961 w 50023"/>
                <a:gd name="connsiteY1" fmla="*/ 23 h 12156"/>
                <a:gd name="connsiteX2" fmla="*/ 50024 w 50023"/>
                <a:gd name="connsiteY2" fmla="*/ 6093 h 12156"/>
                <a:gd name="connsiteX3" fmla="*/ 43954 w 50023"/>
                <a:gd name="connsiteY3" fmla="*/ 12157 h 12156"/>
                <a:gd name="connsiteX4" fmla="*/ 6064 w 50023"/>
                <a:gd name="connsiteY4" fmla="*/ 12133 h 12156"/>
                <a:gd name="connsiteX5" fmla="*/ 0 w 50023"/>
                <a:gd name="connsiteY5" fmla="*/ 6062 h 12156"/>
                <a:gd name="connsiteX6" fmla="*/ 6071 w 50023"/>
                <a:gd name="connsiteY6" fmla="*/ 0 h 12156"/>
                <a:gd name="connsiteX7" fmla="*/ 6071 w 50023"/>
                <a:gd name="connsiteY7" fmla="*/ 0 h 12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023" h="12156">
                  <a:moveTo>
                    <a:pt x="6071" y="0"/>
                  </a:moveTo>
                  <a:lnTo>
                    <a:pt x="43961" y="23"/>
                  </a:lnTo>
                  <a:cubicBezTo>
                    <a:pt x="47312" y="23"/>
                    <a:pt x="50027" y="2743"/>
                    <a:pt x="50024" y="6093"/>
                  </a:cubicBezTo>
                  <a:cubicBezTo>
                    <a:pt x="50022" y="9443"/>
                    <a:pt x="47304" y="12159"/>
                    <a:pt x="43954" y="12157"/>
                  </a:cubicBezTo>
                  <a:lnTo>
                    <a:pt x="6064" y="12133"/>
                  </a:lnTo>
                  <a:cubicBezTo>
                    <a:pt x="2714" y="12132"/>
                    <a:pt x="-2" y="9414"/>
                    <a:pt x="0" y="6062"/>
                  </a:cubicBezTo>
                  <a:cubicBezTo>
                    <a:pt x="4" y="2712"/>
                    <a:pt x="2721" y="-2"/>
                    <a:pt x="6071" y="0"/>
                  </a:cubicBezTo>
                  <a:lnTo>
                    <a:pt x="6071" y="0"/>
                  </a:lnTo>
                  <a:close/>
                </a:path>
              </a:pathLst>
            </a:custGeom>
            <a:solidFill>
              <a:srgbClr val="01273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2" name="Freeform: Shape 2861">
              <a:extLst>
                <a:ext uri="{FF2B5EF4-FFF2-40B4-BE49-F238E27FC236}">
                  <a16:creationId xmlns:a16="http://schemas.microsoft.com/office/drawing/2014/main" id="{A64A2CCF-A25C-3BC5-B3E8-76A50A248224}"/>
                </a:ext>
              </a:extLst>
            </p:cNvPr>
            <p:cNvSpPr/>
            <p:nvPr/>
          </p:nvSpPr>
          <p:spPr>
            <a:xfrm>
              <a:off x="8715200" y="3426661"/>
              <a:ext cx="597142" cy="425659"/>
            </a:xfrm>
            <a:custGeom>
              <a:avLst/>
              <a:gdLst>
                <a:gd name="connsiteX0" fmla="*/ 40312 w 597142"/>
                <a:gd name="connsiteY0" fmla="*/ 0 h 425659"/>
                <a:gd name="connsiteX1" fmla="*/ 557091 w 597142"/>
                <a:gd name="connsiteY1" fmla="*/ 314 h 425659"/>
                <a:gd name="connsiteX2" fmla="*/ 597143 w 597142"/>
                <a:gd name="connsiteY2" fmla="*/ 40416 h 425659"/>
                <a:gd name="connsiteX3" fmla="*/ 596935 w 597142"/>
                <a:gd name="connsiteY3" fmla="*/ 385606 h 425659"/>
                <a:gd name="connsiteX4" fmla="*/ 556833 w 597142"/>
                <a:gd name="connsiteY4" fmla="*/ 425660 h 425659"/>
                <a:gd name="connsiteX5" fmla="*/ 40054 w 597142"/>
                <a:gd name="connsiteY5" fmla="*/ 425346 h 425659"/>
                <a:gd name="connsiteX6" fmla="*/ 0 w 597142"/>
                <a:gd name="connsiteY6" fmla="*/ 385244 h 425659"/>
                <a:gd name="connsiteX7" fmla="*/ 210 w 597142"/>
                <a:gd name="connsiteY7" fmla="*/ 40054 h 425659"/>
                <a:gd name="connsiteX8" fmla="*/ 40312 w 597142"/>
                <a:gd name="connsiteY8" fmla="*/ 0 h 425659"/>
                <a:gd name="connsiteX9" fmla="*/ 40312 w 597142"/>
                <a:gd name="connsiteY9" fmla="*/ 0 h 425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7142" h="425659">
                  <a:moveTo>
                    <a:pt x="40312" y="0"/>
                  </a:moveTo>
                  <a:lnTo>
                    <a:pt x="557091" y="314"/>
                  </a:lnTo>
                  <a:cubicBezTo>
                    <a:pt x="579225" y="326"/>
                    <a:pt x="597157" y="18282"/>
                    <a:pt x="597143" y="40416"/>
                  </a:cubicBezTo>
                  <a:lnTo>
                    <a:pt x="596935" y="385606"/>
                  </a:lnTo>
                  <a:cubicBezTo>
                    <a:pt x="596921" y="407740"/>
                    <a:pt x="578967" y="425672"/>
                    <a:pt x="556833" y="425660"/>
                  </a:cubicBezTo>
                  <a:lnTo>
                    <a:pt x="40054" y="425346"/>
                  </a:lnTo>
                  <a:cubicBezTo>
                    <a:pt x="17918" y="425332"/>
                    <a:pt x="-14" y="407378"/>
                    <a:pt x="0" y="385244"/>
                  </a:cubicBezTo>
                  <a:lnTo>
                    <a:pt x="210" y="40054"/>
                  </a:lnTo>
                  <a:cubicBezTo>
                    <a:pt x="222" y="17918"/>
                    <a:pt x="18176" y="-14"/>
                    <a:pt x="40312" y="0"/>
                  </a:cubicBezTo>
                  <a:lnTo>
                    <a:pt x="40312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3" name="Freeform: Shape 2862">
              <a:extLst>
                <a:ext uri="{FF2B5EF4-FFF2-40B4-BE49-F238E27FC236}">
                  <a16:creationId xmlns:a16="http://schemas.microsoft.com/office/drawing/2014/main" id="{2D942984-4F00-1B48-3D4D-8AF9BCE0B2EC}"/>
                </a:ext>
              </a:extLst>
            </p:cNvPr>
            <p:cNvSpPr/>
            <p:nvPr/>
          </p:nvSpPr>
          <p:spPr>
            <a:xfrm>
              <a:off x="8729991" y="3442029"/>
              <a:ext cx="567559" cy="394925"/>
            </a:xfrm>
            <a:custGeom>
              <a:avLst/>
              <a:gdLst>
                <a:gd name="connsiteX0" fmla="*/ 30433 w 567559"/>
                <a:gd name="connsiteY0" fmla="*/ 0 h 394925"/>
                <a:gd name="connsiteX1" fmla="*/ 537366 w 567559"/>
                <a:gd name="connsiteY1" fmla="*/ 307 h 394925"/>
                <a:gd name="connsiteX2" fmla="*/ 567559 w 567559"/>
                <a:gd name="connsiteY2" fmla="*/ 30537 h 394925"/>
                <a:gd name="connsiteX3" fmla="*/ 567357 w 567559"/>
                <a:gd name="connsiteY3" fmla="*/ 364731 h 394925"/>
                <a:gd name="connsiteX4" fmla="*/ 537126 w 567559"/>
                <a:gd name="connsiteY4" fmla="*/ 394925 h 394925"/>
                <a:gd name="connsiteX5" fmla="*/ 30195 w 567559"/>
                <a:gd name="connsiteY5" fmla="*/ 394617 h 394925"/>
                <a:gd name="connsiteX6" fmla="*/ 0 w 567559"/>
                <a:gd name="connsiteY6" fmla="*/ 364386 h 394925"/>
                <a:gd name="connsiteX7" fmla="*/ 203 w 567559"/>
                <a:gd name="connsiteY7" fmla="*/ 30193 h 394925"/>
                <a:gd name="connsiteX8" fmla="*/ 30433 w 567559"/>
                <a:gd name="connsiteY8" fmla="*/ 0 h 394925"/>
                <a:gd name="connsiteX9" fmla="*/ 30433 w 567559"/>
                <a:gd name="connsiteY9" fmla="*/ 0 h 39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7559" h="394925">
                  <a:moveTo>
                    <a:pt x="30433" y="0"/>
                  </a:moveTo>
                  <a:lnTo>
                    <a:pt x="537366" y="307"/>
                  </a:lnTo>
                  <a:cubicBezTo>
                    <a:pt x="554051" y="317"/>
                    <a:pt x="567570" y="13853"/>
                    <a:pt x="567559" y="30537"/>
                  </a:cubicBezTo>
                  <a:lnTo>
                    <a:pt x="567357" y="364731"/>
                  </a:lnTo>
                  <a:cubicBezTo>
                    <a:pt x="567346" y="381417"/>
                    <a:pt x="553811" y="394936"/>
                    <a:pt x="537126" y="394925"/>
                  </a:cubicBezTo>
                  <a:lnTo>
                    <a:pt x="30195" y="394617"/>
                  </a:lnTo>
                  <a:cubicBezTo>
                    <a:pt x="13508" y="394608"/>
                    <a:pt x="-9" y="381073"/>
                    <a:pt x="0" y="364386"/>
                  </a:cubicBezTo>
                  <a:lnTo>
                    <a:pt x="203" y="30193"/>
                  </a:lnTo>
                  <a:cubicBezTo>
                    <a:pt x="213" y="13507"/>
                    <a:pt x="13749" y="-11"/>
                    <a:pt x="30433" y="0"/>
                  </a:cubicBezTo>
                  <a:lnTo>
                    <a:pt x="30433" y="0"/>
                  </a:lnTo>
                  <a:close/>
                </a:path>
              </a:pathLst>
            </a:custGeom>
            <a:solidFill>
              <a:srgbClr val="FFFF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4" name="Freeform: Shape 2863">
              <a:extLst>
                <a:ext uri="{FF2B5EF4-FFF2-40B4-BE49-F238E27FC236}">
                  <a16:creationId xmlns:a16="http://schemas.microsoft.com/office/drawing/2014/main" id="{6D7E988B-C2E4-D143-0C16-4A1EFE5EC06C}"/>
                </a:ext>
              </a:extLst>
            </p:cNvPr>
            <p:cNvSpPr/>
            <p:nvPr/>
          </p:nvSpPr>
          <p:spPr>
            <a:xfrm>
              <a:off x="9099613" y="3473699"/>
              <a:ext cx="197746" cy="363248"/>
            </a:xfrm>
            <a:custGeom>
              <a:avLst/>
              <a:gdLst>
                <a:gd name="connsiteX0" fmla="*/ 0 w 197746"/>
                <a:gd name="connsiteY0" fmla="*/ 0 h 363248"/>
                <a:gd name="connsiteX1" fmla="*/ 0 w 197746"/>
                <a:gd name="connsiteY1" fmla="*/ 363248 h 363248"/>
                <a:gd name="connsiteX2" fmla="*/ 167632 w 197746"/>
                <a:gd name="connsiteY2" fmla="*/ 363248 h 363248"/>
                <a:gd name="connsiteX3" fmla="*/ 197734 w 197746"/>
                <a:gd name="connsiteY3" fmla="*/ 333061 h 363248"/>
                <a:gd name="connsiteX4" fmla="*/ 197746 w 197746"/>
                <a:gd name="connsiteY4" fmla="*/ 312803 h 363248"/>
                <a:gd name="connsiteX5" fmla="*/ 197746 w 197746"/>
                <a:gd name="connsiteY5" fmla="*/ 0 h 363248"/>
                <a:gd name="connsiteX6" fmla="*/ 0 w 197746"/>
                <a:gd name="connsiteY6" fmla="*/ 0 h 363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746" h="363248">
                  <a:moveTo>
                    <a:pt x="0" y="0"/>
                  </a:moveTo>
                  <a:lnTo>
                    <a:pt x="0" y="363248"/>
                  </a:lnTo>
                  <a:lnTo>
                    <a:pt x="167632" y="363248"/>
                  </a:lnTo>
                  <a:cubicBezTo>
                    <a:pt x="184259" y="363191"/>
                    <a:pt x="197723" y="349704"/>
                    <a:pt x="197734" y="333061"/>
                  </a:cubicBezTo>
                  <a:lnTo>
                    <a:pt x="197746" y="312803"/>
                  </a:lnTo>
                  <a:lnTo>
                    <a:pt x="19774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FF7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5" name="Freeform: Shape 2864">
              <a:extLst>
                <a:ext uri="{FF2B5EF4-FFF2-40B4-BE49-F238E27FC236}">
                  <a16:creationId xmlns:a16="http://schemas.microsoft.com/office/drawing/2014/main" id="{8F99930E-2499-4880-FB16-E1EB815CA381}"/>
                </a:ext>
              </a:extLst>
            </p:cNvPr>
            <p:cNvSpPr/>
            <p:nvPr/>
          </p:nvSpPr>
          <p:spPr>
            <a:xfrm>
              <a:off x="8780564" y="3465493"/>
              <a:ext cx="871" cy="371167"/>
            </a:xfrm>
            <a:custGeom>
              <a:avLst/>
              <a:gdLst>
                <a:gd name="connsiteX0" fmla="*/ 0 w 871"/>
                <a:gd name="connsiteY0" fmla="*/ 0 h 371167"/>
                <a:gd name="connsiteX1" fmla="*/ 106 w 871"/>
                <a:gd name="connsiteY1" fmla="*/ 53838 h 371167"/>
                <a:gd name="connsiteX2" fmla="*/ 106 w 871"/>
                <a:gd name="connsiteY2" fmla="*/ 54001 h 371167"/>
                <a:gd name="connsiteX3" fmla="*/ 199 w 871"/>
                <a:gd name="connsiteY3" fmla="*/ 106183 h 371167"/>
                <a:gd name="connsiteX4" fmla="*/ 199 w 871"/>
                <a:gd name="connsiteY4" fmla="*/ 106351 h 371167"/>
                <a:gd name="connsiteX5" fmla="*/ 310 w 871"/>
                <a:gd name="connsiteY5" fmla="*/ 159349 h 371167"/>
                <a:gd name="connsiteX6" fmla="*/ 310 w 871"/>
                <a:gd name="connsiteY6" fmla="*/ 159517 h 371167"/>
                <a:gd name="connsiteX7" fmla="*/ 416 w 871"/>
                <a:gd name="connsiteY7" fmla="*/ 212522 h 371167"/>
                <a:gd name="connsiteX8" fmla="*/ 416 w 871"/>
                <a:gd name="connsiteY8" fmla="*/ 212685 h 371167"/>
                <a:gd name="connsiteX9" fmla="*/ 516 w 871"/>
                <a:gd name="connsiteY9" fmla="*/ 265689 h 371167"/>
                <a:gd name="connsiteX10" fmla="*/ 516 w 871"/>
                <a:gd name="connsiteY10" fmla="*/ 265856 h 371167"/>
                <a:gd name="connsiteX11" fmla="*/ 622 w 871"/>
                <a:gd name="connsiteY11" fmla="*/ 318860 h 371167"/>
                <a:gd name="connsiteX12" fmla="*/ 622 w 871"/>
                <a:gd name="connsiteY12" fmla="*/ 319023 h 371167"/>
                <a:gd name="connsiteX13" fmla="*/ 715 w 871"/>
                <a:gd name="connsiteY13" fmla="*/ 371125 h 371167"/>
                <a:gd name="connsiteX14" fmla="*/ 715 w 871"/>
                <a:gd name="connsiteY14" fmla="*/ 371168 h 371167"/>
                <a:gd name="connsiteX15" fmla="*/ 871 w 871"/>
                <a:gd name="connsiteY15" fmla="*/ 371168 h 371167"/>
                <a:gd name="connsiteX16" fmla="*/ 871 w 871"/>
                <a:gd name="connsiteY16" fmla="*/ 371125 h 371167"/>
                <a:gd name="connsiteX17" fmla="*/ 778 w 871"/>
                <a:gd name="connsiteY17" fmla="*/ 319023 h 371167"/>
                <a:gd name="connsiteX18" fmla="*/ 778 w 871"/>
                <a:gd name="connsiteY18" fmla="*/ 318860 h 371167"/>
                <a:gd name="connsiteX19" fmla="*/ 672 w 871"/>
                <a:gd name="connsiteY19" fmla="*/ 265856 h 371167"/>
                <a:gd name="connsiteX20" fmla="*/ 672 w 871"/>
                <a:gd name="connsiteY20" fmla="*/ 265689 h 371167"/>
                <a:gd name="connsiteX21" fmla="*/ 572 w 871"/>
                <a:gd name="connsiteY21" fmla="*/ 212685 h 371167"/>
                <a:gd name="connsiteX22" fmla="*/ 572 w 871"/>
                <a:gd name="connsiteY22" fmla="*/ 212522 h 371167"/>
                <a:gd name="connsiteX23" fmla="*/ 466 w 871"/>
                <a:gd name="connsiteY23" fmla="*/ 159517 h 371167"/>
                <a:gd name="connsiteX24" fmla="*/ 466 w 871"/>
                <a:gd name="connsiteY24" fmla="*/ 159349 h 371167"/>
                <a:gd name="connsiteX25" fmla="*/ 366 w 871"/>
                <a:gd name="connsiteY25" fmla="*/ 106351 h 371167"/>
                <a:gd name="connsiteX26" fmla="*/ 366 w 871"/>
                <a:gd name="connsiteY26" fmla="*/ 106183 h 371167"/>
                <a:gd name="connsiteX27" fmla="*/ 272 w 871"/>
                <a:gd name="connsiteY27" fmla="*/ 54001 h 371167"/>
                <a:gd name="connsiteX28" fmla="*/ 272 w 871"/>
                <a:gd name="connsiteY28" fmla="*/ 53838 h 371167"/>
                <a:gd name="connsiteX29" fmla="*/ 167 w 871"/>
                <a:gd name="connsiteY29" fmla="*/ 0 h 371167"/>
                <a:gd name="connsiteX30" fmla="*/ 0 w 871"/>
                <a:gd name="connsiteY30" fmla="*/ 0 h 371167"/>
                <a:gd name="connsiteX31" fmla="*/ 0 w 871"/>
                <a:gd name="connsiteY31" fmla="*/ 0 h 37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71" h="371167">
                  <a:moveTo>
                    <a:pt x="0" y="0"/>
                  </a:moveTo>
                  <a:lnTo>
                    <a:pt x="106" y="53838"/>
                  </a:lnTo>
                  <a:lnTo>
                    <a:pt x="106" y="54001"/>
                  </a:lnTo>
                  <a:lnTo>
                    <a:pt x="199" y="106183"/>
                  </a:lnTo>
                  <a:lnTo>
                    <a:pt x="199" y="106351"/>
                  </a:lnTo>
                  <a:lnTo>
                    <a:pt x="310" y="159349"/>
                  </a:lnTo>
                  <a:lnTo>
                    <a:pt x="310" y="159517"/>
                  </a:lnTo>
                  <a:lnTo>
                    <a:pt x="416" y="212522"/>
                  </a:lnTo>
                  <a:lnTo>
                    <a:pt x="416" y="212685"/>
                  </a:lnTo>
                  <a:lnTo>
                    <a:pt x="516" y="265689"/>
                  </a:lnTo>
                  <a:lnTo>
                    <a:pt x="516" y="265856"/>
                  </a:lnTo>
                  <a:lnTo>
                    <a:pt x="622" y="318860"/>
                  </a:lnTo>
                  <a:lnTo>
                    <a:pt x="622" y="319023"/>
                  </a:lnTo>
                  <a:lnTo>
                    <a:pt x="715" y="371125"/>
                  </a:lnTo>
                  <a:lnTo>
                    <a:pt x="715" y="371168"/>
                  </a:lnTo>
                  <a:lnTo>
                    <a:pt x="871" y="371168"/>
                  </a:lnTo>
                  <a:lnTo>
                    <a:pt x="871" y="371125"/>
                  </a:lnTo>
                  <a:lnTo>
                    <a:pt x="778" y="319023"/>
                  </a:lnTo>
                  <a:lnTo>
                    <a:pt x="778" y="318860"/>
                  </a:lnTo>
                  <a:lnTo>
                    <a:pt x="672" y="265856"/>
                  </a:lnTo>
                  <a:lnTo>
                    <a:pt x="672" y="265689"/>
                  </a:lnTo>
                  <a:lnTo>
                    <a:pt x="572" y="212685"/>
                  </a:lnTo>
                  <a:lnTo>
                    <a:pt x="572" y="212522"/>
                  </a:lnTo>
                  <a:lnTo>
                    <a:pt x="466" y="159517"/>
                  </a:lnTo>
                  <a:lnTo>
                    <a:pt x="466" y="159349"/>
                  </a:lnTo>
                  <a:lnTo>
                    <a:pt x="366" y="106351"/>
                  </a:lnTo>
                  <a:lnTo>
                    <a:pt x="366" y="106183"/>
                  </a:lnTo>
                  <a:lnTo>
                    <a:pt x="272" y="54001"/>
                  </a:lnTo>
                  <a:lnTo>
                    <a:pt x="272" y="53838"/>
                  </a:lnTo>
                  <a:lnTo>
                    <a:pt x="16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6" name="Freeform: Shape 2865">
              <a:extLst>
                <a:ext uri="{FF2B5EF4-FFF2-40B4-BE49-F238E27FC236}">
                  <a16:creationId xmlns:a16="http://schemas.microsoft.com/office/drawing/2014/main" id="{3DAE5CDE-685A-856A-FFC0-D4FC698B1AD2}"/>
                </a:ext>
              </a:extLst>
            </p:cNvPr>
            <p:cNvSpPr/>
            <p:nvPr/>
          </p:nvSpPr>
          <p:spPr>
            <a:xfrm>
              <a:off x="8832914" y="3465493"/>
              <a:ext cx="878" cy="371199"/>
            </a:xfrm>
            <a:custGeom>
              <a:avLst/>
              <a:gdLst>
                <a:gd name="connsiteX0" fmla="*/ 0 w 878"/>
                <a:gd name="connsiteY0" fmla="*/ 0 h 371199"/>
                <a:gd name="connsiteX1" fmla="*/ 106 w 878"/>
                <a:gd name="connsiteY1" fmla="*/ 53764 h 371199"/>
                <a:gd name="connsiteX2" fmla="*/ 106 w 878"/>
                <a:gd name="connsiteY2" fmla="*/ 53926 h 371199"/>
                <a:gd name="connsiteX3" fmla="*/ 204 w 878"/>
                <a:gd name="connsiteY3" fmla="*/ 106108 h 371199"/>
                <a:gd name="connsiteX4" fmla="*/ 204 w 878"/>
                <a:gd name="connsiteY4" fmla="*/ 106276 h 371199"/>
                <a:gd name="connsiteX5" fmla="*/ 299 w 878"/>
                <a:gd name="connsiteY5" fmla="*/ 159275 h 371199"/>
                <a:gd name="connsiteX6" fmla="*/ 299 w 878"/>
                <a:gd name="connsiteY6" fmla="*/ 159444 h 371199"/>
                <a:gd name="connsiteX7" fmla="*/ 405 w 878"/>
                <a:gd name="connsiteY7" fmla="*/ 212448 h 371199"/>
                <a:gd name="connsiteX8" fmla="*/ 405 w 878"/>
                <a:gd name="connsiteY8" fmla="*/ 212615 h 371199"/>
                <a:gd name="connsiteX9" fmla="*/ 504 w 878"/>
                <a:gd name="connsiteY9" fmla="*/ 265614 h 371199"/>
                <a:gd name="connsiteX10" fmla="*/ 504 w 878"/>
                <a:gd name="connsiteY10" fmla="*/ 265782 h 371199"/>
                <a:gd name="connsiteX11" fmla="*/ 609 w 878"/>
                <a:gd name="connsiteY11" fmla="*/ 318780 h 371199"/>
                <a:gd name="connsiteX12" fmla="*/ 609 w 878"/>
                <a:gd name="connsiteY12" fmla="*/ 318943 h 371199"/>
                <a:gd name="connsiteX13" fmla="*/ 710 w 878"/>
                <a:gd name="connsiteY13" fmla="*/ 371125 h 371199"/>
                <a:gd name="connsiteX14" fmla="*/ 710 w 878"/>
                <a:gd name="connsiteY14" fmla="*/ 371200 h 371199"/>
                <a:gd name="connsiteX15" fmla="*/ 878 w 878"/>
                <a:gd name="connsiteY15" fmla="*/ 371200 h 371199"/>
                <a:gd name="connsiteX16" fmla="*/ 878 w 878"/>
                <a:gd name="connsiteY16" fmla="*/ 371125 h 371199"/>
                <a:gd name="connsiteX17" fmla="*/ 778 w 878"/>
                <a:gd name="connsiteY17" fmla="*/ 318943 h 371199"/>
                <a:gd name="connsiteX18" fmla="*/ 778 w 878"/>
                <a:gd name="connsiteY18" fmla="*/ 318780 h 371199"/>
                <a:gd name="connsiteX19" fmla="*/ 672 w 878"/>
                <a:gd name="connsiteY19" fmla="*/ 265775 h 371199"/>
                <a:gd name="connsiteX20" fmla="*/ 672 w 878"/>
                <a:gd name="connsiteY20" fmla="*/ 265614 h 371199"/>
                <a:gd name="connsiteX21" fmla="*/ 572 w 878"/>
                <a:gd name="connsiteY21" fmla="*/ 212602 h 371199"/>
                <a:gd name="connsiteX22" fmla="*/ 572 w 878"/>
                <a:gd name="connsiteY22" fmla="*/ 212448 h 371199"/>
                <a:gd name="connsiteX23" fmla="*/ 466 w 878"/>
                <a:gd name="connsiteY23" fmla="*/ 159444 h 371199"/>
                <a:gd name="connsiteX24" fmla="*/ 466 w 878"/>
                <a:gd name="connsiteY24" fmla="*/ 159275 h 371199"/>
                <a:gd name="connsiteX25" fmla="*/ 360 w 878"/>
                <a:gd name="connsiteY25" fmla="*/ 106276 h 371199"/>
                <a:gd name="connsiteX26" fmla="*/ 360 w 878"/>
                <a:gd name="connsiteY26" fmla="*/ 106108 h 371199"/>
                <a:gd name="connsiteX27" fmla="*/ 262 w 878"/>
                <a:gd name="connsiteY27" fmla="*/ 53926 h 371199"/>
                <a:gd name="connsiteX28" fmla="*/ 262 w 878"/>
                <a:gd name="connsiteY28" fmla="*/ 53764 h 371199"/>
                <a:gd name="connsiteX29" fmla="*/ 156 w 878"/>
                <a:gd name="connsiteY29" fmla="*/ 0 h 371199"/>
                <a:gd name="connsiteX30" fmla="*/ 0 w 878"/>
                <a:gd name="connsiteY30" fmla="*/ 0 h 371199"/>
                <a:gd name="connsiteX31" fmla="*/ 0 w 878"/>
                <a:gd name="connsiteY31" fmla="*/ 0 h 371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78" h="371199">
                  <a:moveTo>
                    <a:pt x="0" y="0"/>
                  </a:moveTo>
                  <a:lnTo>
                    <a:pt x="106" y="53764"/>
                  </a:lnTo>
                  <a:lnTo>
                    <a:pt x="106" y="53926"/>
                  </a:lnTo>
                  <a:lnTo>
                    <a:pt x="204" y="106108"/>
                  </a:lnTo>
                  <a:lnTo>
                    <a:pt x="204" y="106276"/>
                  </a:lnTo>
                  <a:lnTo>
                    <a:pt x="299" y="159275"/>
                  </a:lnTo>
                  <a:lnTo>
                    <a:pt x="299" y="159444"/>
                  </a:lnTo>
                  <a:lnTo>
                    <a:pt x="405" y="212448"/>
                  </a:lnTo>
                  <a:lnTo>
                    <a:pt x="405" y="212615"/>
                  </a:lnTo>
                  <a:lnTo>
                    <a:pt x="504" y="265614"/>
                  </a:lnTo>
                  <a:lnTo>
                    <a:pt x="504" y="265782"/>
                  </a:lnTo>
                  <a:lnTo>
                    <a:pt x="609" y="318780"/>
                  </a:lnTo>
                  <a:lnTo>
                    <a:pt x="609" y="318943"/>
                  </a:lnTo>
                  <a:lnTo>
                    <a:pt x="710" y="371125"/>
                  </a:lnTo>
                  <a:lnTo>
                    <a:pt x="710" y="371200"/>
                  </a:lnTo>
                  <a:lnTo>
                    <a:pt x="878" y="371200"/>
                  </a:lnTo>
                  <a:lnTo>
                    <a:pt x="878" y="371125"/>
                  </a:lnTo>
                  <a:lnTo>
                    <a:pt x="778" y="318943"/>
                  </a:lnTo>
                  <a:lnTo>
                    <a:pt x="778" y="318780"/>
                  </a:lnTo>
                  <a:lnTo>
                    <a:pt x="672" y="265775"/>
                  </a:lnTo>
                  <a:lnTo>
                    <a:pt x="672" y="265614"/>
                  </a:lnTo>
                  <a:lnTo>
                    <a:pt x="572" y="212602"/>
                  </a:lnTo>
                  <a:lnTo>
                    <a:pt x="572" y="212448"/>
                  </a:lnTo>
                  <a:lnTo>
                    <a:pt x="466" y="159444"/>
                  </a:lnTo>
                  <a:lnTo>
                    <a:pt x="466" y="159275"/>
                  </a:lnTo>
                  <a:lnTo>
                    <a:pt x="360" y="106276"/>
                  </a:lnTo>
                  <a:lnTo>
                    <a:pt x="360" y="106108"/>
                  </a:lnTo>
                  <a:lnTo>
                    <a:pt x="262" y="53926"/>
                  </a:lnTo>
                  <a:lnTo>
                    <a:pt x="262" y="53764"/>
                  </a:lnTo>
                  <a:lnTo>
                    <a:pt x="15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7" name="Freeform: Shape 2866">
              <a:extLst>
                <a:ext uri="{FF2B5EF4-FFF2-40B4-BE49-F238E27FC236}">
                  <a16:creationId xmlns:a16="http://schemas.microsoft.com/office/drawing/2014/main" id="{B2E9FF2A-CD9B-ED56-102A-55685FE5C916}"/>
                </a:ext>
              </a:extLst>
            </p:cNvPr>
            <p:cNvSpPr/>
            <p:nvPr/>
          </p:nvSpPr>
          <p:spPr>
            <a:xfrm>
              <a:off x="8886908" y="3465493"/>
              <a:ext cx="865" cy="371230"/>
            </a:xfrm>
            <a:custGeom>
              <a:avLst/>
              <a:gdLst>
                <a:gd name="connsiteX0" fmla="*/ 0 w 865"/>
                <a:gd name="connsiteY0" fmla="*/ 0 h 371230"/>
                <a:gd name="connsiteX1" fmla="*/ 113 w 865"/>
                <a:gd name="connsiteY1" fmla="*/ 53682 h 371230"/>
                <a:gd name="connsiteX2" fmla="*/ 113 w 865"/>
                <a:gd name="connsiteY2" fmla="*/ 53851 h 371230"/>
                <a:gd name="connsiteX3" fmla="*/ 206 w 865"/>
                <a:gd name="connsiteY3" fmla="*/ 106027 h 371230"/>
                <a:gd name="connsiteX4" fmla="*/ 206 w 865"/>
                <a:gd name="connsiteY4" fmla="*/ 106195 h 371230"/>
                <a:gd name="connsiteX5" fmla="*/ 299 w 865"/>
                <a:gd name="connsiteY5" fmla="*/ 159194 h 371230"/>
                <a:gd name="connsiteX6" fmla="*/ 299 w 865"/>
                <a:gd name="connsiteY6" fmla="*/ 159361 h 371230"/>
                <a:gd name="connsiteX7" fmla="*/ 412 w 865"/>
                <a:gd name="connsiteY7" fmla="*/ 212373 h 371230"/>
                <a:gd name="connsiteX8" fmla="*/ 412 w 865"/>
                <a:gd name="connsiteY8" fmla="*/ 212529 h 371230"/>
                <a:gd name="connsiteX9" fmla="*/ 506 w 865"/>
                <a:gd name="connsiteY9" fmla="*/ 265539 h 371230"/>
                <a:gd name="connsiteX10" fmla="*/ 506 w 865"/>
                <a:gd name="connsiteY10" fmla="*/ 265702 h 371230"/>
                <a:gd name="connsiteX11" fmla="*/ 617 w 865"/>
                <a:gd name="connsiteY11" fmla="*/ 318712 h 371230"/>
                <a:gd name="connsiteX12" fmla="*/ 617 w 865"/>
                <a:gd name="connsiteY12" fmla="*/ 318868 h 371230"/>
                <a:gd name="connsiteX13" fmla="*/ 710 w 865"/>
                <a:gd name="connsiteY13" fmla="*/ 371125 h 371230"/>
                <a:gd name="connsiteX14" fmla="*/ 710 w 865"/>
                <a:gd name="connsiteY14" fmla="*/ 371230 h 371230"/>
                <a:gd name="connsiteX15" fmla="*/ 866 w 865"/>
                <a:gd name="connsiteY15" fmla="*/ 371230 h 371230"/>
                <a:gd name="connsiteX16" fmla="*/ 866 w 865"/>
                <a:gd name="connsiteY16" fmla="*/ 371125 h 371230"/>
                <a:gd name="connsiteX17" fmla="*/ 773 w 865"/>
                <a:gd name="connsiteY17" fmla="*/ 318868 h 371230"/>
                <a:gd name="connsiteX18" fmla="*/ 773 w 865"/>
                <a:gd name="connsiteY18" fmla="*/ 318712 h 371230"/>
                <a:gd name="connsiteX19" fmla="*/ 660 w 865"/>
                <a:gd name="connsiteY19" fmla="*/ 265702 h 371230"/>
                <a:gd name="connsiteX20" fmla="*/ 660 w 865"/>
                <a:gd name="connsiteY20" fmla="*/ 265539 h 371230"/>
                <a:gd name="connsiteX21" fmla="*/ 566 w 865"/>
                <a:gd name="connsiteY21" fmla="*/ 212529 h 371230"/>
                <a:gd name="connsiteX22" fmla="*/ 566 w 865"/>
                <a:gd name="connsiteY22" fmla="*/ 212373 h 371230"/>
                <a:gd name="connsiteX23" fmla="*/ 455 w 865"/>
                <a:gd name="connsiteY23" fmla="*/ 159361 h 371230"/>
                <a:gd name="connsiteX24" fmla="*/ 455 w 865"/>
                <a:gd name="connsiteY24" fmla="*/ 159194 h 371230"/>
                <a:gd name="connsiteX25" fmla="*/ 362 w 865"/>
                <a:gd name="connsiteY25" fmla="*/ 106195 h 371230"/>
                <a:gd name="connsiteX26" fmla="*/ 362 w 865"/>
                <a:gd name="connsiteY26" fmla="*/ 106027 h 371230"/>
                <a:gd name="connsiteX27" fmla="*/ 269 w 865"/>
                <a:gd name="connsiteY27" fmla="*/ 53851 h 371230"/>
                <a:gd name="connsiteX28" fmla="*/ 269 w 865"/>
                <a:gd name="connsiteY28" fmla="*/ 53682 h 371230"/>
                <a:gd name="connsiteX29" fmla="*/ 156 w 865"/>
                <a:gd name="connsiteY29" fmla="*/ 0 h 371230"/>
                <a:gd name="connsiteX30" fmla="*/ 0 w 865"/>
                <a:gd name="connsiteY30" fmla="*/ 0 h 371230"/>
                <a:gd name="connsiteX31" fmla="*/ 0 w 865"/>
                <a:gd name="connsiteY31" fmla="*/ 0 h 37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65" h="371230">
                  <a:moveTo>
                    <a:pt x="0" y="0"/>
                  </a:moveTo>
                  <a:lnTo>
                    <a:pt x="113" y="53682"/>
                  </a:lnTo>
                  <a:lnTo>
                    <a:pt x="113" y="53851"/>
                  </a:lnTo>
                  <a:lnTo>
                    <a:pt x="206" y="106027"/>
                  </a:lnTo>
                  <a:lnTo>
                    <a:pt x="206" y="106195"/>
                  </a:lnTo>
                  <a:lnTo>
                    <a:pt x="299" y="159194"/>
                  </a:lnTo>
                  <a:lnTo>
                    <a:pt x="299" y="159361"/>
                  </a:lnTo>
                  <a:lnTo>
                    <a:pt x="412" y="212373"/>
                  </a:lnTo>
                  <a:lnTo>
                    <a:pt x="412" y="212529"/>
                  </a:lnTo>
                  <a:lnTo>
                    <a:pt x="506" y="265539"/>
                  </a:lnTo>
                  <a:lnTo>
                    <a:pt x="506" y="265702"/>
                  </a:lnTo>
                  <a:lnTo>
                    <a:pt x="617" y="318712"/>
                  </a:lnTo>
                  <a:lnTo>
                    <a:pt x="617" y="318868"/>
                  </a:lnTo>
                  <a:lnTo>
                    <a:pt x="710" y="371125"/>
                  </a:lnTo>
                  <a:lnTo>
                    <a:pt x="710" y="371230"/>
                  </a:lnTo>
                  <a:lnTo>
                    <a:pt x="866" y="371230"/>
                  </a:lnTo>
                  <a:lnTo>
                    <a:pt x="866" y="371125"/>
                  </a:lnTo>
                  <a:lnTo>
                    <a:pt x="773" y="318868"/>
                  </a:lnTo>
                  <a:lnTo>
                    <a:pt x="773" y="318712"/>
                  </a:lnTo>
                  <a:lnTo>
                    <a:pt x="660" y="265702"/>
                  </a:lnTo>
                  <a:lnTo>
                    <a:pt x="660" y="265539"/>
                  </a:lnTo>
                  <a:lnTo>
                    <a:pt x="566" y="212529"/>
                  </a:lnTo>
                  <a:lnTo>
                    <a:pt x="566" y="212373"/>
                  </a:lnTo>
                  <a:lnTo>
                    <a:pt x="455" y="159361"/>
                  </a:lnTo>
                  <a:lnTo>
                    <a:pt x="455" y="159194"/>
                  </a:lnTo>
                  <a:lnTo>
                    <a:pt x="362" y="106195"/>
                  </a:lnTo>
                  <a:lnTo>
                    <a:pt x="362" y="106027"/>
                  </a:lnTo>
                  <a:lnTo>
                    <a:pt x="269" y="53851"/>
                  </a:lnTo>
                  <a:lnTo>
                    <a:pt x="269" y="53682"/>
                  </a:lnTo>
                  <a:lnTo>
                    <a:pt x="15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8" name="Freeform: Shape 2867">
              <a:extLst>
                <a:ext uri="{FF2B5EF4-FFF2-40B4-BE49-F238E27FC236}">
                  <a16:creationId xmlns:a16="http://schemas.microsoft.com/office/drawing/2014/main" id="{CC38A372-DE1B-07C1-4B6C-4E8C15D9211F}"/>
                </a:ext>
              </a:extLst>
            </p:cNvPr>
            <p:cNvSpPr/>
            <p:nvPr/>
          </p:nvSpPr>
          <p:spPr>
            <a:xfrm>
              <a:off x="8939253" y="3465493"/>
              <a:ext cx="871" cy="371262"/>
            </a:xfrm>
            <a:custGeom>
              <a:avLst/>
              <a:gdLst>
                <a:gd name="connsiteX0" fmla="*/ 0 w 871"/>
                <a:gd name="connsiteY0" fmla="*/ 0 h 371262"/>
                <a:gd name="connsiteX1" fmla="*/ 106 w 871"/>
                <a:gd name="connsiteY1" fmla="*/ 53614 h 371262"/>
                <a:gd name="connsiteX2" fmla="*/ 106 w 871"/>
                <a:gd name="connsiteY2" fmla="*/ 53775 h 371262"/>
                <a:gd name="connsiteX3" fmla="*/ 199 w 871"/>
                <a:gd name="connsiteY3" fmla="*/ 105952 h 371262"/>
                <a:gd name="connsiteX4" fmla="*/ 199 w 871"/>
                <a:gd name="connsiteY4" fmla="*/ 106120 h 371262"/>
                <a:gd name="connsiteX5" fmla="*/ 312 w 871"/>
                <a:gd name="connsiteY5" fmla="*/ 159119 h 371262"/>
                <a:gd name="connsiteX6" fmla="*/ 312 w 871"/>
                <a:gd name="connsiteY6" fmla="*/ 159288 h 371262"/>
                <a:gd name="connsiteX7" fmla="*/ 418 w 871"/>
                <a:gd name="connsiteY7" fmla="*/ 212298 h 371262"/>
                <a:gd name="connsiteX8" fmla="*/ 418 w 871"/>
                <a:gd name="connsiteY8" fmla="*/ 212461 h 371262"/>
                <a:gd name="connsiteX9" fmla="*/ 511 w 871"/>
                <a:gd name="connsiteY9" fmla="*/ 265465 h 371262"/>
                <a:gd name="connsiteX10" fmla="*/ 511 w 871"/>
                <a:gd name="connsiteY10" fmla="*/ 265626 h 371262"/>
                <a:gd name="connsiteX11" fmla="*/ 622 w 871"/>
                <a:gd name="connsiteY11" fmla="*/ 318636 h 371262"/>
                <a:gd name="connsiteX12" fmla="*/ 622 w 871"/>
                <a:gd name="connsiteY12" fmla="*/ 318792 h 371262"/>
                <a:gd name="connsiteX13" fmla="*/ 717 w 871"/>
                <a:gd name="connsiteY13" fmla="*/ 371125 h 371262"/>
                <a:gd name="connsiteX14" fmla="*/ 717 w 871"/>
                <a:gd name="connsiteY14" fmla="*/ 371263 h 371262"/>
                <a:gd name="connsiteX15" fmla="*/ 871 w 871"/>
                <a:gd name="connsiteY15" fmla="*/ 371263 h 371262"/>
                <a:gd name="connsiteX16" fmla="*/ 871 w 871"/>
                <a:gd name="connsiteY16" fmla="*/ 371125 h 371262"/>
                <a:gd name="connsiteX17" fmla="*/ 778 w 871"/>
                <a:gd name="connsiteY17" fmla="*/ 318792 h 371262"/>
                <a:gd name="connsiteX18" fmla="*/ 778 w 871"/>
                <a:gd name="connsiteY18" fmla="*/ 318636 h 371262"/>
                <a:gd name="connsiteX19" fmla="*/ 667 w 871"/>
                <a:gd name="connsiteY19" fmla="*/ 265626 h 371262"/>
                <a:gd name="connsiteX20" fmla="*/ 667 w 871"/>
                <a:gd name="connsiteY20" fmla="*/ 265465 h 371262"/>
                <a:gd name="connsiteX21" fmla="*/ 574 w 871"/>
                <a:gd name="connsiteY21" fmla="*/ 212461 h 371262"/>
                <a:gd name="connsiteX22" fmla="*/ 574 w 871"/>
                <a:gd name="connsiteY22" fmla="*/ 212298 h 371262"/>
                <a:gd name="connsiteX23" fmla="*/ 468 w 871"/>
                <a:gd name="connsiteY23" fmla="*/ 159288 h 371262"/>
                <a:gd name="connsiteX24" fmla="*/ 468 w 871"/>
                <a:gd name="connsiteY24" fmla="*/ 159119 h 371262"/>
                <a:gd name="connsiteX25" fmla="*/ 367 w 871"/>
                <a:gd name="connsiteY25" fmla="*/ 106120 h 371262"/>
                <a:gd name="connsiteX26" fmla="*/ 367 w 871"/>
                <a:gd name="connsiteY26" fmla="*/ 105952 h 371262"/>
                <a:gd name="connsiteX27" fmla="*/ 274 w 871"/>
                <a:gd name="connsiteY27" fmla="*/ 53775 h 371262"/>
                <a:gd name="connsiteX28" fmla="*/ 274 w 871"/>
                <a:gd name="connsiteY28" fmla="*/ 53614 h 371262"/>
                <a:gd name="connsiteX29" fmla="*/ 169 w 871"/>
                <a:gd name="connsiteY29" fmla="*/ 0 h 371262"/>
                <a:gd name="connsiteX30" fmla="*/ 0 w 871"/>
                <a:gd name="connsiteY30" fmla="*/ 0 h 371262"/>
                <a:gd name="connsiteX31" fmla="*/ 0 w 871"/>
                <a:gd name="connsiteY31" fmla="*/ 0 h 371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71" h="371262">
                  <a:moveTo>
                    <a:pt x="0" y="0"/>
                  </a:moveTo>
                  <a:lnTo>
                    <a:pt x="106" y="53614"/>
                  </a:lnTo>
                  <a:lnTo>
                    <a:pt x="106" y="53775"/>
                  </a:lnTo>
                  <a:lnTo>
                    <a:pt x="199" y="105952"/>
                  </a:lnTo>
                  <a:lnTo>
                    <a:pt x="199" y="106120"/>
                  </a:lnTo>
                  <a:lnTo>
                    <a:pt x="312" y="159119"/>
                  </a:lnTo>
                  <a:lnTo>
                    <a:pt x="312" y="159288"/>
                  </a:lnTo>
                  <a:lnTo>
                    <a:pt x="418" y="212298"/>
                  </a:lnTo>
                  <a:lnTo>
                    <a:pt x="418" y="212461"/>
                  </a:lnTo>
                  <a:lnTo>
                    <a:pt x="511" y="265465"/>
                  </a:lnTo>
                  <a:lnTo>
                    <a:pt x="511" y="265626"/>
                  </a:lnTo>
                  <a:lnTo>
                    <a:pt x="622" y="318636"/>
                  </a:lnTo>
                  <a:lnTo>
                    <a:pt x="622" y="318792"/>
                  </a:lnTo>
                  <a:lnTo>
                    <a:pt x="717" y="371125"/>
                  </a:lnTo>
                  <a:lnTo>
                    <a:pt x="717" y="371263"/>
                  </a:lnTo>
                  <a:lnTo>
                    <a:pt x="871" y="371263"/>
                  </a:lnTo>
                  <a:lnTo>
                    <a:pt x="871" y="371125"/>
                  </a:lnTo>
                  <a:lnTo>
                    <a:pt x="778" y="318792"/>
                  </a:lnTo>
                  <a:lnTo>
                    <a:pt x="778" y="318636"/>
                  </a:lnTo>
                  <a:lnTo>
                    <a:pt x="667" y="265626"/>
                  </a:lnTo>
                  <a:lnTo>
                    <a:pt x="667" y="265465"/>
                  </a:lnTo>
                  <a:lnTo>
                    <a:pt x="574" y="212461"/>
                  </a:lnTo>
                  <a:lnTo>
                    <a:pt x="574" y="212298"/>
                  </a:lnTo>
                  <a:lnTo>
                    <a:pt x="468" y="159288"/>
                  </a:lnTo>
                  <a:lnTo>
                    <a:pt x="468" y="159119"/>
                  </a:lnTo>
                  <a:lnTo>
                    <a:pt x="367" y="106120"/>
                  </a:lnTo>
                  <a:lnTo>
                    <a:pt x="367" y="105952"/>
                  </a:lnTo>
                  <a:lnTo>
                    <a:pt x="274" y="53775"/>
                  </a:lnTo>
                  <a:lnTo>
                    <a:pt x="274" y="53614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9" name="Freeform: Shape 2868">
              <a:extLst>
                <a:ext uri="{FF2B5EF4-FFF2-40B4-BE49-F238E27FC236}">
                  <a16:creationId xmlns:a16="http://schemas.microsoft.com/office/drawing/2014/main" id="{3FF8A7A6-02B0-4B31-85BD-71F1F7E38E75}"/>
                </a:ext>
              </a:extLst>
            </p:cNvPr>
            <p:cNvSpPr/>
            <p:nvPr/>
          </p:nvSpPr>
          <p:spPr>
            <a:xfrm>
              <a:off x="8992419" y="3465493"/>
              <a:ext cx="878" cy="371298"/>
            </a:xfrm>
            <a:custGeom>
              <a:avLst/>
              <a:gdLst>
                <a:gd name="connsiteX0" fmla="*/ 0 w 878"/>
                <a:gd name="connsiteY0" fmla="*/ 0 h 371298"/>
                <a:gd name="connsiteX1" fmla="*/ 106 w 878"/>
                <a:gd name="connsiteY1" fmla="*/ 53539 h 371298"/>
                <a:gd name="connsiteX2" fmla="*/ 106 w 878"/>
                <a:gd name="connsiteY2" fmla="*/ 53702 h 371298"/>
                <a:gd name="connsiteX3" fmla="*/ 206 w 878"/>
                <a:gd name="connsiteY3" fmla="*/ 105883 h 371298"/>
                <a:gd name="connsiteX4" fmla="*/ 206 w 878"/>
                <a:gd name="connsiteY4" fmla="*/ 106047 h 371298"/>
                <a:gd name="connsiteX5" fmla="*/ 312 w 878"/>
                <a:gd name="connsiteY5" fmla="*/ 159051 h 371298"/>
                <a:gd name="connsiteX6" fmla="*/ 312 w 878"/>
                <a:gd name="connsiteY6" fmla="*/ 159218 h 371298"/>
                <a:gd name="connsiteX7" fmla="*/ 418 w 878"/>
                <a:gd name="connsiteY7" fmla="*/ 212224 h 371298"/>
                <a:gd name="connsiteX8" fmla="*/ 418 w 878"/>
                <a:gd name="connsiteY8" fmla="*/ 212385 h 371298"/>
                <a:gd name="connsiteX9" fmla="*/ 518 w 878"/>
                <a:gd name="connsiteY9" fmla="*/ 265390 h 371298"/>
                <a:gd name="connsiteX10" fmla="*/ 518 w 878"/>
                <a:gd name="connsiteY10" fmla="*/ 265551 h 371298"/>
                <a:gd name="connsiteX11" fmla="*/ 624 w 878"/>
                <a:gd name="connsiteY11" fmla="*/ 318563 h 371298"/>
                <a:gd name="connsiteX12" fmla="*/ 624 w 878"/>
                <a:gd name="connsiteY12" fmla="*/ 318724 h 371298"/>
                <a:gd name="connsiteX13" fmla="*/ 717 w 878"/>
                <a:gd name="connsiteY13" fmla="*/ 371125 h 371298"/>
                <a:gd name="connsiteX14" fmla="*/ 717 w 878"/>
                <a:gd name="connsiteY14" fmla="*/ 371298 h 371298"/>
                <a:gd name="connsiteX15" fmla="*/ 878 w 878"/>
                <a:gd name="connsiteY15" fmla="*/ 371298 h 371298"/>
                <a:gd name="connsiteX16" fmla="*/ 878 w 878"/>
                <a:gd name="connsiteY16" fmla="*/ 371125 h 371298"/>
                <a:gd name="connsiteX17" fmla="*/ 780 w 878"/>
                <a:gd name="connsiteY17" fmla="*/ 318724 h 371298"/>
                <a:gd name="connsiteX18" fmla="*/ 780 w 878"/>
                <a:gd name="connsiteY18" fmla="*/ 318563 h 371298"/>
                <a:gd name="connsiteX19" fmla="*/ 674 w 878"/>
                <a:gd name="connsiteY19" fmla="*/ 265551 h 371298"/>
                <a:gd name="connsiteX20" fmla="*/ 674 w 878"/>
                <a:gd name="connsiteY20" fmla="*/ 265390 h 371298"/>
                <a:gd name="connsiteX21" fmla="*/ 574 w 878"/>
                <a:gd name="connsiteY21" fmla="*/ 212385 h 371298"/>
                <a:gd name="connsiteX22" fmla="*/ 574 w 878"/>
                <a:gd name="connsiteY22" fmla="*/ 212224 h 371298"/>
                <a:gd name="connsiteX23" fmla="*/ 468 w 878"/>
                <a:gd name="connsiteY23" fmla="*/ 159218 h 371298"/>
                <a:gd name="connsiteX24" fmla="*/ 468 w 878"/>
                <a:gd name="connsiteY24" fmla="*/ 159051 h 371298"/>
                <a:gd name="connsiteX25" fmla="*/ 375 w 878"/>
                <a:gd name="connsiteY25" fmla="*/ 106047 h 371298"/>
                <a:gd name="connsiteX26" fmla="*/ 375 w 878"/>
                <a:gd name="connsiteY26" fmla="*/ 105883 h 371298"/>
                <a:gd name="connsiteX27" fmla="*/ 274 w 878"/>
                <a:gd name="connsiteY27" fmla="*/ 53702 h 371298"/>
                <a:gd name="connsiteX28" fmla="*/ 274 w 878"/>
                <a:gd name="connsiteY28" fmla="*/ 53539 h 371298"/>
                <a:gd name="connsiteX29" fmla="*/ 169 w 878"/>
                <a:gd name="connsiteY29" fmla="*/ 0 h 371298"/>
                <a:gd name="connsiteX30" fmla="*/ 0 w 878"/>
                <a:gd name="connsiteY30" fmla="*/ 0 h 371298"/>
                <a:gd name="connsiteX31" fmla="*/ 0 w 878"/>
                <a:gd name="connsiteY31" fmla="*/ 0 h 371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78" h="371298">
                  <a:moveTo>
                    <a:pt x="0" y="0"/>
                  </a:moveTo>
                  <a:lnTo>
                    <a:pt x="106" y="53539"/>
                  </a:lnTo>
                  <a:lnTo>
                    <a:pt x="106" y="53702"/>
                  </a:lnTo>
                  <a:lnTo>
                    <a:pt x="206" y="105883"/>
                  </a:lnTo>
                  <a:lnTo>
                    <a:pt x="206" y="106047"/>
                  </a:lnTo>
                  <a:lnTo>
                    <a:pt x="312" y="159051"/>
                  </a:lnTo>
                  <a:lnTo>
                    <a:pt x="312" y="159218"/>
                  </a:lnTo>
                  <a:lnTo>
                    <a:pt x="418" y="212224"/>
                  </a:lnTo>
                  <a:lnTo>
                    <a:pt x="418" y="212385"/>
                  </a:lnTo>
                  <a:lnTo>
                    <a:pt x="518" y="265390"/>
                  </a:lnTo>
                  <a:lnTo>
                    <a:pt x="518" y="265551"/>
                  </a:lnTo>
                  <a:lnTo>
                    <a:pt x="624" y="318563"/>
                  </a:lnTo>
                  <a:lnTo>
                    <a:pt x="624" y="318724"/>
                  </a:lnTo>
                  <a:lnTo>
                    <a:pt x="717" y="371125"/>
                  </a:lnTo>
                  <a:lnTo>
                    <a:pt x="717" y="371298"/>
                  </a:lnTo>
                  <a:lnTo>
                    <a:pt x="878" y="371298"/>
                  </a:lnTo>
                  <a:lnTo>
                    <a:pt x="878" y="371125"/>
                  </a:lnTo>
                  <a:lnTo>
                    <a:pt x="780" y="318724"/>
                  </a:lnTo>
                  <a:lnTo>
                    <a:pt x="780" y="318563"/>
                  </a:lnTo>
                  <a:lnTo>
                    <a:pt x="674" y="265551"/>
                  </a:lnTo>
                  <a:lnTo>
                    <a:pt x="674" y="265390"/>
                  </a:lnTo>
                  <a:lnTo>
                    <a:pt x="574" y="212385"/>
                  </a:lnTo>
                  <a:lnTo>
                    <a:pt x="574" y="212224"/>
                  </a:lnTo>
                  <a:lnTo>
                    <a:pt x="468" y="159218"/>
                  </a:lnTo>
                  <a:lnTo>
                    <a:pt x="468" y="159051"/>
                  </a:lnTo>
                  <a:lnTo>
                    <a:pt x="375" y="106047"/>
                  </a:lnTo>
                  <a:lnTo>
                    <a:pt x="375" y="105883"/>
                  </a:lnTo>
                  <a:lnTo>
                    <a:pt x="274" y="53702"/>
                  </a:lnTo>
                  <a:lnTo>
                    <a:pt x="274" y="53539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0" name="Freeform: Shape 2869">
              <a:extLst>
                <a:ext uri="{FF2B5EF4-FFF2-40B4-BE49-F238E27FC236}">
                  <a16:creationId xmlns:a16="http://schemas.microsoft.com/office/drawing/2014/main" id="{9A6710C6-A84A-A6AC-19FB-229E611C1EE6}"/>
                </a:ext>
              </a:extLst>
            </p:cNvPr>
            <p:cNvSpPr/>
            <p:nvPr/>
          </p:nvSpPr>
          <p:spPr>
            <a:xfrm>
              <a:off x="9045599" y="3465493"/>
              <a:ext cx="865" cy="371330"/>
            </a:xfrm>
            <a:custGeom>
              <a:avLst/>
              <a:gdLst>
                <a:gd name="connsiteX0" fmla="*/ 0 w 865"/>
                <a:gd name="connsiteY0" fmla="*/ 0 h 371330"/>
                <a:gd name="connsiteX1" fmla="*/ 106 w 865"/>
                <a:gd name="connsiteY1" fmla="*/ 53458 h 371330"/>
                <a:gd name="connsiteX2" fmla="*/ 106 w 865"/>
                <a:gd name="connsiteY2" fmla="*/ 53626 h 371330"/>
                <a:gd name="connsiteX3" fmla="*/ 204 w 865"/>
                <a:gd name="connsiteY3" fmla="*/ 105797 h 371330"/>
                <a:gd name="connsiteX4" fmla="*/ 204 w 865"/>
                <a:gd name="connsiteY4" fmla="*/ 105964 h 371330"/>
                <a:gd name="connsiteX5" fmla="*/ 298 w 865"/>
                <a:gd name="connsiteY5" fmla="*/ 158963 h 371330"/>
                <a:gd name="connsiteX6" fmla="*/ 298 w 865"/>
                <a:gd name="connsiteY6" fmla="*/ 159137 h 371330"/>
                <a:gd name="connsiteX7" fmla="*/ 410 w 865"/>
                <a:gd name="connsiteY7" fmla="*/ 212149 h 371330"/>
                <a:gd name="connsiteX8" fmla="*/ 410 w 865"/>
                <a:gd name="connsiteY8" fmla="*/ 212305 h 371330"/>
                <a:gd name="connsiteX9" fmla="*/ 504 w 865"/>
                <a:gd name="connsiteY9" fmla="*/ 265315 h 371330"/>
                <a:gd name="connsiteX10" fmla="*/ 504 w 865"/>
                <a:gd name="connsiteY10" fmla="*/ 265478 h 371330"/>
                <a:gd name="connsiteX11" fmla="*/ 609 w 865"/>
                <a:gd name="connsiteY11" fmla="*/ 318482 h 371330"/>
                <a:gd name="connsiteX12" fmla="*/ 609 w 865"/>
                <a:gd name="connsiteY12" fmla="*/ 318643 h 371330"/>
                <a:gd name="connsiteX13" fmla="*/ 710 w 865"/>
                <a:gd name="connsiteY13" fmla="*/ 371125 h 371330"/>
                <a:gd name="connsiteX14" fmla="*/ 710 w 865"/>
                <a:gd name="connsiteY14" fmla="*/ 371331 h 371330"/>
                <a:gd name="connsiteX15" fmla="*/ 866 w 865"/>
                <a:gd name="connsiteY15" fmla="*/ 371331 h 371330"/>
                <a:gd name="connsiteX16" fmla="*/ 866 w 865"/>
                <a:gd name="connsiteY16" fmla="*/ 371125 h 371330"/>
                <a:gd name="connsiteX17" fmla="*/ 765 w 865"/>
                <a:gd name="connsiteY17" fmla="*/ 318643 h 371330"/>
                <a:gd name="connsiteX18" fmla="*/ 765 w 865"/>
                <a:gd name="connsiteY18" fmla="*/ 318482 h 371330"/>
                <a:gd name="connsiteX19" fmla="*/ 660 w 865"/>
                <a:gd name="connsiteY19" fmla="*/ 265478 h 371330"/>
                <a:gd name="connsiteX20" fmla="*/ 660 w 865"/>
                <a:gd name="connsiteY20" fmla="*/ 265309 h 371330"/>
                <a:gd name="connsiteX21" fmla="*/ 566 w 865"/>
                <a:gd name="connsiteY21" fmla="*/ 212305 h 371330"/>
                <a:gd name="connsiteX22" fmla="*/ 566 w 865"/>
                <a:gd name="connsiteY22" fmla="*/ 212149 h 371330"/>
                <a:gd name="connsiteX23" fmla="*/ 454 w 865"/>
                <a:gd name="connsiteY23" fmla="*/ 159137 h 371330"/>
                <a:gd name="connsiteX24" fmla="*/ 454 w 865"/>
                <a:gd name="connsiteY24" fmla="*/ 158963 h 371330"/>
                <a:gd name="connsiteX25" fmla="*/ 360 w 865"/>
                <a:gd name="connsiteY25" fmla="*/ 105964 h 371330"/>
                <a:gd name="connsiteX26" fmla="*/ 360 w 865"/>
                <a:gd name="connsiteY26" fmla="*/ 105797 h 371330"/>
                <a:gd name="connsiteX27" fmla="*/ 262 w 865"/>
                <a:gd name="connsiteY27" fmla="*/ 53626 h 371330"/>
                <a:gd name="connsiteX28" fmla="*/ 262 w 865"/>
                <a:gd name="connsiteY28" fmla="*/ 53458 h 371330"/>
                <a:gd name="connsiteX29" fmla="*/ 156 w 865"/>
                <a:gd name="connsiteY29" fmla="*/ 0 h 371330"/>
                <a:gd name="connsiteX30" fmla="*/ 0 w 865"/>
                <a:gd name="connsiteY30" fmla="*/ 0 h 371330"/>
                <a:gd name="connsiteX31" fmla="*/ 0 w 865"/>
                <a:gd name="connsiteY31" fmla="*/ 0 h 371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65" h="371330">
                  <a:moveTo>
                    <a:pt x="0" y="0"/>
                  </a:moveTo>
                  <a:lnTo>
                    <a:pt x="106" y="53458"/>
                  </a:lnTo>
                  <a:lnTo>
                    <a:pt x="106" y="53626"/>
                  </a:lnTo>
                  <a:lnTo>
                    <a:pt x="204" y="105797"/>
                  </a:lnTo>
                  <a:lnTo>
                    <a:pt x="204" y="105964"/>
                  </a:lnTo>
                  <a:lnTo>
                    <a:pt x="298" y="158963"/>
                  </a:lnTo>
                  <a:lnTo>
                    <a:pt x="298" y="159137"/>
                  </a:lnTo>
                  <a:lnTo>
                    <a:pt x="410" y="212149"/>
                  </a:lnTo>
                  <a:lnTo>
                    <a:pt x="410" y="212305"/>
                  </a:lnTo>
                  <a:lnTo>
                    <a:pt x="504" y="265315"/>
                  </a:lnTo>
                  <a:lnTo>
                    <a:pt x="504" y="265478"/>
                  </a:lnTo>
                  <a:lnTo>
                    <a:pt x="609" y="318482"/>
                  </a:lnTo>
                  <a:lnTo>
                    <a:pt x="609" y="318643"/>
                  </a:lnTo>
                  <a:lnTo>
                    <a:pt x="710" y="371125"/>
                  </a:lnTo>
                  <a:lnTo>
                    <a:pt x="710" y="371331"/>
                  </a:lnTo>
                  <a:lnTo>
                    <a:pt x="866" y="371331"/>
                  </a:lnTo>
                  <a:lnTo>
                    <a:pt x="866" y="371125"/>
                  </a:lnTo>
                  <a:lnTo>
                    <a:pt x="765" y="318643"/>
                  </a:lnTo>
                  <a:lnTo>
                    <a:pt x="765" y="318482"/>
                  </a:lnTo>
                  <a:lnTo>
                    <a:pt x="660" y="265478"/>
                  </a:lnTo>
                  <a:lnTo>
                    <a:pt x="660" y="265309"/>
                  </a:lnTo>
                  <a:lnTo>
                    <a:pt x="566" y="212305"/>
                  </a:lnTo>
                  <a:lnTo>
                    <a:pt x="566" y="212149"/>
                  </a:lnTo>
                  <a:lnTo>
                    <a:pt x="454" y="159137"/>
                  </a:lnTo>
                  <a:lnTo>
                    <a:pt x="454" y="158963"/>
                  </a:lnTo>
                  <a:lnTo>
                    <a:pt x="360" y="105964"/>
                  </a:lnTo>
                  <a:lnTo>
                    <a:pt x="360" y="105797"/>
                  </a:lnTo>
                  <a:lnTo>
                    <a:pt x="262" y="53626"/>
                  </a:lnTo>
                  <a:lnTo>
                    <a:pt x="262" y="53458"/>
                  </a:lnTo>
                  <a:lnTo>
                    <a:pt x="15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1" name="Freeform: Shape 2870">
              <a:extLst>
                <a:ext uri="{FF2B5EF4-FFF2-40B4-BE49-F238E27FC236}">
                  <a16:creationId xmlns:a16="http://schemas.microsoft.com/office/drawing/2014/main" id="{7C7D2B96-63A0-3182-1A28-0DF4859955AC}"/>
                </a:ext>
              </a:extLst>
            </p:cNvPr>
            <p:cNvSpPr/>
            <p:nvPr/>
          </p:nvSpPr>
          <p:spPr>
            <a:xfrm>
              <a:off x="9098765" y="3465493"/>
              <a:ext cx="865" cy="371361"/>
            </a:xfrm>
            <a:custGeom>
              <a:avLst/>
              <a:gdLst>
                <a:gd name="connsiteX0" fmla="*/ 0 w 865"/>
                <a:gd name="connsiteY0" fmla="*/ 0 h 371361"/>
                <a:gd name="connsiteX1" fmla="*/ 100 w 865"/>
                <a:gd name="connsiteY1" fmla="*/ 53384 h 371361"/>
                <a:gd name="connsiteX2" fmla="*/ 100 w 865"/>
                <a:gd name="connsiteY2" fmla="*/ 53390 h 371361"/>
                <a:gd name="connsiteX3" fmla="*/ 113 w 865"/>
                <a:gd name="connsiteY3" fmla="*/ 53539 h 371361"/>
                <a:gd name="connsiteX4" fmla="*/ 113 w 865"/>
                <a:gd name="connsiteY4" fmla="*/ 53551 h 371361"/>
                <a:gd name="connsiteX5" fmla="*/ 206 w 865"/>
                <a:gd name="connsiteY5" fmla="*/ 105722 h 371361"/>
                <a:gd name="connsiteX6" fmla="*/ 206 w 865"/>
                <a:gd name="connsiteY6" fmla="*/ 105891 h 371361"/>
                <a:gd name="connsiteX7" fmla="*/ 305 w 865"/>
                <a:gd name="connsiteY7" fmla="*/ 158895 h 371361"/>
                <a:gd name="connsiteX8" fmla="*/ 305 w 865"/>
                <a:gd name="connsiteY8" fmla="*/ 159064 h 371361"/>
                <a:gd name="connsiteX9" fmla="*/ 410 w 865"/>
                <a:gd name="connsiteY9" fmla="*/ 212068 h 371361"/>
                <a:gd name="connsiteX10" fmla="*/ 410 w 865"/>
                <a:gd name="connsiteY10" fmla="*/ 212229 h 371361"/>
                <a:gd name="connsiteX11" fmla="*/ 506 w 865"/>
                <a:gd name="connsiteY11" fmla="*/ 265234 h 371361"/>
                <a:gd name="connsiteX12" fmla="*/ 506 w 865"/>
                <a:gd name="connsiteY12" fmla="*/ 265402 h 371361"/>
                <a:gd name="connsiteX13" fmla="*/ 617 w 865"/>
                <a:gd name="connsiteY13" fmla="*/ 318407 h 371361"/>
                <a:gd name="connsiteX14" fmla="*/ 617 w 865"/>
                <a:gd name="connsiteY14" fmla="*/ 318568 h 371361"/>
                <a:gd name="connsiteX15" fmla="*/ 710 w 865"/>
                <a:gd name="connsiteY15" fmla="*/ 371125 h 371361"/>
                <a:gd name="connsiteX16" fmla="*/ 710 w 865"/>
                <a:gd name="connsiteY16" fmla="*/ 371361 h 371361"/>
                <a:gd name="connsiteX17" fmla="*/ 866 w 865"/>
                <a:gd name="connsiteY17" fmla="*/ 371361 h 371361"/>
                <a:gd name="connsiteX18" fmla="*/ 866 w 865"/>
                <a:gd name="connsiteY18" fmla="*/ 371125 h 371361"/>
                <a:gd name="connsiteX19" fmla="*/ 773 w 865"/>
                <a:gd name="connsiteY19" fmla="*/ 318568 h 371361"/>
                <a:gd name="connsiteX20" fmla="*/ 773 w 865"/>
                <a:gd name="connsiteY20" fmla="*/ 318407 h 371361"/>
                <a:gd name="connsiteX21" fmla="*/ 660 w 865"/>
                <a:gd name="connsiteY21" fmla="*/ 265402 h 371361"/>
                <a:gd name="connsiteX22" fmla="*/ 660 w 865"/>
                <a:gd name="connsiteY22" fmla="*/ 265234 h 371361"/>
                <a:gd name="connsiteX23" fmla="*/ 566 w 865"/>
                <a:gd name="connsiteY23" fmla="*/ 212229 h 371361"/>
                <a:gd name="connsiteX24" fmla="*/ 566 w 865"/>
                <a:gd name="connsiteY24" fmla="*/ 212068 h 371361"/>
                <a:gd name="connsiteX25" fmla="*/ 461 w 865"/>
                <a:gd name="connsiteY25" fmla="*/ 159064 h 371361"/>
                <a:gd name="connsiteX26" fmla="*/ 461 w 865"/>
                <a:gd name="connsiteY26" fmla="*/ 158895 h 371361"/>
                <a:gd name="connsiteX27" fmla="*/ 362 w 865"/>
                <a:gd name="connsiteY27" fmla="*/ 105891 h 371361"/>
                <a:gd name="connsiteX28" fmla="*/ 362 w 865"/>
                <a:gd name="connsiteY28" fmla="*/ 105722 h 371361"/>
                <a:gd name="connsiteX29" fmla="*/ 269 w 865"/>
                <a:gd name="connsiteY29" fmla="*/ 53551 h 371361"/>
                <a:gd name="connsiteX30" fmla="*/ 269 w 865"/>
                <a:gd name="connsiteY30" fmla="*/ 53539 h 371361"/>
                <a:gd name="connsiteX31" fmla="*/ 256 w 865"/>
                <a:gd name="connsiteY31" fmla="*/ 53390 h 371361"/>
                <a:gd name="connsiteX32" fmla="*/ 256 w 865"/>
                <a:gd name="connsiteY32" fmla="*/ 53384 h 371361"/>
                <a:gd name="connsiteX33" fmla="*/ 156 w 865"/>
                <a:gd name="connsiteY33" fmla="*/ 0 h 371361"/>
                <a:gd name="connsiteX34" fmla="*/ 0 w 865"/>
                <a:gd name="connsiteY34" fmla="*/ 0 h 371361"/>
                <a:gd name="connsiteX35" fmla="*/ 0 w 865"/>
                <a:gd name="connsiteY35" fmla="*/ 0 h 371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865" h="371361">
                  <a:moveTo>
                    <a:pt x="0" y="0"/>
                  </a:moveTo>
                  <a:lnTo>
                    <a:pt x="100" y="53384"/>
                  </a:lnTo>
                  <a:lnTo>
                    <a:pt x="100" y="53390"/>
                  </a:lnTo>
                  <a:lnTo>
                    <a:pt x="113" y="53539"/>
                  </a:lnTo>
                  <a:lnTo>
                    <a:pt x="113" y="53551"/>
                  </a:lnTo>
                  <a:lnTo>
                    <a:pt x="206" y="105722"/>
                  </a:lnTo>
                  <a:lnTo>
                    <a:pt x="206" y="105891"/>
                  </a:lnTo>
                  <a:lnTo>
                    <a:pt x="305" y="158895"/>
                  </a:lnTo>
                  <a:lnTo>
                    <a:pt x="305" y="159064"/>
                  </a:lnTo>
                  <a:lnTo>
                    <a:pt x="410" y="212068"/>
                  </a:lnTo>
                  <a:lnTo>
                    <a:pt x="410" y="212229"/>
                  </a:lnTo>
                  <a:lnTo>
                    <a:pt x="506" y="265234"/>
                  </a:lnTo>
                  <a:lnTo>
                    <a:pt x="506" y="265402"/>
                  </a:lnTo>
                  <a:lnTo>
                    <a:pt x="617" y="318407"/>
                  </a:lnTo>
                  <a:lnTo>
                    <a:pt x="617" y="318568"/>
                  </a:lnTo>
                  <a:lnTo>
                    <a:pt x="710" y="371125"/>
                  </a:lnTo>
                  <a:lnTo>
                    <a:pt x="710" y="371361"/>
                  </a:lnTo>
                  <a:lnTo>
                    <a:pt x="866" y="371361"/>
                  </a:lnTo>
                  <a:lnTo>
                    <a:pt x="866" y="371125"/>
                  </a:lnTo>
                  <a:lnTo>
                    <a:pt x="773" y="318568"/>
                  </a:lnTo>
                  <a:lnTo>
                    <a:pt x="773" y="318407"/>
                  </a:lnTo>
                  <a:lnTo>
                    <a:pt x="660" y="265402"/>
                  </a:lnTo>
                  <a:lnTo>
                    <a:pt x="660" y="265234"/>
                  </a:lnTo>
                  <a:lnTo>
                    <a:pt x="566" y="212229"/>
                  </a:lnTo>
                  <a:lnTo>
                    <a:pt x="566" y="212068"/>
                  </a:lnTo>
                  <a:lnTo>
                    <a:pt x="461" y="159064"/>
                  </a:lnTo>
                  <a:lnTo>
                    <a:pt x="461" y="158895"/>
                  </a:lnTo>
                  <a:lnTo>
                    <a:pt x="362" y="105891"/>
                  </a:lnTo>
                  <a:lnTo>
                    <a:pt x="362" y="105722"/>
                  </a:lnTo>
                  <a:lnTo>
                    <a:pt x="269" y="53551"/>
                  </a:lnTo>
                  <a:lnTo>
                    <a:pt x="269" y="53539"/>
                  </a:lnTo>
                  <a:lnTo>
                    <a:pt x="256" y="53390"/>
                  </a:lnTo>
                  <a:lnTo>
                    <a:pt x="256" y="53384"/>
                  </a:lnTo>
                  <a:lnTo>
                    <a:pt x="15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2" name="Freeform: Shape 2871">
              <a:extLst>
                <a:ext uri="{FF2B5EF4-FFF2-40B4-BE49-F238E27FC236}">
                  <a16:creationId xmlns:a16="http://schemas.microsoft.com/office/drawing/2014/main" id="{85A6D951-A91B-FFF7-D713-0C64B451C30C}"/>
                </a:ext>
              </a:extLst>
            </p:cNvPr>
            <p:cNvSpPr/>
            <p:nvPr/>
          </p:nvSpPr>
          <p:spPr>
            <a:xfrm>
              <a:off x="9151938" y="3465493"/>
              <a:ext cx="858" cy="371393"/>
            </a:xfrm>
            <a:custGeom>
              <a:avLst/>
              <a:gdLst>
                <a:gd name="connsiteX0" fmla="*/ 0 w 858"/>
                <a:gd name="connsiteY0" fmla="*/ 0 h 371393"/>
                <a:gd name="connsiteX1" fmla="*/ 93 w 858"/>
                <a:gd name="connsiteY1" fmla="*/ 53309 h 371393"/>
                <a:gd name="connsiteX2" fmla="*/ 93 w 858"/>
                <a:gd name="connsiteY2" fmla="*/ 53315 h 371393"/>
                <a:gd name="connsiteX3" fmla="*/ 106 w 858"/>
                <a:gd name="connsiteY3" fmla="*/ 53471 h 371393"/>
                <a:gd name="connsiteX4" fmla="*/ 199 w 858"/>
                <a:gd name="connsiteY4" fmla="*/ 105654 h 371393"/>
                <a:gd name="connsiteX5" fmla="*/ 199 w 858"/>
                <a:gd name="connsiteY5" fmla="*/ 105823 h 371393"/>
                <a:gd name="connsiteX6" fmla="*/ 299 w 858"/>
                <a:gd name="connsiteY6" fmla="*/ 158820 h 371393"/>
                <a:gd name="connsiteX7" fmla="*/ 299 w 858"/>
                <a:gd name="connsiteY7" fmla="*/ 158988 h 371393"/>
                <a:gd name="connsiteX8" fmla="*/ 405 w 858"/>
                <a:gd name="connsiteY8" fmla="*/ 211993 h 371393"/>
                <a:gd name="connsiteX9" fmla="*/ 405 w 858"/>
                <a:gd name="connsiteY9" fmla="*/ 212154 h 371393"/>
                <a:gd name="connsiteX10" fmla="*/ 504 w 858"/>
                <a:gd name="connsiteY10" fmla="*/ 265159 h 371393"/>
                <a:gd name="connsiteX11" fmla="*/ 504 w 858"/>
                <a:gd name="connsiteY11" fmla="*/ 265327 h 371393"/>
                <a:gd name="connsiteX12" fmla="*/ 609 w 858"/>
                <a:gd name="connsiteY12" fmla="*/ 318332 h 371393"/>
                <a:gd name="connsiteX13" fmla="*/ 609 w 858"/>
                <a:gd name="connsiteY13" fmla="*/ 318495 h 371393"/>
                <a:gd name="connsiteX14" fmla="*/ 704 w 858"/>
                <a:gd name="connsiteY14" fmla="*/ 371125 h 371393"/>
                <a:gd name="connsiteX15" fmla="*/ 704 w 858"/>
                <a:gd name="connsiteY15" fmla="*/ 371393 h 371393"/>
                <a:gd name="connsiteX16" fmla="*/ 859 w 858"/>
                <a:gd name="connsiteY16" fmla="*/ 371393 h 371393"/>
                <a:gd name="connsiteX17" fmla="*/ 859 w 858"/>
                <a:gd name="connsiteY17" fmla="*/ 371125 h 371393"/>
                <a:gd name="connsiteX18" fmla="*/ 765 w 858"/>
                <a:gd name="connsiteY18" fmla="*/ 318495 h 371393"/>
                <a:gd name="connsiteX19" fmla="*/ 765 w 858"/>
                <a:gd name="connsiteY19" fmla="*/ 318332 h 371393"/>
                <a:gd name="connsiteX20" fmla="*/ 660 w 858"/>
                <a:gd name="connsiteY20" fmla="*/ 265327 h 371393"/>
                <a:gd name="connsiteX21" fmla="*/ 660 w 858"/>
                <a:gd name="connsiteY21" fmla="*/ 265159 h 371393"/>
                <a:gd name="connsiteX22" fmla="*/ 561 w 858"/>
                <a:gd name="connsiteY22" fmla="*/ 212154 h 371393"/>
                <a:gd name="connsiteX23" fmla="*/ 561 w 858"/>
                <a:gd name="connsiteY23" fmla="*/ 211993 h 371393"/>
                <a:gd name="connsiteX24" fmla="*/ 455 w 858"/>
                <a:gd name="connsiteY24" fmla="*/ 158988 h 371393"/>
                <a:gd name="connsiteX25" fmla="*/ 455 w 858"/>
                <a:gd name="connsiteY25" fmla="*/ 158820 h 371393"/>
                <a:gd name="connsiteX26" fmla="*/ 355 w 858"/>
                <a:gd name="connsiteY26" fmla="*/ 105823 h 371393"/>
                <a:gd name="connsiteX27" fmla="*/ 355 w 858"/>
                <a:gd name="connsiteY27" fmla="*/ 105654 h 371393"/>
                <a:gd name="connsiteX28" fmla="*/ 262 w 858"/>
                <a:gd name="connsiteY28" fmla="*/ 53471 h 371393"/>
                <a:gd name="connsiteX29" fmla="*/ 249 w 858"/>
                <a:gd name="connsiteY29" fmla="*/ 53315 h 371393"/>
                <a:gd name="connsiteX30" fmla="*/ 249 w 858"/>
                <a:gd name="connsiteY30" fmla="*/ 53309 h 371393"/>
                <a:gd name="connsiteX31" fmla="*/ 156 w 858"/>
                <a:gd name="connsiteY31" fmla="*/ 0 h 371393"/>
                <a:gd name="connsiteX32" fmla="*/ 0 w 858"/>
                <a:gd name="connsiteY32" fmla="*/ 0 h 371393"/>
                <a:gd name="connsiteX33" fmla="*/ 0 w 858"/>
                <a:gd name="connsiteY33" fmla="*/ 0 h 371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858" h="371393">
                  <a:moveTo>
                    <a:pt x="0" y="0"/>
                  </a:moveTo>
                  <a:lnTo>
                    <a:pt x="93" y="53309"/>
                  </a:lnTo>
                  <a:lnTo>
                    <a:pt x="93" y="53315"/>
                  </a:lnTo>
                  <a:lnTo>
                    <a:pt x="106" y="53471"/>
                  </a:lnTo>
                  <a:lnTo>
                    <a:pt x="199" y="105654"/>
                  </a:lnTo>
                  <a:lnTo>
                    <a:pt x="199" y="105823"/>
                  </a:lnTo>
                  <a:lnTo>
                    <a:pt x="299" y="158820"/>
                  </a:lnTo>
                  <a:lnTo>
                    <a:pt x="299" y="158988"/>
                  </a:lnTo>
                  <a:lnTo>
                    <a:pt x="405" y="211993"/>
                  </a:lnTo>
                  <a:lnTo>
                    <a:pt x="405" y="212154"/>
                  </a:lnTo>
                  <a:lnTo>
                    <a:pt x="504" y="265159"/>
                  </a:lnTo>
                  <a:lnTo>
                    <a:pt x="504" y="265327"/>
                  </a:lnTo>
                  <a:lnTo>
                    <a:pt x="609" y="318332"/>
                  </a:lnTo>
                  <a:lnTo>
                    <a:pt x="609" y="318495"/>
                  </a:lnTo>
                  <a:lnTo>
                    <a:pt x="704" y="371125"/>
                  </a:lnTo>
                  <a:lnTo>
                    <a:pt x="704" y="371393"/>
                  </a:lnTo>
                  <a:lnTo>
                    <a:pt x="859" y="371393"/>
                  </a:lnTo>
                  <a:lnTo>
                    <a:pt x="859" y="371125"/>
                  </a:lnTo>
                  <a:lnTo>
                    <a:pt x="765" y="318495"/>
                  </a:lnTo>
                  <a:lnTo>
                    <a:pt x="765" y="318332"/>
                  </a:lnTo>
                  <a:lnTo>
                    <a:pt x="660" y="265327"/>
                  </a:lnTo>
                  <a:lnTo>
                    <a:pt x="660" y="265159"/>
                  </a:lnTo>
                  <a:lnTo>
                    <a:pt x="561" y="212154"/>
                  </a:lnTo>
                  <a:lnTo>
                    <a:pt x="561" y="211993"/>
                  </a:lnTo>
                  <a:lnTo>
                    <a:pt x="455" y="158988"/>
                  </a:lnTo>
                  <a:lnTo>
                    <a:pt x="455" y="158820"/>
                  </a:lnTo>
                  <a:lnTo>
                    <a:pt x="355" y="105823"/>
                  </a:lnTo>
                  <a:lnTo>
                    <a:pt x="355" y="105654"/>
                  </a:lnTo>
                  <a:lnTo>
                    <a:pt x="262" y="53471"/>
                  </a:lnTo>
                  <a:lnTo>
                    <a:pt x="249" y="53315"/>
                  </a:lnTo>
                  <a:lnTo>
                    <a:pt x="249" y="53309"/>
                  </a:lnTo>
                  <a:lnTo>
                    <a:pt x="15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3" name="Freeform: Shape 2872">
              <a:extLst>
                <a:ext uri="{FF2B5EF4-FFF2-40B4-BE49-F238E27FC236}">
                  <a16:creationId xmlns:a16="http://schemas.microsoft.com/office/drawing/2014/main" id="{1E6C7621-7F7E-A5B1-1CD0-C7910C6D38B1}"/>
                </a:ext>
              </a:extLst>
            </p:cNvPr>
            <p:cNvSpPr/>
            <p:nvPr/>
          </p:nvSpPr>
          <p:spPr>
            <a:xfrm>
              <a:off x="9205104" y="3465493"/>
              <a:ext cx="878" cy="371423"/>
            </a:xfrm>
            <a:custGeom>
              <a:avLst/>
              <a:gdLst>
                <a:gd name="connsiteX0" fmla="*/ 0 w 878"/>
                <a:gd name="connsiteY0" fmla="*/ 0 h 371423"/>
                <a:gd name="connsiteX1" fmla="*/ 93 w 878"/>
                <a:gd name="connsiteY1" fmla="*/ 53234 h 371423"/>
                <a:gd name="connsiteX2" fmla="*/ 93 w 878"/>
                <a:gd name="connsiteY2" fmla="*/ 53397 h 371423"/>
                <a:gd name="connsiteX3" fmla="*/ 194 w 878"/>
                <a:gd name="connsiteY3" fmla="*/ 105579 h 371423"/>
                <a:gd name="connsiteX4" fmla="*/ 194 w 878"/>
                <a:gd name="connsiteY4" fmla="*/ 105747 h 371423"/>
                <a:gd name="connsiteX5" fmla="*/ 299 w 878"/>
                <a:gd name="connsiteY5" fmla="*/ 158745 h 371423"/>
                <a:gd name="connsiteX6" fmla="*/ 299 w 878"/>
                <a:gd name="connsiteY6" fmla="*/ 158920 h 371423"/>
                <a:gd name="connsiteX7" fmla="*/ 412 w 878"/>
                <a:gd name="connsiteY7" fmla="*/ 211918 h 371423"/>
                <a:gd name="connsiteX8" fmla="*/ 412 w 878"/>
                <a:gd name="connsiteY8" fmla="*/ 212086 h 371423"/>
                <a:gd name="connsiteX9" fmla="*/ 506 w 878"/>
                <a:gd name="connsiteY9" fmla="*/ 265085 h 371423"/>
                <a:gd name="connsiteX10" fmla="*/ 506 w 878"/>
                <a:gd name="connsiteY10" fmla="*/ 265252 h 371423"/>
                <a:gd name="connsiteX11" fmla="*/ 611 w 878"/>
                <a:gd name="connsiteY11" fmla="*/ 318258 h 371423"/>
                <a:gd name="connsiteX12" fmla="*/ 611 w 878"/>
                <a:gd name="connsiteY12" fmla="*/ 318425 h 371423"/>
                <a:gd name="connsiteX13" fmla="*/ 710 w 878"/>
                <a:gd name="connsiteY13" fmla="*/ 371125 h 371423"/>
                <a:gd name="connsiteX14" fmla="*/ 710 w 878"/>
                <a:gd name="connsiteY14" fmla="*/ 371424 h 371423"/>
                <a:gd name="connsiteX15" fmla="*/ 878 w 878"/>
                <a:gd name="connsiteY15" fmla="*/ 371424 h 371423"/>
                <a:gd name="connsiteX16" fmla="*/ 878 w 878"/>
                <a:gd name="connsiteY16" fmla="*/ 371125 h 371423"/>
                <a:gd name="connsiteX17" fmla="*/ 780 w 878"/>
                <a:gd name="connsiteY17" fmla="*/ 318425 h 371423"/>
                <a:gd name="connsiteX18" fmla="*/ 780 w 878"/>
                <a:gd name="connsiteY18" fmla="*/ 318258 h 371423"/>
                <a:gd name="connsiteX19" fmla="*/ 674 w 878"/>
                <a:gd name="connsiteY19" fmla="*/ 265252 h 371423"/>
                <a:gd name="connsiteX20" fmla="*/ 674 w 878"/>
                <a:gd name="connsiteY20" fmla="*/ 265085 h 371423"/>
                <a:gd name="connsiteX21" fmla="*/ 574 w 878"/>
                <a:gd name="connsiteY21" fmla="*/ 212086 h 371423"/>
                <a:gd name="connsiteX22" fmla="*/ 574 w 878"/>
                <a:gd name="connsiteY22" fmla="*/ 211918 h 371423"/>
                <a:gd name="connsiteX23" fmla="*/ 468 w 878"/>
                <a:gd name="connsiteY23" fmla="*/ 158920 h 371423"/>
                <a:gd name="connsiteX24" fmla="*/ 468 w 878"/>
                <a:gd name="connsiteY24" fmla="*/ 158745 h 371423"/>
                <a:gd name="connsiteX25" fmla="*/ 362 w 878"/>
                <a:gd name="connsiteY25" fmla="*/ 105747 h 371423"/>
                <a:gd name="connsiteX26" fmla="*/ 362 w 878"/>
                <a:gd name="connsiteY26" fmla="*/ 105579 h 371423"/>
                <a:gd name="connsiteX27" fmla="*/ 262 w 878"/>
                <a:gd name="connsiteY27" fmla="*/ 53397 h 371423"/>
                <a:gd name="connsiteX28" fmla="*/ 262 w 878"/>
                <a:gd name="connsiteY28" fmla="*/ 53234 h 371423"/>
                <a:gd name="connsiteX29" fmla="*/ 156 w 878"/>
                <a:gd name="connsiteY29" fmla="*/ 0 h 371423"/>
                <a:gd name="connsiteX30" fmla="*/ 0 w 878"/>
                <a:gd name="connsiteY30" fmla="*/ 0 h 371423"/>
                <a:gd name="connsiteX31" fmla="*/ 0 w 878"/>
                <a:gd name="connsiteY31" fmla="*/ 0 h 37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78" h="371423">
                  <a:moveTo>
                    <a:pt x="0" y="0"/>
                  </a:moveTo>
                  <a:lnTo>
                    <a:pt x="93" y="53234"/>
                  </a:lnTo>
                  <a:lnTo>
                    <a:pt x="93" y="53397"/>
                  </a:lnTo>
                  <a:lnTo>
                    <a:pt x="194" y="105579"/>
                  </a:lnTo>
                  <a:lnTo>
                    <a:pt x="194" y="105747"/>
                  </a:lnTo>
                  <a:lnTo>
                    <a:pt x="299" y="158745"/>
                  </a:lnTo>
                  <a:lnTo>
                    <a:pt x="299" y="158920"/>
                  </a:lnTo>
                  <a:lnTo>
                    <a:pt x="412" y="211918"/>
                  </a:lnTo>
                  <a:lnTo>
                    <a:pt x="412" y="212086"/>
                  </a:lnTo>
                  <a:lnTo>
                    <a:pt x="506" y="265085"/>
                  </a:lnTo>
                  <a:lnTo>
                    <a:pt x="506" y="265252"/>
                  </a:lnTo>
                  <a:lnTo>
                    <a:pt x="611" y="318258"/>
                  </a:lnTo>
                  <a:lnTo>
                    <a:pt x="611" y="318425"/>
                  </a:lnTo>
                  <a:lnTo>
                    <a:pt x="710" y="371125"/>
                  </a:lnTo>
                  <a:lnTo>
                    <a:pt x="710" y="371424"/>
                  </a:lnTo>
                  <a:lnTo>
                    <a:pt x="878" y="371424"/>
                  </a:lnTo>
                  <a:lnTo>
                    <a:pt x="878" y="371125"/>
                  </a:lnTo>
                  <a:lnTo>
                    <a:pt x="780" y="318425"/>
                  </a:lnTo>
                  <a:lnTo>
                    <a:pt x="780" y="318258"/>
                  </a:lnTo>
                  <a:lnTo>
                    <a:pt x="674" y="265252"/>
                  </a:lnTo>
                  <a:lnTo>
                    <a:pt x="674" y="265085"/>
                  </a:lnTo>
                  <a:lnTo>
                    <a:pt x="574" y="212086"/>
                  </a:lnTo>
                  <a:lnTo>
                    <a:pt x="574" y="211918"/>
                  </a:lnTo>
                  <a:lnTo>
                    <a:pt x="468" y="158920"/>
                  </a:lnTo>
                  <a:lnTo>
                    <a:pt x="468" y="158745"/>
                  </a:lnTo>
                  <a:lnTo>
                    <a:pt x="362" y="105747"/>
                  </a:lnTo>
                  <a:lnTo>
                    <a:pt x="362" y="105579"/>
                  </a:lnTo>
                  <a:lnTo>
                    <a:pt x="262" y="53397"/>
                  </a:lnTo>
                  <a:lnTo>
                    <a:pt x="262" y="53234"/>
                  </a:lnTo>
                  <a:lnTo>
                    <a:pt x="15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4" name="Freeform: Shape 2873">
              <a:extLst>
                <a:ext uri="{FF2B5EF4-FFF2-40B4-BE49-F238E27FC236}">
                  <a16:creationId xmlns:a16="http://schemas.microsoft.com/office/drawing/2014/main" id="{B7F83D85-B031-2FAE-726D-60E84E56C3E4}"/>
                </a:ext>
              </a:extLst>
            </p:cNvPr>
            <p:cNvSpPr/>
            <p:nvPr/>
          </p:nvSpPr>
          <p:spPr>
            <a:xfrm>
              <a:off x="9258271" y="3465493"/>
              <a:ext cx="878" cy="371454"/>
            </a:xfrm>
            <a:custGeom>
              <a:avLst/>
              <a:gdLst>
                <a:gd name="connsiteX0" fmla="*/ 0 w 878"/>
                <a:gd name="connsiteY0" fmla="*/ 0 h 371454"/>
                <a:gd name="connsiteX1" fmla="*/ 99 w 878"/>
                <a:gd name="connsiteY1" fmla="*/ 53160 h 371454"/>
                <a:gd name="connsiteX2" fmla="*/ 99 w 878"/>
                <a:gd name="connsiteY2" fmla="*/ 53322 h 371454"/>
                <a:gd name="connsiteX3" fmla="*/ 192 w 878"/>
                <a:gd name="connsiteY3" fmla="*/ 105498 h 371454"/>
                <a:gd name="connsiteX4" fmla="*/ 192 w 878"/>
                <a:gd name="connsiteY4" fmla="*/ 105667 h 371454"/>
                <a:gd name="connsiteX5" fmla="*/ 298 w 878"/>
                <a:gd name="connsiteY5" fmla="*/ 158664 h 371454"/>
                <a:gd name="connsiteX6" fmla="*/ 298 w 878"/>
                <a:gd name="connsiteY6" fmla="*/ 158840 h 371454"/>
                <a:gd name="connsiteX7" fmla="*/ 398 w 878"/>
                <a:gd name="connsiteY7" fmla="*/ 211844 h 371454"/>
                <a:gd name="connsiteX8" fmla="*/ 410 w 878"/>
                <a:gd name="connsiteY8" fmla="*/ 211998 h 371454"/>
                <a:gd name="connsiteX9" fmla="*/ 410 w 878"/>
                <a:gd name="connsiteY9" fmla="*/ 212005 h 371454"/>
                <a:gd name="connsiteX10" fmla="*/ 504 w 878"/>
                <a:gd name="connsiteY10" fmla="*/ 265010 h 371454"/>
                <a:gd name="connsiteX11" fmla="*/ 504 w 878"/>
                <a:gd name="connsiteY11" fmla="*/ 265178 h 371454"/>
                <a:gd name="connsiteX12" fmla="*/ 617 w 878"/>
                <a:gd name="connsiteY12" fmla="*/ 318183 h 371454"/>
                <a:gd name="connsiteX13" fmla="*/ 617 w 878"/>
                <a:gd name="connsiteY13" fmla="*/ 318344 h 371454"/>
                <a:gd name="connsiteX14" fmla="*/ 710 w 878"/>
                <a:gd name="connsiteY14" fmla="*/ 371125 h 371454"/>
                <a:gd name="connsiteX15" fmla="*/ 710 w 878"/>
                <a:gd name="connsiteY15" fmla="*/ 371454 h 371454"/>
                <a:gd name="connsiteX16" fmla="*/ 878 w 878"/>
                <a:gd name="connsiteY16" fmla="*/ 371454 h 371454"/>
                <a:gd name="connsiteX17" fmla="*/ 878 w 878"/>
                <a:gd name="connsiteY17" fmla="*/ 371125 h 371454"/>
                <a:gd name="connsiteX18" fmla="*/ 783 w 878"/>
                <a:gd name="connsiteY18" fmla="*/ 318344 h 371454"/>
                <a:gd name="connsiteX19" fmla="*/ 783 w 878"/>
                <a:gd name="connsiteY19" fmla="*/ 318183 h 371454"/>
                <a:gd name="connsiteX20" fmla="*/ 672 w 878"/>
                <a:gd name="connsiteY20" fmla="*/ 265178 h 371454"/>
                <a:gd name="connsiteX21" fmla="*/ 672 w 878"/>
                <a:gd name="connsiteY21" fmla="*/ 265010 h 371454"/>
                <a:gd name="connsiteX22" fmla="*/ 579 w 878"/>
                <a:gd name="connsiteY22" fmla="*/ 212005 h 371454"/>
                <a:gd name="connsiteX23" fmla="*/ 579 w 878"/>
                <a:gd name="connsiteY23" fmla="*/ 211998 h 371454"/>
                <a:gd name="connsiteX24" fmla="*/ 566 w 878"/>
                <a:gd name="connsiteY24" fmla="*/ 211844 h 371454"/>
                <a:gd name="connsiteX25" fmla="*/ 466 w 878"/>
                <a:gd name="connsiteY25" fmla="*/ 158840 h 371454"/>
                <a:gd name="connsiteX26" fmla="*/ 466 w 878"/>
                <a:gd name="connsiteY26" fmla="*/ 158664 h 371454"/>
                <a:gd name="connsiteX27" fmla="*/ 360 w 878"/>
                <a:gd name="connsiteY27" fmla="*/ 105667 h 371454"/>
                <a:gd name="connsiteX28" fmla="*/ 360 w 878"/>
                <a:gd name="connsiteY28" fmla="*/ 105498 h 371454"/>
                <a:gd name="connsiteX29" fmla="*/ 267 w 878"/>
                <a:gd name="connsiteY29" fmla="*/ 53322 h 371454"/>
                <a:gd name="connsiteX30" fmla="*/ 267 w 878"/>
                <a:gd name="connsiteY30" fmla="*/ 53160 h 371454"/>
                <a:gd name="connsiteX31" fmla="*/ 156 w 878"/>
                <a:gd name="connsiteY31" fmla="*/ 0 h 371454"/>
                <a:gd name="connsiteX32" fmla="*/ 0 w 878"/>
                <a:gd name="connsiteY32" fmla="*/ 0 h 371454"/>
                <a:gd name="connsiteX33" fmla="*/ 0 w 878"/>
                <a:gd name="connsiteY33" fmla="*/ 0 h 371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878" h="371454">
                  <a:moveTo>
                    <a:pt x="0" y="0"/>
                  </a:moveTo>
                  <a:lnTo>
                    <a:pt x="99" y="53160"/>
                  </a:lnTo>
                  <a:lnTo>
                    <a:pt x="99" y="53322"/>
                  </a:lnTo>
                  <a:lnTo>
                    <a:pt x="192" y="105498"/>
                  </a:lnTo>
                  <a:lnTo>
                    <a:pt x="192" y="105667"/>
                  </a:lnTo>
                  <a:lnTo>
                    <a:pt x="298" y="158664"/>
                  </a:lnTo>
                  <a:lnTo>
                    <a:pt x="298" y="158840"/>
                  </a:lnTo>
                  <a:lnTo>
                    <a:pt x="398" y="211844"/>
                  </a:lnTo>
                  <a:lnTo>
                    <a:pt x="410" y="211998"/>
                  </a:lnTo>
                  <a:lnTo>
                    <a:pt x="410" y="212005"/>
                  </a:lnTo>
                  <a:lnTo>
                    <a:pt x="504" y="265010"/>
                  </a:lnTo>
                  <a:lnTo>
                    <a:pt x="504" y="265178"/>
                  </a:lnTo>
                  <a:lnTo>
                    <a:pt x="617" y="318183"/>
                  </a:lnTo>
                  <a:lnTo>
                    <a:pt x="617" y="318344"/>
                  </a:lnTo>
                  <a:lnTo>
                    <a:pt x="710" y="371125"/>
                  </a:lnTo>
                  <a:lnTo>
                    <a:pt x="710" y="371454"/>
                  </a:lnTo>
                  <a:lnTo>
                    <a:pt x="878" y="371454"/>
                  </a:lnTo>
                  <a:lnTo>
                    <a:pt x="878" y="371125"/>
                  </a:lnTo>
                  <a:lnTo>
                    <a:pt x="783" y="318344"/>
                  </a:lnTo>
                  <a:lnTo>
                    <a:pt x="783" y="318183"/>
                  </a:lnTo>
                  <a:lnTo>
                    <a:pt x="672" y="265178"/>
                  </a:lnTo>
                  <a:lnTo>
                    <a:pt x="672" y="265010"/>
                  </a:lnTo>
                  <a:lnTo>
                    <a:pt x="579" y="212005"/>
                  </a:lnTo>
                  <a:lnTo>
                    <a:pt x="579" y="211998"/>
                  </a:lnTo>
                  <a:lnTo>
                    <a:pt x="566" y="211844"/>
                  </a:lnTo>
                  <a:lnTo>
                    <a:pt x="466" y="158840"/>
                  </a:lnTo>
                  <a:lnTo>
                    <a:pt x="466" y="158664"/>
                  </a:lnTo>
                  <a:lnTo>
                    <a:pt x="360" y="105667"/>
                  </a:lnTo>
                  <a:lnTo>
                    <a:pt x="360" y="105498"/>
                  </a:lnTo>
                  <a:lnTo>
                    <a:pt x="267" y="53322"/>
                  </a:lnTo>
                  <a:lnTo>
                    <a:pt x="267" y="53160"/>
                  </a:lnTo>
                  <a:lnTo>
                    <a:pt x="15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5" name="Freeform: Shape 2874">
              <a:extLst>
                <a:ext uri="{FF2B5EF4-FFF2-40B4-BE49-F238E27FC236}">
                  <a16:creationId xmlns:a16="http://schemas.microsoft.com/office/drawing/2014/main" id="{D01DE709-1B7E-267F-F929-30ECE5BF9E16}"/>
                </a:ext>
              </a:extLst>
            </p:cNvPr>
            <p:cNvSpPr/>
            <p:nvPr/>
          </p:nvSpPr>
          <p:spPr>
            <a:xfrm>
              <a:off x="8730162" y="3518596"/>
              <a:ext cx="567358" cy="966"/>
            </a:xfrm>
            <a:custGeom>
              <a:avLst/>
              <a:gdLst>
                <a:gd name="connsiteX0" fmla="*/ 567358 w 567358"/>
                <a:gd name="connsiteY0" fmla="*/ 0 h 966"/>
                <a:gd name="connsiteX1" fmla="*/ 528377 w 567358"/>
                <a:gd name="connsiteY1" fmla="*/ 57 h 966"/>
                <a:gd name="connsiteX2" fmla="*/ 528208 w 567358"/>
                <a:gd name="connsiteY2" fmla="*/ 57 h 966"/>
                <a:gd name="connsiteX3" fmla="*/ 475204 w 567358"/>
                <a:gd name="connsiteY3" fmla="*/ 131 h 966"/>
                <a:gd name="connsiteX4" fmla="*/ 475035 w 567358"/>
                <a:gd name="connsiteY4" fmla="*/ 131 h 966"/>
                <a:gd name="connsiteX5" fmla="*/ 422025 w 567358"/>
                <a:gd name="connsiteY5" fmla="*/ 206 h 966"/>
                <a:gd name="connsiteX6" fmla="*/ 421869 w 567358"/>
                <a:gd name="connsiteY6" fmla="*/ 206 h 966"/>
                <a:gd name="connsiteX7" fmla="*/ 368859 w 567358"/>
                <a:gd name="connsiteY7" fmla="*/ 287 h 966"/>
                <a:gd name="connsiteX8" fmla="*/ 368703 w 567358"/>
                <a:gd name="connsiteY8" fmla="*/ 287 h 966"/>
                <a:gd name="connsiteX9" fmla="*/ 315699 w 567358"/>
                <a:gd name="connsiteY9" fmla="*/ 362 h 966"/>
                <a:gd name="connsiteX10" fmla="*/ 315543 w 567358"/>
                <a:gd name="connsiteY10" fmla="*/ 362 h 966"/>
                <a:gd name="connsiteX11" fmla="*/ 262531 w 567358"/>
                <a:gd name="connsiteY11" fmla="*/ 436 h 966"/>
                <a:gd name="connsiteX12" fmla="*/ 262363 w 567358"/>
                <a:gd name="connsiteY12" fmla="*/ 436 h 966"/>
                <a:gd name="connsiteX13" fmla="*/ 209365 w 567358"/>
                <a:gd name="connsiteY13" fmla="*/ 511 h 966"/>
                <a:gd name="connsiteX14" fmla="*/ 209197 w 567358"/>
                <a:gd name="connsiteY14" fmla="*/ 511 h 966"/>
                <a:gd name="connsiteX15" fmla="*/ 157015 w 567358"/>
                <a:gd name="connsiteY15" fmla="*/ 586 h 966"/>
                <a:gd name="connsiteX16" fmla="*/ 156859 w 567358"/>
                <a:gd name="connsiteY16" fmla="*/ 586 h 966"/>
                <a:gd name="connsiteX17" fmla="*/ 103014 w 567358"/>
                <a:gd name="connsiteY17" fmla="*/ 661 h 966"/>
                <a:gd name="connsiteX18" fmla="*/ 102858 w 567358"/>
                <a:gd name="connsiteY18" fmla="*/ 661 h 966"/>
                <a:gd name="connsiteX19" fmla="*/ 50674 w 567358"/>
                <a:gd name="connsiteY19" fmla="*/ 735 h 966"/>
                <a:gd name="connsiteX20" fmla="*/ 50508 w 567358"/>
                <a:gd name="connsiteY20" fmla="*/ 735 h 966"/>
                <a:gd name="connsiteX21" fmla="*/ 0 w 567358"/>
                <a:gd name="connsiteY21" fmla="*/ 803 h 966"/>
                <a:gd name="connsiteX22" fmla="*/ 0 w 567358"/>
                <a:gd name="connsiteY22" fmla="*/ 966 h 966"/>
                <a:gd name="connsiteX23" fmla="*/ 50508 w 567358"/>
                <a:gd name="connsiteY23" fmla="*/ 898 h 966"/>
                <a:gd name="connsiteX24" fmla="*/ 50674 w 567358"/>
                <a:gd name="connsiteY24" fmla="*/ 898 h 966"/>
                <a:gd name="connsiteX25" fmla="*/ 102858 w 567358"/>
                <a:gd name="connsiteY25" fmla="*/ 823 h 966"/>
                <a:gd name="connsiteX26" fmla="*/ 103014 w 567358"/>
                <a:gd name="connsiteY26" fmla="*/ 823 h 966"/>
                <a:gd name="connsiteX27" fmla="*/ 156859 w 567358"/>
                <a:gd name="connsiteY27" fmla="*/ 747 h 966"/>
                <a:gd name="connsiteX28" fmla="*/ 157015 w 567358"/>
                <a:gd name="connsiteY28" fmla="*/ 747 h 966"/>
                <a:gd name="connsiteX29" fmla="*/ 209197 w 567358"/>
                <a:gd name="connsiteY29" fmla="*/ 672 h 966"/>
                <a:gd name="connsiteX30" fmla="*/ 209365 w 567358"/>
                <a:gd name="connsiteY30" fmla="*/ 672 h 966"/>
                <a:gd name="connsiteX31" fmla="*/ 262363 w 567358"/>
                <a:gd name="connsiteY31" fmla="*/ 599 h 966"/>
                <a:gd name="connsiteX32" fmla="*/ 262531 w 567358"/>
                <a:gd name="connsiteY32" fmla="*/ 599 h 966"/>
                <a:gd name="connsiteX33" fmla="*/ 315543 w 567358"/>
                <a:gd name="connsiteY33" fmla="*/ 523 h 966"/>
                <a:gd name="connsiteX34" fmla="*/ 315699 w 567358"/>
                <a:gd name="connsiteY34" fmla="*/ 523 h 966"/>
                <a:gd name="connsiteX35" fmla="*/ 368716 w 567358"/>
                <a:gd name="connsiteY35" fmla="*/ 448 h 966"/>
                <a:gd name="connsiteX36" fmla="*/ 368872 w 567358"/>
                <a:gd name="connsiteY36" fmla="*/ 448 h 966"/>
                <a:gd name="connsiteX37" fmla="*/ 421882 w 567358"/>
                <a:gd name="connsiteY37" fmla="*/ 367 h 966"/>
                <a:gd name="connsiteX38" fmla="*/ 422038 w 567358"/>
                <a:gd name="connsiteY38" fmla="*/ 367 h 966"/>
                <a:gd name="connsiteX39" fmla="*/ 475035 w 567358"/>
                <a:gd name="connsiteY39" fmla="*/ 294 h 966"/>
                <a:gd name="connsiteX40" fmla="*/ 475204 w 567358"/>
                <a:gd name="connsiteY40" fmla="*/ 294 h 966"/>
                <a:gd name="connsiteX41" fmla="*/ 528208 w 567358"/>
                <a:gd name="connsiteY41" fmla="*/ 219 h 966"/>
                <a:gd name="connsiteX42" fmla="*/ 528377 w 567358"/>
                <a:gd name="connsiteY42" fmla="*/ 219 h 966"/>
                <a:gd name="connsiteX43" fmla="*/ 567358 w 567358"/>
                <a:gd name="connsiteY43" fmla="*/ 163 h 966"/>
                <a:gd name="connsiteX44" fmla="*/ 567358 w 567358"/>
                <a:gd name="connsiteY44" fmla="*/ 0 h 966"/>
                <a:gd name="connsiteX45" fmla="*/ 567358 w 567358"/>
                <a:gd name="connsiteY45" fmla="*/ 0 h 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67358" h="966">
                  <a:moveTo>
                    <a:pt x="567358" y="0"/>
                  </a:moveTo>
                  <a:lnTo>
                    <a:pt x="528377" y="57"/>
                  </a:lnTo>
                  <a:lnTo>
                    <a:pt x="528208" y="57"/>
                  </a:lnTo>
                  <a:lnTo>
                    <a:pt x="475204" y="131"/>
                  </a:lnTo>
                  <a:lnTo>
                    <a:pt x="475035" y="131"/>
                  </a:lnTo>
                  <a:lnTo>
                    <a:pt x="422025" y="206"/>
                  </a:lnTo>
                  <a:lnTo>
                    <a:pt x="421869" y="206"/>
                  </a:lnTo>
                  <a:lnTo>
                    <a:pt x="368859" y="287"/>
                  </a:lnTo>
                  <a:lnTo>
                    <a:pt x="368703" y="287"/>
                  </a:lnTo>
                  <a:lnTo>
                    <a:pt x="315699" y="362"/>
                  </a:lnTo>
                  <a:lnTo>
                    <a:pt x="315543" y="362"/>
                  </a:lnTo>
                  <a:lnTo>
                    <a:pt x="262531" y="436"/>
                  </a:lnTo>
                  <a:lnTo>
                    <a:pt x="262363" y="436"/>
                  </a:lnTo>
                  <a:lnTo>
                    <a:pt x="209365" y="511"/>
                  </a:lnTo>
                  <a:lnTo>
                    <a:pt x="209197" y="511"/>
                  </a:lnTo>
                  <a:lnTo>
                    <a:pt x="157015" y="586"/>
                  </a:lnTo>
                  <a:lnTo>
                    <a:pt x="156859" y="586"/>
                  </a:lnTo>
                  <a:lnTo>
                    <a:pt x="103014" y="661"/>
                  </a:lnTo>
                  <a:lnTo>
                    <a:pt x="102858" y="661"/>
                  </a:lnTo>
                  <a:lnTo>
                    <a:pt x="50674" y="735"/>
                  </a:lnTo>
                  <a:lnTo>
                    <a:pt x="50508" y="735"/>
                  </a:lnTo>
                  <a:lnTo>
                    <a:pt x="0" y="803"/>
                  </a:lnTo>
                  <a:lnTo>
                    <a:pt x="0" y="966"/>
                  </a:lnTo>
                  <a:lnTo>
                    <a:pt x="50508" y="898"/>
                  </a:lnTo>
                  <a:lnTo>
                    <a:pt x="50674" y="898"/>
                  </a:lnTo>
                  <a:lnTo>
                    <a:pt x="102858" y="823"/>
                  </a:lnTo>
                  <a:lnTo>
                    <a:pt x="103014" y="823"/>
                  </a:lnTo>
                  <a:lnTo>
                    <a:pt x="156859" y="747"/>
                  </a:lnTo>
                  <a:lnTo>
                    <a:pt x="157015" y="747"/>
                  </a:lnTo>
                  <a:lnTo>
                    <a:pt x="209197" y="672"/>
                  </a:lnTo>
                  <a:lnTo>
                    <a:pt x="209365" y="672"/>
                  </a:lnTo>
                  <a:lnTo>
                    <a:pt x="262363" y="599"/>
                  </a:lnTo>
                  <a:lnTo>
                    <a:pt x="262531" y="599"/>
                  </a:lnTo>
                  <a:lnTo>
                    <a:pt x="315543" y="523"/>
                  </a:lnTo>
                  <a:lnTo>
                    <a:pt x="315699" y="523"/>
                  </a:lnTo>
                  <a:lnTo>
                    <a:pt x="368716" y="448"/>
                  </a:lnTo>
                  <a:lnTo>
                    <a:pt x="368872" y="448"/>
                  </a:lnTo>
                  <a:lnTo>
                    <a:pt x="421882" y="367"/>
                  </a:lnTo>
                  <a:lnTo>
                    <a:pt x="422038" y="367"/>
                  </a:lnTo>
                  <a:lnTo>
                    <a:pt x="475035" y="294"/>
                  </a:lnTo>
                  <a:lnTo>
                    <a:pt x="475204" y="294"/>
                  </a:lnTo>
                  <a:lnTo>
                    <a:pt x="528208" y="219"/>
                  </a:lnTo>
                  <a:lnTo>
                    <a:pt x="528377" y="219"/>
                  </a:lnTo>
                  <a:lnTo>
                    <a:pt x="567358" y="163"/>
                  </a:lnTo>
                  <a:lnTo>
                    <a:pt x="567358" y="0"/>
                  </a:lnTo>
                  <a:lnTo>
                    <a:pt x="567358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6" name="Freeform: Shape 2875">
              <a:extLst>
                <a:ext uri="{FF2B5EF4-FFF2-40B4-BE49-F238E27FC236}">
                  <a16:creationId xmlns:a16="http://schemas.microsoft.com/office/drawing/2014/main" id="{969AEAB8-3669-8C51-17C7-F2875ECD2A1C}"/>
                </a:ext>
              </a:extLst>
            </p:cNvPr>
            <p:cNvSpPr/>
            <p:nvPr/>
          </p:nvSpPr>
          <p:spPr>
            <a:xfrm>
              <a:off x="8730162" y="3570940"/>
              <a:ext cx="567327" cy="890"/>
            </a:xfrm>
            <a:custGeom>
              <a:avLst/>
              <a:gdLst>
                <a:gd name="connsiteX0" fmla="*/ 567328 w 567327"/>
                <a:gd name="connsiteY0" fmla="*/ 0 h 890"/>
                <a:gd name="connsiteX1" fmla="*/ 524652 w 567327"/>
                <a:gd name="connsiteY1" fmla="*/ 56 h 890"/>
                <a:gd name="connsiteX2" fmla="*/ 524467 w 567327"/>
                <a:gd name="connsiteY2" fmla="*/ 56 h 890"/>
                <a:gd name="connsiteX3" fmla="*/ 466259 w 567327"/>
                <a:gd name="connsiteY3" fmla="*/ 131 h 890"/>
                <a:gd name="connsiteX4" fmla="*/ 466074 w 567327"/>
                <a:gd name="connsiteY4" fmla="*/ 131 h 890"/>
                <a:gd name="connsiteX5" fmla="*/ 407861 w 567327"/>
                <a:gd name="connsiteY5" fmla="*/ 206 h 890"/>
                <a:gd name="connsiteX6" fmla="*/ 407691 w 567327"/>
                <a:gd name="connsiteY6" fmla="*/ 206 h 890"/>
                <a:gd name="connsiteX7" fmla="*/ 349468 w 567327"/>
                <a:gd name="connsiteY7" fmla="*/ 280 h 890"/>
                <a:gd name="connsiteX8" fmla="*/ 349298 w 567327"/>
                <a:gd name="connsiteY8" fmla="*/ 287 h 890"/>
                <a:gd name="connsiteX9" fmla="*/ 291077 w 567327"/>
                <a:gd name="connsiteY9" fmla="*/ 362 h 890"/>
                <a:gd name="connsiteX10" fmla="*/ 290907 w 567327"/>
                <a:gd name="connsiteY10" fmla="*/ 362 h 890"/>
                <a:gd name="connsiteX11" fmla="*/ 232684 w 567327"/>
                <a:gd name="connsiteY11" fmla="*/ 436 h 890"/>
                <a:gd name="connsiteX12" fmla="*/ 232499 w 567327"/>
                <a:gd name="connsiteY12" fmla="*/ 436 h 890"/>
                <a:gd name="connsiteX13" fmla="*/ 174286 w 567327"/>
                <a:gd name="connsiteY13" fmla="*/ 511 h 890"/>
                <a:gd name="connsiteX14" fmla="*/ 174101 w 567327"/>
                <a:gd name="connsiteY14" fmla="*/ 511 h 890"/>
                <a:gd name="connsiteX15" fmla="*/ 116789 w 567327"/>
                <a:gd name="connsiteY15" fmla="*/ 586 h 890"/>
                <a:gd name="connsiteX16" fmla="*/ 116619 w 567327"/>
                <a:gd name="connsiteY16" fmla="*/ 586 h 890"/>
                <a:gd name="connsiteX17" fmla="*/ 57488 w 567327"/>
                <a:gd name="connsiteY17" fmla="*/ 660 h 890"/>
                <a:gd name="connsiteX18" fmla="*/ 57317 w 567327"/>
                <a:gd name="connsiteY18" fmla="*/ 660 h 890"/>
                <a:gd name="connsiteX19" fmla="*/ 0 w 567327"/>
                <a:gd name="connsiteY19" fmla="*/ 735 h 890"/>
                <a:gd name="connsiteX20" fmla="*/ 0 w 567327"/>
                <a:gd name="connsiteY20" fmla="*/ 891 h 890"/>
                <a:gd name="connsiteX21" fmla="*/ 57317 w 567327"/>
                <a:gd name="connsiteY21" fmla="*/ 816 h 890"/>
                <a:gd name="connsiteX22" fmla="*/ 57488 w 567327"/>
                <a:gd name="connsiteY22" fmla="*/ 816 h 890"/>
                <a:gd name="connsiteX23" fmla="*/ 116619 w 567327"/>
                <a:gd name="connsiteY23" fmla="*/ 740 h 890"/>
                <a:gd name="connsiteX24" fmla="*/ 116789 w 567327"/>
                <a:gd name="connsiteY24" fmla="*/ 740 h 890"/>
                <a:gd name="connsiteX25" fmla="*/ 174101 w 567327"/>
                <a:gd name="connsiteY25" fmla="*/ 667 h 890"/>
                <a:gd name="connsiteX26" fmla="*/ 174286 w 567327"/>
                <a:gd name="connsiteY26" fmla="*/ 667 h 890"/>
                <a:gd name="connsiteX27" fmla="*/ 232499 w 567327"/>
                <a:gd name="connsiteY27" fmla="*/ 592 h 890"/>
                <a:gd name="connsiteX28" fmla="*/ 232684 w 567327"/>
                <a:gd name="connsiteY28" fmla="*/ 592 h 890"/>
                <a:gd name="connsiteX29" fmla="*/ 290907 w 567327"/>
                <a:gd name="connsiteY29" fmla="*/ 516 h 890"/>
                <a:gd name="connsiteX30" fmla="*/ 291077 w 567327"/>
                <a:gd name="connsiteY30" fmla="*/ 516 h 890"/>
                <a:gd name="connsiteX31" fmla="*/ 349298 w 567327"/>
                <a:gd name="connsiteY31" fmla="*/ 443 h 890"/>
                <a:gd name="connsiteX32" fmla="*/ 349468 w 567327"/>
                <a:gd name="connsiteY32" fmla="*/ 443 h 890"/>
                <a:gd name="connsiteX33" fmla="*/ 407691 w 567327"/>
                <a:gd name="connsiteY33" fmla="*/ 367 h 890"/>
                <a:gd name="connsiteX34" fmla="*/ 407861 w 567327"/>
                <a:gd name="connsiteY34" fmla="*/ 367 h 890"/>
                <a:gd name="connsiteX35" fmla="*/ 466074 w 567327"/>
                <a:gd name="connsiteY35" fmla="*/ 292 h 890"/>
                <a:gd name="connsiteX36" fmla="*/ 466259 w 567327"/>
                <a:gd name="connsiteY36" fmla="*/ 292 h 890"/>
                <a:gd name="connsiteX37" fmla="*/ 524467 w 567327"/>
                <a:gd name="connsiteY37" fmla="*/ 219 h 890"/>
                <a:gd name="connsiteX38" fmla="*/ 524652 w 567327"/>
                <a:gd name="connsiteY38" fmla="*/ 219 h 890"/>
                <a:gd name="connsiteX39" fmla="*/ 567328 w 567327"/>
                <a:gd name="connsiteY39" fmla="*/ 161 h 890"/>
                <a:gd name="connsiteX40" fmla="*/ 567328 w 567327"/>
                <a:gd name="connsiteY40" fmla="*/ 0 h 890"/>
                <a:gd name="connsiteX41" fmla="*/ 567328 w 567327"/>
                <a:gd name="connsiteY41" fmla="*/ 0 h 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67327" h="890">
                  <a:moveTo>
                    <a:pt x="567328" y="0"/>
                  </a:moveTo>
                  <a:lnTo>
                    <a:pt x="524652" y="56"/>
                  </a:lnTo>
                  <a:lnTo>
                    <a:pt x="524467" y="56"/>
                  </a:lnTo>
                  <a:lnTo>
                    <a:pt x="466259" y="131"/>
                  </a:lnTo>
                  <a:lnTo>
                    <a:pt x="466074" y="131"/>
                  </a:lnTo>
                  <a:lnTo>
                    <a:pt x="407861" y="206"/>
                  </a:lnTo>
                  <a:lnTo>
                    <a:pt x="407691" y="206"/>
                  </a:lnTo>
                  <a:lnTo>
                    <a:pt x="349468" y="280"/>
                  </a:lnTo>
                  <a:lnTo>
                    <a:pt x="349298" y="287"/>
                  </a:lnTo>
                  <a:lnTo>
                    <a:pt x="291077" y="362"/>
                  </a:lnTo>
                  <a:lnTo>
                    <a:pt x="290907" y="362"/>
                  </a:lnTo>
                  <a:lnTo>
                    <a:pt x="232684" y="436"/>
                  </a:lnTo>
                  <a:lnTo>
                    <a:pt x="232499" y="436"/>
                  </a:lnTo>
                  <a:lnTo>
                    <a:pt x="174286" y="511"/>
                  </a:lnTo>
                  <a:lnTo>
                    <a:pt x="174101" y="511"/>
                  </a:lnTo>
                  <a:lnTo>
                    <a:pt x="116789" y="586"/>
                  </a:lnTo>
                  <a:lnTo>
                    <a:pt x="116619" y="586"/>
                  </a:lnTo>
                  <a:lnTo>
                    <a:pt x="57488" y="660"/>
                  </a:lnTo>
                  <a:lnTo>
                    <a:pt x="57317" y="660"/>
                  </a:lnTo>
                  <a:lnTo>
                    <a:pt x="0" y="735"/>
                  </a:lnTo>
                  <a:lnTo>
                    <a:pt x="0" y="891"/>
                  </a:lnTo>
                  <a:lnTo>
                    <a:pt x="57317" y="816"/>
                  </a:lnTo>
                  <a:lnTo>
                    <a:pt x="57488" y="816"/>
                  </a:lnTo>
                  <a:lnTo>
                    <a:pt x="116619" y="740"/>
                  </a:lnTo>
                  <a:lnTo>
                    <a:pt x="116789" y="740"/>
                  </a:lnTo>
                  <a:lnTo>
                    <a:pt x="174101" y="667"/>
                  </a:lnTo>
                  <a:lnTo>
                    <a:pt x="174286" y="667"/>
                  </a:lnTo>
                  <a:lnTo>
                    <a:pt x="232499" y="592"/>
                  </a:lnTo>
                  <a:lnTo>
                    <a:pt x="232684" y="592"/>
                  </a:lnTo>
                  <a:lnTo>
                    <a:pt x="290907" y="516"/>
                  </a:lnTo>
                  <a:lnTo>
                    <a:pt x="291077" y="516"/>
                  </a:lnTo>
                  <a:lnTo>
                    <a:pt x="349298" y="443"/>
                  </a:lnTo>
                  <a:lnTo>
                    <a:pt x="349468" y="443"/>
                  </a:lnTo>
                  <a:lnTo>
                    <a:pt x="407691" y="367"/>
                  </a:lnTo>
                  <a:lnTo>
                    <a:pt x="407861" y="367"/>
                  </a:lnTo>
                  <a:lnTo>
                    <a:pt x="466074" y="292"/>
                  </a:lnTo>
                  <a:lnTo>
                    <a:pt x="466259" y="292"/>
                  </a:lnTo>
                  <a:lnTo>
                    <a:pt x="524467" y="219"/>
                  </a:lnTo>
                  <a:lnTo>
                    <a:pt x="524652" y="219"/>
                  </a:lnTo>
                  <a:lnTo>
                    <a:pt x="567328" y="161"/>
                  </a:lnTo>
                  <a:lnTo>
                    <a:pt x="567328" y="0"/>
                  </a:lnTo>
                  <a:lnTo>
                    <a:pt x="567328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7" name="Freeform: Shape 2876">
              <a:extLst>
                <a:ext uri="{FF2B5EF4-FFF2-40B4-BE49-F238E27FC236}">
                  <a16:creationId xmlns:a16="http://schemas.microsoft.com/office/drawing/2014/main" id="{7D11B912-D2D2-E53B-504B-F997973A94AE}"/>
                </a:ext>
              </a:extLst>
            </p:cNvPr>
            <p:cNvSpPr/>
            <p:nvPr/>
          </p:nvSpPr>
          <p:spPr>
            <a:xfrm>
              <a:off x="8730099" y="3624106"/>
              <a:ext cx="567358" cy="966"/>
            </a:xfrm>
            <a:custGeom>
              <a:avLst/>
              <a:gdLst>
                <a:gd name="connsiteX0" fmla="*/ 567358 w 567358"/>
                <a:gd name="connsiteY0" fmla="*/ 0 h 966"/>
                <a:gd name="connsiteX1" fmla="*/ 528638 w 567358"/>
                <a:gd name="connsiteY1" fmla="*/ 57 h 966"/>
                <a:gd name="connsiteX2" fmla="*/ 528470 w 567358"/>
                <a:gd name="connsiteY2" fmla="*/ 57 h 966"/>
                <a:gd name="connsiteX3" fmla="*/ 475473 w 567358"/>
                <a:gd name="connsiteY3" fmla="*/ 131 h 966"/>
                <a:gd name="connsiteX4" fmla="*/ 475304 w 567358"/>
                <a:gd name="connsiteY4" fmla="*/ 131 h 966"/>
                <a:gd name="connsiteX5" fmla="*/ 422294 w 567358"/>
                <a:gd name="connsiteY5" fmla="*/ 206 h 966"/>
                <a:gd name="connsiteX6" fmla="*/ 422138 w 567358"/>
                <a:gd name="connsiteY6" fmla="*/ 206 h 966"/>
                <a:gd name="connsiteX7" fmla="*/ 369126 w 567358"/>
                <a:gd name="connsiteY7" fmla="*/ 281 h 966"/>
                <a:gd name="connsiteX8" fmla="*/ 368970 w 567358"/>
                <a:gd name="connsiteY8" fmla="*/ 287 h 966"/>
                <a:gd name="connsiteX9" fmla="*/ 315953 w 567358"/>
                <a:gd name="connsiteY9" fmla="*/ 362 h 966"/>
                <a:gd name="connsiteX10" fmla="*/ 315797 w 567358"/>
                <a:gd name="connsiteY10" fmla="*/ 362 h 966"/>
                <a:gd name="connsiteX11" fmla="*/ 262788 w 567358"/>
                <a:gd name="connsiteY11" fmla="*/ 437 h 966"/>
                <a:gd name="connsiteX12" fmla="*/ 262632 w 567358"/>
                <a:gd name="connsiteY12" fmla="*/ 437 h 966"/>
                <a:gd name="connsiteX13" fmla="*/ 209622 w 567358"/>
                <a:gd name="connsiteY13" fmla="*/ 511 h 966"/>
                <a:gd name="connsiteX14" fmla="*/ 209466 w 567358"/>
                <a:gd name="connsiteY14" fmla="*/ 511 h 966"/>
                <a:gd name="connsiteX15" fmla="*/ 157264 w 567358"/>
                <a:gd name="connsiteY15" fmla="*/ 586 h 966"/>
                <a:gd name="connsiteX16" fmla="*/ 157108 w 567358"/>
                <a:gd name="connsiteY16" fmla="*/ 586 h 966"/>
                <a:gd name="connsiteX17" fmla="*/ 103281 w 567358"/>
                <a:gd name="connsiteY17" fmla="*/ 661 h 966"/>
                <a:gd name="connsiteX18" fmla="*/ 103114 w 567358"/>
                <a:gd name="connsiteY18" fmla="*/ 661 h 966"/>
                <a:gd name="connsiteX19" fmla="*/ 50931 w 567358"/>
                <a:gd name="connsiteY19" fmla="*/ 735 h 966"/>
                <a:gd name="connsiteX20" fmla="*/ 50775 w 567358"/>
                <a:gd name="connsiteY20" fmla="*/ 735 h 966"/>
                <a:gd name="connsiteX21" fmla="*/ 0 w 567358"/>
                <a:gd name="connsiteY21" fmla="*/ 805 h 966"/>
                <a:gd name="connsiteX22" fmla="*/ 0 w 567358"/>
                <a:gd name="connsiteY22" fmla="*/ 966 h 966"/>
                <a:gd name="connsiteX23" fmla="*/ 50775 w 567358"/>
                <a:gd name="connsiteY23" fmla="*/ 898 h 966"/>
                <a:gd name="connsiteX24" fmla="*/ 50931 w 567358"/>
                <a:gd name="connsiteY24" fmla="*/ 898 h 966"/>
                <a:gd name="connsiteX25" fmla="*/ 103114 w 567358"/>
                <a:gd name="connsiteY25" fmla="*/ 823 h 966"/>
                <a:gd name="connsiteX26" fmla="*/ 103281 w 567358"/>
                <a:gd name="connsiteY26" fmla="*/ 823 h 966"/>
                <a:gd name="connsiteX27" fmla="*/ 157108 w 567358"/>
                <a:gd name="connsiteY27" fmla="*/ 747 h 966"/>
                <a:gd name="connsiteX28" fmla="*/ 157264 w 567358"/>
                <a:gd name="connsiteY28" fmla="*/ 747 h 966"/>
                <a:gd name="connsiteX29" fmla="*/ 209466 w 567358"/>
                <a:gd name="connsiteY29" fmla="*/ 674 h 966"/>
                <a:gd name="connsiteX30" fmla="*/ 209622 w 567358"/>
                <a:gd name="connsiteY30" fmla="*/ 674 h 966"/>
                <a:gd name="connsiteX31" fmla="*/ 262632 w 567358"/>
                <a:gd name="connsiteY31" fmla="*/ 599 h 966"/>
                <a:gd name="connsiteX32" fmla="*/ 262788 w 567358"/>
                <a:gd name="connsiteY32" fmla="*/ 599 h 966"/>
                <a:gd name="connsiteX33" fmla="*/ 315797 w 567358"/>
                <a:gd name="connsiteY33" fmla="*/ 523 h 966"/>
                <a:gd name="connsiteX34" fmla="*/ 315953 w 567358"/>
                <a:gd name="connsiteY34" fmla="*/ 523 h 966"/>
                <a:gd name="connsiteX35" fmla="*/ 368970 w 567358"/>
                <a:gd name="connsiteY35" fmla="*/ 450 h 966"/>
                <a:gd name="connsiteX36" fmla="*/ 369126 w 567358"/>
                <a:gd name="connsiteY36" fmla="*/ 450 h 966"/>
                <a:gd name="connsiteX37" fmla="*/ 422138 w 567358"/>
                <a:gd name="connsiteY37" fmla="*/ 375 h 966"/>
                <a:gd name="connsiteX38" fmla="*/ 422294 w 567358"/>
                <a:gd name="connsiteY38" fmla="*/ 375 h 966"/>
                <a:gd name="connsiteX39" fmla="*/ 475304 w 567358"/>
                <a:gd name="connsiteY39" fmla="*/ 299 h 966"/>
                <a:gd name="connsiteX40" fmla="*/ 475473 w 567358"/>
                <a:gd name="connsiteY40" fmla="*/ 299 h 966"/>
                <a:gd name="connsiteX41" fmla="*/ 528470 w 567358"/>
                <a:gd name="connsiteY41" fmla="*/ 226 h 966"/>
                <a:gd name="connsiteX42" fmla="*/ 528638 w 567358"/>
                <a:gd name="connsiteY42" fmla="*/ 226 h 966"/>
                <a:gd name="connsiteX43" fmla="*/ 567358 w 567358"/>
                <a:gd name="connsiteY43" fmla="*/ 169 h 966"/>
                <a:gd name="connsiteX44" fmla="*/ 567358 w 567358"/>
                <a:gd name="connsiteY44" fmla="*/ 0 h 966"/>
                <a:gd name="connsiteX45" fmla="*/ 567358 w 567358"/>
                <a:gd name="connsiteY45" fmla="*/ 0 h 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67358" h="966">
                  <a:moveTo>
                    <a:pt x="567358" y="0"/>
                  </a:moveTo>
                  <a:lnTo>
                    <a:pt x="528638" y="57"/>
                  </a:lnTo>
                  <a:lnTo>
                    <a:pt x="528470" y="57"/>
                  </a:lnTo>
                  <a:lnTo>
                    <a:pt x="475473" y="131"/>
                  </a:lnTo>
                  <a:lnTo>
                    <a:pt x="475304" y="131"/>
                  </a:lnTo>
                  <a:lnTo>
                    <a:pt x="422294" y="206"/>
                  </a:lnTo>
                  <a:lnTo>
                    <a:pt x="422138" y="206"/>
                  </a:lnTo>
                  <a:lnTo>
                    <a:pt x="369126" y="281"/>
                  </a:lnTo>
                  <a:lnTo>
                    <a:pt x="368970" y="287"/>
                  </a:lnTo>
                  <a:lnTo>
                    <a:pt x="315953" y="362"/>
                  </a:lnTo>
                  <a:lnTo>
                    <a:pt x="315797" y="362"/>
                  </a:lnTo>
                  <a:lnTo>
                    <a:pt x="262788" y="437"/>
                  </a:lnTo>
                  <a:lnTo>
                    <a:pt x="262632" y="437"/>
                  </a:lnTo>
                  <a:lnTo>
                    <a:pt x="209622" y="511"/>
                  </a:lnTo>
                  <a:lnTo>
                    <a:pt x="209466" y="511"/>
                  </a:lnTo>
                  <a:lnTo>
                    <a:pt x="157264" y="586"/>
                  </a:lnTo>
                  <a:lnTo>
                    <a:pt x="157108" y="586"/>
                  </a:lnTo>
                  <a:lnTo>
                    <a:pt x="103281" y="661"/>
                  </a:lnTo>
                  <a:lnTo>
                    <a:pt x="103114" y="661"/>
                  </a:lnTo>
                  <a:lnTo>
                    <a:pt x="50931" y="735"/>
                  </a:lnTo>
                  <a:lnTo>
                    <a:pt x="50775" y="735"/>
                  </a:lnTo>
                  <a:lnTo>
                    <a:pt x="0" y="805"/>
                  </a:lnTo>
                  <a:lnTo>
                    <a:pt x="0" y="966"/>
                  </a:lnTo>
                  <a:lnTo>
                    <a:pt x="50775" y="898"/>
                  </a:lnTo>
                  <a:lnTo>
                    <a:pt x="50931" y="898"/>
                  </a:lnTo>
                  <a:lnTo>
                    <a:pt x="103114" y="823"/>
                  </a:lnTo>
                  <a:lnTo>
                    <a:pt x="103281" y="823"/>
                  </a:lnTo>
                  <a:lnTo>
                    <a:pt x="157108" y="747"/>
                  </a:lnTo>
                  <a:lnTo>
                    <a:pt x="157264" y="747"/>
                  </a:lnTo>
                  <a:lnTo>
                    <a:pt x="209466" y="674"/>
                  </a:lnTo>
                  <a:lnTo>
                    <a:pt x="209622" y="674"/>
                  </a:lnTo>
                  <a:lnTo>
                    <a:pt x="262632" y="599"/>
                  </a:lnTo>
                  <a:lnTo>
                    <a:pt x="262788" y="599"/>
                  </a:lnTo>
                  <a:lnTo>
                    <a:pt x="315797" y="523"/>
                  </a:lnTo>
                  <a:lnTo>
                    <a:pt x="315953" y="523"/>
                  </a:lnTo>
                  <a:lnTo>
                    <a:pt x="368970" y="450"/>
                  </a:lnTo>
                  <a:lnTo>
                    <a:pt x="369126" y="450"/>
                  </a:lnTo>
                  <a:lnTo>
                    <a:pt x="422138" y="375"/>
                  </a:lnTo>
                  <a:lnTo>
                    <a:pt x="422294" y="375"/>
                  </a:lnTo>
                  <a:lnTo>
                    <a:pt x="475304" y="299"/>
                  </a:lnTo>
                  <a:lnTo>
                    <a:pt x="475473" y="299"/>
                  </a:lnTo>
                  <a:lnTo>
                    <a:pt x="528470" y="226"/>
                  </a:lnTo>
                  <a:lnTo>
                    <a:pt x="528638" y="226"/>
                  </a:lnTo>
                  <a:lnTo>
                    <a:pt x="567358" y="169"/>
                  </a:lnTo>
                  <a:lnTo>
                    <a:pt x="567358" y="0"/>
                  </a:lnTo>
                  <a:lnTo>
                    <a:pt x="567358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8" name="Freeform: Shape 2877">
              <a:extLst>
                <a:ext uri="{FF2B5EF4-FFF2-40B4-BE49-F238E27FC236}">
                  <a16:creationId xmlns:a16="http://schemas.microsoft.com/office/drawing/2014/main" id="{924657F5-7060-A5BA-B8DD-2F309DE4A3E8}"/>
                </a:ext>
              </a:extLst>
            </p:cNvPr>
            <p:cNvSpPr/>
            <p:nvPr/>
          </p:nvSpPr>
          <p:spPr>
            <a:xfrm>
              <a:off x="8730067" y="3677279"/>
              <a:ext cx="567360" cy="958"/>
            </a:xfrm>
            <a:custGeom>
              <a:avLst/>
              <a:gdLst>
                <a:gd name="connsiteX0" fmla="*/ 567360 w 567360"/>
                <a:gd name="connsiteY0" fmla="*/ 0 h 958"/>
                <a:gd name="connsiteX1" fmla="*/ 528771 w 567360"/>
                <a:gd name="connsiteY1" fmla="*/ 57 h 958"/>
                <a:gd name="connsiteX2" fmla="*/ 528603 w 567360"/>
                <a:gd name="connsiteY2" fmla="*/ 57 h 958"/>
                <a:gd name="connsiteX3" fmla="*/ 475611 w 567360"/>
                <a:gd name="connsiteY3" fmla="*/ 131 h 958"/>
                <a:gd name="connsiteX4" fmla="*/ 475449 w 567360"/>
                <a:gd name="connsiteY4" fmla="*/ 131 h 958"/>
                <a:gd name="connsiteX5" fmla="*/ 422432 w 567360"/>
                <a:gd name="connsiteY5" fmla="*/ 206 h 958"/>
                <a:gd name="connsiteX6" fmla="*/ 422276 w 567360"/>
                <a:gd name="connsiteY6" fmla="*/ 206 h 958"/>
                <a:gd name="connsiteX7" fmla="*/ 369264 w 567360"/>
                <a:gd name="connsiteY7" fmla="*/ 281 h 958"/>
                <a:gd name="connsiteX8" fmla="*/ 369109 w 567360"/>
                <a:gd name="connsiteY8" fmla="*/ 281 h 958"/>
                <a:gd name="connsiteX9" fmla="*/ 316099 w 567360"/>
                <a:gd name="connsiteY9" fmla="*/ 362 h 958"/>
                <a:gd name="connsiteX10" fmla="*/ 315943 w 567360"/>
                <a:gd name="connsiteY10" fmla="*/ 362 h 958"/>
                <a:gd name="connsiteX11" fmla="*/ 262926 w 567360"/>
                <a:gd name="connsiteY11" fmla="*/ 437 h 958"/>
                <a:gd name="connsiteX12" fmla="*/ 262770 w 567360"/>
                <a:gd name="connsiteY12" fmla="*/ 437 h 958"/>
                <a:gd name="connsiteX13" fmla="*/ 209760 w 567360"/>
                <a:gd name="connsiteY13" fmla="*/ 511 h 958"/>
                <a:gd name="connsiteX14" fmla="*/ 209604 w 567360"/>
                <a:gd name="connsiteY14" fmla="*/ 511 h 958"/>
                <a:gd name="connsiteX15" fmla="*/ 157408 w 567360"/>
                <a:gd name="connsiteY15" fmla="*/ 586 h 958"/>
                <a:gd name="connsiteX16" fmla="*/ 157253 w 567360"/>
                <a:gd name="connsiteY16" fmla="*/ 586 h 958"/>
                <a:gd name="connsiteX17" fmla="*/ 103419 w 567360"/>
                <a:gd name="connsiteY17" fmla="*/ 661 h 958"/>
                <a:gd name="connsiteX18" fmla="*/ 103252 w 567360"/>
                <a:gd name="connsiteY18" fmla="*/ 661 h 958"/>
                <a:gd name="connsiteX19" fmla="*/ 51069 w 567360"/>
                <a:gd name="connsiteY19" fmla="*/ 735 h 958"/>
                <a:gd name="connsiteX20" fmla="*/ 50913 w 567360"/>
                <a:gd name="connsiteY20" fmla="*/ 735 h 958"/>
                <a:gd name="connsiteX21" fmla="*/ 0 w 567360"/>
                <a:gd name="connsiteY21" fmla="*/ 803 h 958"/>
                <a:gd name="connsiteX22" fmla="*/ 0 w 567360"/>
                <a:gd name="connsiteY22" fmla="*/ 959 h 958"/>
                <a:gd name="connsiteX23" fmla="*/ 50913 w 567360"/>
                <a:gd name="connsiteY23" fmla="*/ 891 h 958"/>
                <a:gd name="connsiteX24" fmla="*/ 51069 w 567360"/>
                <a:gd name="connsiteY24" fmla="*/ 891 h 958"/>
                <a:gd name="connsiteX25" fmla="*/ 103252 w 567360"/>
                <a:gd name="connsiteY25" fmla="*/ 816 h 958"/>
                <a:gd name="connsiteX26" fmla="*/ 103419 w 567360"/>
                <a:gd name="connsiteY26" fmla="*/ 816 h 958"/>
                <a:gd name="connsiteX27" fmla="*/ 157253 w 567360"/>
                <a:gd name="connsiteY27" fmla="*/ 742 h 958"/>
                <a:gd name="connsiteX28" fmla="*/ 157408 w 567360"/>
                <a:gd name="connsiteY28" fmla="*/ 742 h 958"/>
                <a:gd name="connsiteX29" fmla="*/ 209604 w 567360"/>
                <a:gd name="connsiteY29" fmla="*/ 667 h 958"/>
                <a:gd name="connsiteX30" fmla="*/ 209760 w 567360"/>
                <a:gd name="connsiteY30" fmla="*/ 667 h 958"/>
                <a:gd name="connsiteX31" fmla="*/ 262770 w 567360"/>
                <a:gd name="connsiteY31" fmla="*/ 592 h 958"/>
                <a:gd name="connsiteX32" fmla="*/ 262926 w 567360"/>
                <a:gd name="connsiteY32" fmla="*/ 592 h 958"/>
                <a:gd name="connsiteX33" fmla="*/ 315943 w 567360"/>
                <a:gd name="connsiteY33" fmla="*/ 518 h 958"/>
                <a:gd name="connsiteX34" fmla="*/ 316099 w 567360"/>
                <a:gd name="connsiteY34" fmla="*/ 518 h 958"/>
                <a:gd name="connsiteX35" fmla="*/ 369109 w 567360"/>
                <a:gd name="connsiteY35" fmla="*/ 443 h 958"/>
                <a:gd name="connsiteX36" fmla="*/ 369264 w 567360"/>
                <a:gd name="connsiteY36" fmla="*/ 443 h 958"/>
                <a:gd name="connsiteX37" fmla="*/ 422276 w 567360"/>
                <a:gd name="connsiteY37" fmla="*/ 367 h 958"/>
                <a:gd name="connsiteX38" fmla="*/ 422432 w 567360"/>
                <a:gd name="connsiteY38" fmla="*/ 367 h 958"/>
                <a:gd name="connsiteX39" fmla="*/ 475449 w 567360"/>
                <a:gd name="connsiteY39" fmla="*/ 294 h 958"/>
                <a:gd name="connsiteX40" fmla="*/ 475611 w 567360"/>
                <a:gd name="connsiteY40" fmla="*/ 294 h 958"/>
                <a:gd name="connsiteX41" fmla="*/ 528615 w 567360"/>
                <a:gd name="connsiteY41" fmla="*/ 219 h 958"/>
                <a:gd name="connsiteX42" fmla="*/ 528784 w 567360"/>
                <a:gd name="connsiteY42" fmla="*/ 219 h 958"/>
                <a:gd name="connsiteX43" fmla="*/ 567360 w 567360"/>
                <a:gd name="connsiteY43" fmla="*/ 163 h 958"/>
                <a:gd name="connsiteX44" fmla="*/ 567360 w 567360"/>
                <a:gd name="connsiteY44" fmla="*/ 0 h 958"/>
                <a:gd name="connsiteX45" fmla="*/ 567360 w 567360"/>
                <a:gd name="connsiteY45" fmla="*/ 0 h 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67360" h="958">
                  <a:moveTo>
                    <a:pt x="567360" y="0"/>
                  </a:moveTo>
                  <a:lnTo>
                    <a:pt x="528771" y="57"/>
                  </a:lnTo>
                  <a:lnTo>
                    <a:pt x="528603" y="57"/>
                  </a:lnTo>
                  <a:lnTo>
                    <a:pt x="475611" y="131"/>
                  </a:lnTo>
                  <a:lnTo>
                    <a:pt x="475449" y="131"/>
                  </a:lnTo>
                  <a:lnTo>
                    <a:pt x="422432" y="206"/>
                  </a:lnTo>
                  <a:lnTo>
                    <a:pt x="422276" y="206"/>
                  </a:lnTo>
                  <a:lnTo>
                    <a:pt x="369264" y="281"/>
                  </a:lnTo>
                  <a:lnTo>
                    <a:pt x="369109" y="281"/>
                  </a:lnTo>
                  <a:lnTo>
                    <a:pt x="316099" y="362"/>
                  </a:lnTo>
                  <a:lnTo>
                    <a:pt x="315943" y="362"/>
                  </a:lnTo>
                  <a:lnTo>
                    <a:pt x="262926" y="437"/>
                  </a:lnTo>
                  <a:lnTo>
                    <a:pt x="262770" y="437"/>
                  </a:lnTo>
                  <a:lnTo>
                    <a:pt x="209760" y="511"/>
                  </a:lnTo>
                  <a:lnTo>
                    <a:pt x="209604" y="511"/>
                  </a:lnTo>
                  <a:lnTo>
                    <a:pt x="157408" y="586"/>
                  </a:lnTo>
                  <a:lnTo>
                    <a:pt x="157253" y="586"/>
                  </a:lnTo>
                  <a:lnTo>
                    <a:pt x="103419" y="661"/>
                  </a:lnTo>
                  <a:lnTo>
                    <a:pt x="103252" y="661"/>
                  </a:lnTo>
                  <a:lnTo>
                    <a:pt x="51069" y="735"/>
                  </a:lnTo>
                  <a:lnTo>
                    <a:pt x="50913" y="735"/>
                  </a:lnTo>
                  <a:lnTo>
                    <a:pt x="0" y="803"/>
                  </a:lnTo>
                  <a:lnTo>
                    <a:pt x="0" y="959"/>
                  </a:lnTo>
                  <a:lnTo>
                    <a:pt x="50913" y="891"/>
                  </a:lnTo>
                  <a:lnTo>
                    <a:pt x="51069" y="891"/>
                  </a:lnTo>
                  <a:lnTo>
                    <a:pt x="103252" y="816"/>
                  </a:lnTo>
                  <a:lnTo>
                    <a:pt x="103419" y="816"/>
                  </a:lnTo>
                  <a:lnTo>
                    <a:pt x="157253" y="742"/>
                  </a:lnTo>
                  <a:lnTo>
                    <a:pt x="157408" y="742"/>
                  </a:lnTo>
                  <a:lnTo>
                    <a:pt x="209604" y="667"/>
                  </a:lnTo>
                  <a:lnTo>
                    <a:pt x="209760" y="667"/>
                  </a:lnTo>
                  <a:lnTo>
                    <a:pt x="262770" y="592"/>
                  </a:lnTo>
                  <a:lnTo>
                    <a:pt x="262926" y="592"/>
                  </a:lnTo>
                  <a:lnTo>
                    <a:pt x="315943" y="518"/>
                  </a:lnTo>
                  <a:lnTo>
                    <a:pt x="316099" y="518"/>
                  </a:lnTo>
                  <a:lnTo>
                    <a:pt x="369109" y="443"/>
                  </a:lnTo>
                  <a:lnTo>
                    <a:pt x="369264" y="443"/>
                  </a:lnTo>
                  <a:lnTo>
                    <a:pt x="422276" y="367"/>
                  </a:lnTo>
                  <a:lnTo>
                    <a:pt x="422432" y="367"/>
                  </a:lnTo>
                  <a:lnTo>
                    <a:pt x="475449" y="294"/>
                  </a:lnTo>
                  <a:lnTo>
                    <a:pt x="475611" y="294"/>
                  </a:lnTo>
                  <a:lnTo>
                    <a:pt x="528615" y="219"/>
                  </a:lnTo>
                  <a:lnTo>
                    <a:pt x="528784" y="219"/>
                  </a:lnTo>
                  <a:lnTo>
                    <a:pt x="567360" y="163"/>
                  </a:lnTo>
                  <a:lnTo>
                    <a:pt x="567360" y="0"/>
                  </a:lnTo>
                  <a:lnTo>
                    <a:pt x="567360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9" name="Freeform: Shape 2878">
              <a:extLst>
                <a:ext uri="{FF2B5EF4-FFF2-40B4-BE49-F238E27FC236}">
                  <a16:creationId xmlns:a16="http://schemas.microsoft.com/office/drawing/2014/main" id="{8437427E-6406-90AE-10E0-3042209BBF0A}"/>
                </a:ext>
              </a:extLst>
            </p:cNvPr>
            <p:cNvSpPr/>
            <p:nvPr/>
          </p:nvSpPr>
          <p:spPr>
            <a:xfrm>
              <a:off x="8730036" y="3730447"/>
              <a:ext cx="567358" cy="964"/>
            </a:xfrm>
            <a:custGeom>
              <a:avLst/>
              <a:gdLst>
                <a:gd name="connsiteX0" fmla="*/ 567353 w 567358"/>
                <a:gd name="connsiteY0" fmla="*/ 0 h 964"/>
                <a:gd name="connsiteX1" fmla="*/ 528907 w 567358"/>
                <a:gd name="connsiteY1" fmla="*/ 56 h 964"/>
                <a:gd name="connsiteX2" fmla="*/ 528739 w 567358"/>
                <a:gd name="connsiteY2" fmla="*/ 56 h 964"/>
                <a:gd name="connsiteX3" fmla="*/ 475741 w 567358"/>
                <a:gd name="connsiteY3" fmla="*/ 131 h 964"/>
                <a:gd name="connsiteX4" fmla="*/ 475573 w 567358"/>
                <a:gd name="connsiteY4" fmla="*/ 131 h 964"/>
                <a:gd name="connsiteX5" fmla="*/ 422561 w 567358"/>
                <a:gd name="connsiteY5" fmla="*/ 204 h 964"/>
                <a:gd name="connsiteX6" fmla="*/ 422405 w 567358"/>
                <a:gd name="connsiteY6" fmla="*/ 204 h 964"/>
                <a:gd name="connsiteX7" fmla="*/ 369388 w 567358"/>
                <a:gd name="connsiteY7" fmla="*/ 280 h 964"/>
                <a:gd name="connsiteX8" fmla="*/ 369234 w 567358"/>
                <a:gd name="connsiteY8" fmla="*/ 280 h 964"/>
                <a:gd name="connsiteX9" fmla="*/ 316222 w 567358"/>
                <a:gd name="connsiteY9" fmla="*/ 355 h 964"/>
                <a:gd name="connsiteX10" fmla="*/ 316066 w 567358"/>
                <a:gd name="connsiteY10" fmla="*/ 360 h 964"/>
                <a:gd name="connsiteX11" fmla="*/ 263056 w 567358"/>
                <a:gd name="connsiteY11" fmla="*/ 436 h 964"/>
                <a:gd name="connsiteX12" fmla="*/ 262900 w 567358"/>
                <a:gd name="connsiteY12" fmla="*/ 436 h 964"/>
                <a:gd name="connsiteX13" fmla="*/ 209883 w 567358"/>
                <a:gd name="connsiteY13" fmla="*/ 511 h 964"/>
                <a:gd name="connsiteX14" fmla="*/ 209727 w 567358"/>
                <a:gd name="connsiteY14" fmla="*/ 511 h 964"/>
                <a:gd name="connsiteX15" fmla="*/ 157531 w 567358"/>
                <a:gd name="connsiteY15" fmla="*/ 584 h 964"/>
                <a:gd name="connsiteX16" fmla="*/ 157377 w 567358"/>
                <a:gd name="connsiteY16" fmla="*/ 584 h 964"/>
                <a:gd name="connsiteX17" fmla="*/ 103550 w 567358"/>
                <a:gd name="connsiteY17" fmla="*/ 660 h 964"/>
                <a:gd name="connsiteX18" fmla="*/ 103381 w 567358"/>
                <a:gd name="connsiteY18" fmla="*/ 660 h 964"/>
                <a:gd name="connsiteX19" fmla="*/ 51199 w 567358"/>
                <a:gd name="connsiteY19" fmla="*/ 735 h 964"/>
                <a:gd name="connsiteX20" fmla="*/ 51044 w 567358"/>
                <a:gd name="connsiteY20" fmla="*/ 735 h 964"/>
                <a:gd name="connsiteX21" fmla="*/ 0 w 567358"/>
                <a:gd name="connsiteY21" fmla="*/ 803 h 964"/>
                <a:gd name="connsiteX22" fmla="*/ 0 w 567358"/>
                <a:gd name="connsiteY22" fmla="*/ 964 h 964"/>
                <a:gd name="connsiteX23" fmla="*/ 51044 w 567358"/>
                <a:gd name="connsiteY23" fmla="*/ 896 h 964"/>
                <a:gd name="connsiteX24" fmla="*/ 51199 w 567358"/>
                <a:gd name="connsiteY24" fmla="*/ 896 h 964"/>
                <a:gd name="connsiteX25" fmla="*/ 103381 w 567358"/>
                <a:gd name="connsiteY25" fmla="*/ 821 h 964"/>
                <a:gd name="connsiteX26" fmla="*/ 103550 w 567358"/>
                <a:gd name="connsiteY26" fmla="*/ 821 h 964"/>
                <a:gd name="connsiteX27" fmla="*/ 157377 w 567358"/>
                <a:gd name="connsiteY27" fmla="*/ 747 h 964"/>
                <a:gd name="connsiteX28" fmla="*/ 157531 w 567358"/>
                <a:gd name="connsiteY28" fmla="*/ 747 h 964"/>
                <a:gd name="connsiteX29" fmla="*/ 209727 w 567358"/>
                <a:gd name="connsiteY29" fmla="*/ 672 h 964"/>
                <a:gd name="connsiteX30" fmla="*/ 209883 w 567358"/>
                <a:gd name="connsiteY30" fmla="*/ 672 h 964"/>
                <a:gd name="connsiteX31" fmla="*/ 262900 w 567358"/>
                <a:gd name="connsiteY31" fmla="*/ 597 h 964"/>
                <a:gd name="connsiteX32" fmla="*/ 263056 w 567358"/>
                <a:gd name="connsiteY32" fmla="*/ 597 h 964"/>
                <a:gd name="connsiteX33" fmla="*/ 316066 w 567358"/>
                <a:gd name="connsiteY33" fmla="*/ 523 h 964"/>
                <a:gd name="connsiteX34" fmla="*/ 316222 w 567358"/>
                <a:gd name="connsiteY34" fmla="*/ 523 h 964"/>
                <a:gd name="connsiteX35" fmla="*/ 369234 w 567358"/>
                <a:gd name="connsiteY35" fmla="*/ 448 h 964"/>
                <a:gd name="connsiteX36" fmla="*/ 369388 w 567358"/>
                <a:gd name="connsiteY36" fmla="*/ 448 h 964"/>
                <a:gd name="connsiteX37" fmla="*/ 422405 w 567358"/>
                <a:gd name="connsiteY37" fmla="*/ 373 h 964"/>
                <a:gd name="connsiteX38" fmla="*/ 422561 w 567358"/>
                <a:gd name="connsiteY38" fmla="*/ 373 h 964"/>
                <a:gd name="connsiteX39" fmla="*/ 475573 w 567358"/>
                <a:gd name="connsiteY39" fmla="*/ 298 h 964"/>
                <a:gd name="connsiteX40" fmla="*/ 475741 w 567358"/>
                <a:gd name="connsiteY40" fmla="*/ 298 h 964"/>
                <a:gd name="connsiteX41" fmla="*/ 528739 w 567358"/>
                <a:gd name="connsiteY41" fmla="*/ 224 h 964"/>
                <a:gd name="connsiteX42" fmla="*/ 528907 w 567358"/>
                <a:gd name="connsiteY42" fmla="*/ 224 h 964"/>
                <a:gd name="connsiteX43" fmla="*/ 567353 w 567358"/>
                <a:gd name="connsiteY43" fmla="*/ 169 h 964"/>
                <a:gd name="connsiteX44" fmla="*/ 567359 w 567358"/>
                <a:gd name="connsiteY44" fmla="*/ 169 h 964"/>
                <a:gd name="connsiteX45" fmla="*/ 567359 w 567358"/>
                <a:gd name="connsiteY45" fmla="*/ 0 h 964"/>
                <a:gd name="connsiteX46" fmla="*/ 567353 w 567358"/>
                <a:gd name="connsiteY46" fmla="*/ 0 h 964"/>
                <a:gd name="connsiteX47" fmla="*/ 567353 w 567358"/>
                <a:gd name="connsiteY47" fmla="*/ 0 h 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67358" h="964">
                  <a:moveTo>
                    <a:pt x="567353" y="0"/>
                  </a:moveTo>
                  <a:lnTo>
                    <a:pt x="528907" y="56"/>
                  </a:lnTo>
                  <a:lnTo>
                    <a:pt x="528739" y="56"/>
                  </a:lnTo>
                  <a:lnTo>
                    <a:pt x="475741" y="131"/>
                  </a:lnTo>
                  <a:lnTo>
                    <a:pt x="475573" y="131"/>
                  </a:lnTo>
                  <a:lnTo>
                    <a:pt x="422561" y="204"/>
                  </a:lnTo>
                  <a:lnTo>
                    <a:pt x="422405" y="204"/>
                  </a:lnTo>
                  <a:lnTo>
                    <a:pt x="369388" y="280"/>
                  </a:lnTo>
                  <a:lnTo>
                    <a:pt x="369234" y="280"/>
                  </a:lnTo>
                  <a:lnTo>
                    <a:pt x="316222" y="355"/>
                  </a:lnTo>
                  <a:lnTo>
                    <a:pt x="316066" y="360"/>
                  </a:lnTo>
                  <a:lnTo>
                    <a:pt x="263056" y="436"/>
                  </a:lnTo>
                  <a:lnTo>
                    <a:pt x="262900" y="436"/>
                  </a:lnTo>
                  <a:lnTo>
                    <a:pt x="209883" y="511"/>
                  </a:lnTo>
                  <a:lnTo>
                    <a:pt x="209727" y="511"/>
                  </a:lnTo>
                  <a:lnTo>
                    <a:pt x="157531" y="584"/>
                  </a:lnTo>
                  <a:lnTo>
                    <a:pt x="157377" y="584"/>
                  </a:lnTo>
                  <a:lnTo>
                    <a:pt x="103550" y="660"/>
                  </a:lnTo>
                  <a:lnTo>
                    <a:pt x="103381" y="660"/>
                  </a:lnTo>
                  <a:lnTo>
                    <a:pt x="51199" y="735"/>
                  </a:lnTo>
                  <a:lnTo>
                    <a:pt x="51044" y="735"/>
                  </a:lnTo>
                  <a:lnTo>
                    <a:pt x="0" y="803"/>
                  </a:lnTo>
                  <a:lnTo>
                    <a:pt x="0" y="964"/>
                  </a:lnTo>
                  <a:lnTo>
                    <a:pt x="51044" y="896"/>
                  </a:lnTo>
                  <a:lnTo>
                    <a:pt x="51199" y="896"/>
                  </a:lnTo>
                  <a:lnTo>
                    <a:pt x="103381" y="821"/>
                  </a:lnTo>
                  <a:lnTo>
                    <a:pt x="103550" y="821"/>
                  </a:lnTo>
                  <a:lnTo>
                    <a:pt x="157377" y="747"/>
                  </a:lnTo>
                  <a:lnTo>
                    <a:pt x="157531" y="747"/>
                  </a:lnTo>
                  <a:lnTo>
                    <a:pt x="209727" y="672"/>
                  </a:lnTo>
                  <a:lnTo>
                    <a:pt x="209883" y="672"/>
                  </a:lnTo>
                  <a:lnTo>
                    <a:pt x="262900" y="597"/>
                  </a:lnTo>
                  <a:lnTo>
                    <a:pt x="263056" y="597"/>
                  </a:lnTo>
                  <a:lnTo>
                    <a:pt x="316066" y="523"/>
                  </a:lnTo>
                  <a:lnTo>
                    <a:pt x="316222" y="523"/>
                  </a:lnTo>
                  <a:lnTo>
                    <a:pt x="369234" y="448"/>
                  </a:lnTo>
                  <a:lnTo>
                    <a:pt x="369388" y="448"/>
                  </a:lnTo>
                  <a:lnTo>
                    <a:pt x="422405" y="373"/>
                  </a:lnTo>
                  <a:lnTo>
                    <a:pt x="422561" y="373"/>
                  </a:lnTo>
                  <a:lnTo>
                    <a:pt x="475573" y="298"/>
                  </a:lnTo>
                  <a:lnTo>
                    <a:pt x="475741" y="298"/>
                  </a:lnTo>
                  <a:lnTo>
                    <a:pt x="528739" y="224"/>
                  </a:lnTo>
                  <a:lnTo>
                    <a:pt x="528907" y="224"/>
                  </a:lnTo>
                  <a:lnTo>
                    <a:pt x="567353" y="169"/>
                  </a:lnTo>
                  <a:lnTo>
                    <a:pt x="567359" y="169"/>
                  </a:lnTo>
                  <a:lnTo>
                    <a:pt x="567359" y="0"/>
                  </a:lnTo>
                  <a:lnTo>
                    <a:pt x="567353" y="0"/>
                  </a:lnTo>
                  <a:lnTo>
                    <a:pt x="567353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0" name="Freeform: Shape 2879">
              <a:extLst>
                <a:ext uri="{FF2B5EF4-FFF2-40B4-BE49-F238E27FC236}">
                  <a16:creationId xmlns:a16="http://schemas.microsoft.com/office/drawing/2014/main" id="{8619C897-416A-B368-DACD-2B84C4419867}"/>
                </a:ext>
              </a:extLst>
            </p:cNvPr>
            <p:cNvSpPr/>
            <p:nvPr/>
          </p:nvSpPr>
          <p:spPr>
            <a:xfrm>
              <a:off x="8730006" y="3783620"/>
              <a:ext cx="567353" cy="958"/>
            </a:xfrm>
            <a:custGeom>
              <a:avLst/>
              <a:gdLst>
                <a:gd name="connsiteX0" fmla="*/ 567353 w 567353"/>
                <a:gd name="connsiteY0" fmla="*/ 0 h 958"/>
                <a:gd name="connsiteX1" fmla="*/ 529049 w 567353"/>
                <a:gd name="connsiteY1" fmla="*/ 56 h 958"/>
                <a:gd name="connsiteX2" fmla="*/ 528882 w 567353"/>
                <a:gd name="connsiteY2" fmla="*/ 56 h 958"/>
                <a:gd name="connsiteX3" fmla="*/ 475878 w 567353"/>
                <a:gd name="connsiteY3" fmla="*/ 131 h 958"/>
                <a:gd name="connsiteX4" fmla="*/ 475709 w 567353"/>
                <a:gd name="connsiteY4" fmla="*/ 131 h 958"/>
                <a:gd name="connsiteX5" fmla="*/ 422697 w 567353"/>
                <a:gd name="connsiteY5" fmla="*/ 204 h 958"/>
                <a:gd name="connsiteX6" fmla="*/ 422541 w 567353"/>
                <a:gd name="connsiteY6" fmla="*/ 204 h 958"/>
                <a:gd name="connsiteX7" fmla="*/ 369532 w 567353"/>
                <a:gd name="connsiteY7" fmla="*/ 280 h 958"/>
                <a:gd name="connsiteX8" fmla="*/ 369376 w 567353"/>
                <a:gd name="connsiteY8" fmla="*/ 280 h 958"/>
                <a:gd name="connsiteX9" fmla="*/ 316359 w 567353"/>
                <a:gd name="connsiteY9" fmla="*/ 355 h 958"/>
                <a:gd name="connsiteX10" fmla="*/ 316203 w 567353"/>
                <a:gd name="connsiteY10" fmla="*/ 360 h 958"/>
                <a:gd name="connsiteX11" fmla="*/ 263193 w 567353"/>
                <a:gd name="connsiteY11" fmla="*/ 436 h 958"/>
                <a:gd name="connsiteX12" fmla="*/ 263037 w 567353"/>
                <a:gd name="connsiteY12" fmla="*/ 436 h 958"/>
                <a:gd name="connsiteX13" fmla="*/ 210025 w 567353"/>
                <a:gd name="connsiteY13" fmla="*/ 509 h 958"/>
                <a:gd name="connsiteX14" fmla="*/ 209869 w 567353"/>
                <a:gd name="connsiteY14" fmla="*/ 509 h 958"/>
                <a:gd name="connsiteX15" fmla="*/ 157675 w 567353"/>
                <a:gd name="connsiteY15" fmla="*/ 584 h 958"/>
                <a:gd name="connsiteX16" fmla="*/ 157519 w 567353"/>
                <a:gd name="connsiteY16" fmla="*/ 584 h 958"/>
                <a:gd name="connsiteX17" fmla="*/ 103686 w 567353"/>
                <a:gd name="connsiteY17" fmla="*/ 660 h 958"/>
                <a:gd name="connsiteX18" fmla="*/ 103518 w 567353"/>
                <a:gd name="connsiteY18" fmla="*/ 660 h 958"/>
                <a:gd name="connsiteX19" fmla="*/ 51336 w 567353"/>
                <a:gd name="connsiteY19" fmla="*/ 733 h 958"/>
                <a:gd name="connsiteX20" fmla="*/ 51180 w 567353"/>
                <a:gd name="connsiteY20" fmla="*/ 733 h 958"/>
                <a:gd name="connsiteX21" fmla="*/ 0 w 567353"/>
                <a:gd name="connsiteY21" fmla="*/ 803 h 958"/>
                <a:gd name="connsiteX22" fmla="*/ 0 w 567353"/>
                <a:gd name="connsiteY22" fmla="*/ 959 h 958"/>
                <a:gd name="connsiteX23" fmla="*/ 51180 w 567353"/>
                <a:gd name="connsiteY23" fmla="*/ 889 h 958"/>
                <a:gd name="connsiteX24" fmla="*/ 51336 w 567353"/>
                <a:gd name="connsiteY24" fmla="*/ 889 h 958"/>
                <a:gd name="connsiteX25" fmla="*/ 103518 w 567353"/>
                <a:gd name="connsiteY25" fmla="*/ 816 h 958"/>
                <a:gd name="connsiteX26" fmla="*/ 103686 w 567353"/>
                <a:gd name="connsiteY26" fmla="*/ 816 h 958"/>
                <a:gd name="connsiteX27" fmla="*/ 157519 w 567353"/>
                <a:gd name="connsiteY27" fmla="*/ 740 h 958"/>
                <a:gd name="connsiteX28" fmla="*/ 157675 w 567353"/>
                <a:gd name="connsiteY28" fmla="*/ 740 h 958"/>
                <a:gd name="connsiteX29" fmla="*/ 209869 w 567353"/>
                <a:gd name="connsiteY29" fmla="*/ 665 h 958"/>
                <a:gd name="connsiteX30" fmla="*/ 210025 w 567353"/>
                <a:gd name="connsiteY30" fmla="*/ 665 h 958"/>
                <a:gd name="connsiteX31" fmla="*/ 263037 w 567353"/>
                <a:gd name="connsiteY31" fmla="*/ 592 h 958"/>
                <a:gd name="connsiteX32" fmla="*/ 263193 w 567353"/>
                <a:gd name="connsiteY32" fmla="*/ 592 h 958"/>
                <a:gd name="connsiteX33" fmla="*/ 316203 w 567353"/>
                <a:gd name="connsiteY33" fmla="*/ 516 h 958"/>
                <a:gd name="connsiteX34" fmla="*/ 316359 w 567353"/>
                <a:gd name="connsiteY34" fmla="*/ 516 h 958"/>
                <a:gd name="connsiteX35" fmla="*/ 369376 w 567353"/>
                <a:gd name="connsiteY35" fmla="*/ 441 h 958"/>
                <a:gd name="connsiteX36" fmla="*/ 369532 w 567353"/>
                <a:gd name="connsiteY36" fmla="*/ 441 h 958"/>
                <a:gd name="connsiteX37" fmla="*/ 422541 w 567353"/>
                <a:gd name="connsiteY37" fmla="*/ 367 h 958"/>
                <a:gd name="connsiteX38" fmla="*/ 422697 w 567353"/>
                <a:gd name="connsiteY38" fmla="*/ 367 h 958"/>
                <a:gd name="connsiteX39" fmla="*/ 475709 w 567353"/>
                <a:gd name="connsiteY39" fmla="*/ 292 h 958"/>
                <a:gd name="connsiteX40" fmla="*/ 475878 w 567353"/>
                <a:gd name="connsiteY40" fmla="*/ 292 h 958"/>
                <a:gd name="connsiteX41" fmla="*/ 528882 w 567353"/>
                <a:gd name="connsiteY41" fmla="*/ 217 h 958"/>
                <a:gd name="connsiteX42" fmla="*/ 529049 w 567353"/>
                <a:gd name="connsiteY42" fmla="*/ 217 h 958"/>
                <a:gd name="connsiteX43" fmla="*/ 567353 w 567353"/>
                <a:gd name="connsiteY43" fmla="*/ 161 h 958"/>
                <a:gd name="connsiteX44" fmla="*/ 567353 w 567353"/>
                <a:gd name="connsiteY44" fmla="*/ 0 h 958"/>
                <a:gd name="connsiteX45" fmla="*/ 567353 w 567353"/>
                <a:gd name="connsiteY45" fmla="*/ 0 h 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67353" h="958">
                  <a:moveTo>
                    <a:pt x="567353" y="0"/>
                  </a:moveTo>
                  <a:lnTo>
                    <a:pt x="529049" y="56"/>
                  </a:lnTo>
                  <a:lnTo>
                    <a:pt x="528882" y="56"/>
                  </a:lnTo>
                  <a:lnTo>
                    <a:pt x="475878" y="131"/>
                  </a:lnTo>
                  <a:lnTo>
                    <a:pt x="475709" y="131"/>
                  </a:lnTo>
                  <a:lnTo>
                    <a:pt x="422697" y="204"/>
                  </a:lnTo>
                  <a:lnTo>
                    <a:pt x="422541" y="204"/>
                  </a:lnTo>
                  <a:lnTo>
                    <a:pt x="369532" y="280"/>
                  </a:lnTo>
                  <a:lnTo>
                    <a:pt x="369376" y="280"/>
                  </a:lnTo>
                  <a:lnTo>
                    <a:pt x="316359" y="355"/>
                  </a:lnTo>
                  <a:lnTo>
                    <a:pt x="316203" y="360"/>
                  </a:lnTo>
                  <a:lnTo>
                    <a:pt x="263193" y="436"/>
                  </a:lnTo>
                  <a:lnTo>
                    <a:pt x="263037" y="436"/>
                  </a:lnTo>
                  <a:lnTo>
                    <a:pt x="210025" y="509"/>
                  </a:lnTo>
                  <a:lnTo>
                    <a:pt x="209869" y="509"/>
                  </a:lnTo>
                  <a:lnTo>
                    <a:pt x="157675" y="584"/>
                  </a:lnTo>
                  <a:lnTo>
                    <a:pt x="157519" y="584"/>
                  </a:lnTo>
                  <a:lnTo>
                    <a:pt x="103686" y="660"/>
                  </a:lnTo>
                  <a:lnTo>
                    <a:pt x="103518" y="660"/>
                  </a:lnTo>
                  <a:lnTo>
                    <a:pt x="51336" y="733"/>
                  </a:lnTo>
                  <a:lnTo>
                    <a:pt x="51180" y="733"/>
                  </a:lnTo>
                  <a:lnTo>
                    <a:pt x="0" y="803"/>
                  </a:lnTo>
                  <a:lnTo>
                    <a:pt x="0" y="959"/>
                  </a:lnTo>
                  <a:lnTo>
                    <a:pt x="51180" y="889"/>
                  </a:lnTo>
                  <a:lnTo>
                    <a:pt x="51336" y="889"/>
                  </a:lnTo>
                  <a:lnTo>
                    <a:pt x="103518" y="816"/>
                  </a:lnTo>
                  <a:lnTo>
                    <a:pt x="103686" y="816"/>
                  </a:lnTo>
                  <a:lnTo>
                    <a:pt x="157519" y="740"/>
                  </a:lnTo>
                  <a:lnTo>
                    <a:pt x="157675" y="740"/>
                  </a:lnTo>
                  <a:lnTo>
                    <a:pt x="209869" y="665"/>
                  </a:lnTo>
                  <a:lnTo>
                    <a:pt x="210025" y="665"/>
                  </a:lnTo>
                  <a:lnTo>
                    <a:pt x="263037" y="592"/>
                  </a:lnTo>
                  <a:lnTo>
                    <a:pt x="263193" y="592"/>
                  </a:lnTo>
                  <a:lnTo>
                    <a:pt x="316203" y="516"/>
                  </a:lnTo>
                  <a:lnTo>
                    <a:pt x="316359" y="516"/>
                  </a:lnTo>
                  <a:lnTo>
                    <a:pt x="369376" y="441"/>
                  </a:lnTo>
                  <a:lnTo>
                    <a:pt x="369532" y="441"/>
                  </a:lnTo>
                  <a:lnTo>
                    <a:pt x="422541" y="367"/>
                  </a:lnTo>
                  <a:lnTo>
                    <a:pt x="422697" y="367"/>
                  </a:lnTo>
                  <a:lnTo>
                    <a:pt x="475709" y="292"/>
                  </a:lnTo>
                  <a:lnTo>
                    <a:pt x="475878" y="292"/>
                  </a:lnTo>
                  <a:lnTo>
                    <a:pt x="528882" y="217"/>
                  </a:lnTo>
                  <a:lnTo>
                    <a:pt x="529049" y="217"/>
                  </a:lnTo>
                  <a:lnTo>
                    <a:pt x="567353" y="161"/>
                  </a:lnTo>
                  <a:lnTo>
                    <a:pt x="567353" y="0"/>
                  </a:lnTo>
                  <a:lnTo>
                    <a:pt x="567353" y="0"/>
                  </a:lnTo>
                  <a:close/>
                </a:path>
              </a:pathLst>
            </a:custGeom>
            <a:solidFill>
              <a:srgbClr val="ADD6FF"/>
            </a:solidFill>
            <a:ln w="381" cap="flat">
              <a:solidFill>
                <a:srgbClr val="ADD6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1" name="Freeform: Shape 2880">
              <a:extLst>
                <a:ext uri="{FF2B5EF4-FFF2-40B4-BE49-F238E27FC236}">
                  <a16:creationId xmlns:a16="http://schemas.microsoft.com/office/drawing/2014/main" id="{021A8827-CA48-C753-6AEC-E34B9A2EFD49}"/>
                </a:ext>
              </a:extLst>
            </p:cNvPr>
            <p:cNvSpPr/>
            <p:nvPr/>
          </p:nvSpPr>
          <p:spPr>
            <a:xfrm>
              <a:off x="8730194" y="3442025"/>
              <a:ext cx="567164" cy="31677"/>
            </a:xfrm>
            <a:custGeom>
              <a:avLst/>
              <a:gdLst>
                <a:gd name="connsiteX0" fmla="*/ 30229 w 567164"/>
                <a:gd name="connsiteY0" fmla="*/ 0 h 31677"/>
                <a:gd name="connsiteX1" fmla="*/ 0 w 567164"/>
                <a:gd name="connsiteY1" fmla="*/ 30198 h 31677"/>
                <a:gd name="connsiteX2" fmla="*/ 0 w 567164"/>
                <a:gd name="connsiteY2" fmla="*/ 31677 h 31677"/>
                <a:gd name="connsiteX3" fmla="*/ 567160 w 567164"/>
                <a:gd name="connsiteY3" fmla="*/ 31677 h 31677"/>
                <a:gd name="connsiteX4" fmla="*/ 567165 w 567164"/>
                <a:gd name="connsiteY4" fmla="*/ 27194 h 31677"/>
                <a:gd name="connsiteX5" fmla="*/ 537160 w 567164"/>
                <a:gd name="connsiteY5" fmla="*/ 310 h 31677"/>
                <a:gd name="connsiteX6" fmla="*/ 30229 w 567164"/>
                <a:gd name="connsiteY6" fmla="*/ 0 h 31677"/>
                <a:gd name="connsiteX7" fmla="*/ 30229 w 567164"/>
                <a:gd name="connsiteY7" fmla="*/ 0 h 31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7164" h="31677">
                  <a:moveTo>
                    <a:pt x="30229" y="0"/>
                  </a:moveTo>
                  <a:cubicBezTo>
                    <a:pt x="13544" y="-11"/>
                    <a:pt x="9" y="13514"/>
                    <a:pt x="0" y="30198"/>
                  </a:cubicBezTo>
                  <a:lnTo>
                    <a:pt x="0" y="31677"/>
                  </a:lnTo>
                  <a:lnTo>
                    <a:pt x="567160" y="31677"/>
                  </a:lnTo>
                  <a:lnTo>
                    <a:pt x="567165" y="27194"/>
                  </a:lnTo>
                  <a:cubicBezTo>
                    <a:pt x="565507" y="12083"/>
                    <a:pt x="552714" y="319"/>
                    <a:pt x="537160" y="310"/>
                  </a:cubicBezTo>
                  <a:lnTo>
                    <a:pt x="30229" y="0"/>
                  </a:lnTo>
                  <a:lnTo>
                    <a:pt x="30229" y="0"/>
                  </a:lnTo>
                  <a:close/>
                </a:path>
              </a:pathLst>
            </a:custGeom>
            <a:solidFill>
              <a:srgbClr val="ADD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2" name="Freeform: Shape 2881">
              <a:extLst>
                <a:ext uri="{FF2B5EF4-FFF2-40B4-BE49-F238E27FC236}">
                  <a16:creationId xmlns:a16="http://schemas.microsoft.com/office/drawing/2014/main" id="{155CC9E5-BE5E-E3E9-1A0D-AEBAA070405C}"/>
                </a:ext>
              </a:extLst>
            </p:cNvPr>
            <p:cNvSpPr/>
            <p:nvPr/>
          </p:nvSpPr>
          <p:spPr>
            <a:xfrm>
              <a:off x="8755493" y="3448733"/>
              <a:ext cx="18418" cy="18418"/>
            </a:xfrm>
            <a:custGeom>
              <a:avLst/>
              <a:gdLst>
                <a:gd name="connsiteX0" fmla="*/ 0 w 18418"/>
                <a:gd name="connsiteY0" fmla="*/ 9239 h 18418"/>
                <a:gd name="connsiteX1" fmla="*/ 9180 w 18418"/>
                <a:gd name="connsiteY1" fmla="*/ 0 h 18418"/>
                <a:gd name="connsiteX2" fmla="*/ 18418 w 18418"/>
                <a:gd name="connsiteY2" fmla="*/ 9181 h 18418"/>
                <a:gd name="connsiteX3" fmla="*/ 9237 w 18418"/>
                <a:gd name="connsiteY3" fmla="*/ 18418 h 18418"/>
                <a:gd name="connsiteX4" fmla="*/ 0 w 18418"/>
                <a:gd name="connsiteY4" fmla="*/ 9239 h 18418"/>
                <a:gd name="connsiteX5" fmla="*/ 0 w 18418"/>
                <a:gd name="connsiteY5" fmla="*/ 9239 h 18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18" h="18418">
                  <a:moveTo>
                    <a:pt x="0" y="9239"/>
                  </a:moveTo>
                  <a:cubicBezTo>
                    <a:pt x="-16" y="4151"/>
                    <a:pt x="4094" y="16"/>
                    <a:pt x="9180" y="0"/>
                  </a:cubicBezTo>
                  <a:cubicBezTo>
                    <a:pt x="14267" y="-16"/>
                    <a:pt x="18402" y="4094"/>
                    <a:pt x="18418" y="9181"/>
                  </a:cubicBezTo>
                  <a:cubicBezTo>
                    <a:pt x="18434" y="14267"/>
                    <a:pt x="14324" y="18402"/>
                    <a:pt x="9237" y="18418"/>
                  </a:cubicBezTo>
                  <a:cubicBezTo>
                    <a:pt x="4152" y="18434"/>
                    <a:pt x="16" y="14324"/>
                    <a:pt x="0" y="9239"/>
                  </a:cubicBezTo>
                  <a:lnTo>
                    <a:pt x="0" y="9239"/>
                  </a:lnTo>
                  <a:close/>
                </a:path>
              </a:pathLst>
            </a:custGeom>
            <a:solidFill>
              <a:srgbClr val="DD3A1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3" name="Freeform: Shape 2882">
              <a:extLst>
                <a:ext uri="{FF2B5EF4-FFF2-40B4-BE49-F238E27FC236}">
                  <a16:creationId xmlns:a16="http://schemas.microsoft.com/office/drawing/2014/main" id="{86FE5B26-8566-ABB8-8887-BFCBBA70B191}"/>
                </a:ext>
              </a:extLst>
            </p:cNvPr>
            <p:cNvSpPr/>
            <p:nvPr/>
          </p:nvSpPr>
          <p:spPr>
            <a:xfrm>
              <a:off x="8781820" y="3448650"/>
              <a:ext cx="18418" cy="18418"/>
            </a:xfrm>
            <a:custGeom>
              <a:avLst/>
              <a:gdLst>
                <a:gd name="connsiteX0" fmla="*/ 0 w 18418"/>
                <a:gd name="connsiteY0" fmla="*/ 9239 h 18418"/>
                <a:gd name="connsiteX1" fmla="*/ 9181 w 18418"/>
                <a:gd name="connsiteY1" fmla="*/ 0 h 18418"/>
                <a:gd name="connsiteX2" fmla="*/ 18418 w 18418"/>
                <a:gd name="connsiteY2" fmla="*/ 9181 h 18418"/>
                <a:gd name="connsiteX3" fmla="*/ 9239 w 18418"/>
                <a:gd name="connsiteY3" fmla="*/ 18418 h 18418"/>
                <a:gd name="connsiteX4" fmla="*/ 0 w 18418"/>
                <a:gd name="connsiteY4" fmla="*/ 9239 h 18418"/>
                <a:gd name="connsiteX5" fmla="*/ 0 w 18418"/>
                <a:gd name="connsiteY5" fmla="*/ 9239 h 18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18" h="18418">
                  <a:moveTo>
                    <a:pt x="0" y="9239"/>
                  </a:moveTo>
                  <a:cubicBezTo>
                    <a:pt x="-14" y="4153"/>
                    <a:pt x="4094" y="16"/>
                    <a:pt x="9181" y="0"/>
                  </a:cubicBezTo>
                  <a:cubicBezTo>
                    <a:pt x="14267" y="-16"/>
                    <a:pt x="18404" y="4094"/>
                    <a:pt x="18418" y="9181"/>
                  </a:cubicBezTo>
                  <a:cubicBezTo>
                    <a:pt x="18434" y="14267"/>
                    <a:pt x="14324" y="18402"/>
                    <a:pt x="9239" y="18418"/>
                  </a:cubicBezTo>
                  <a:cubicBezTo>
                    <a:pt x="4153" y="18434"/>
                    <a:pt x="16" y="14324"/>
                    <a:pt x="0" y="9239"/>
                  </a:cubicBezTo>
                  <a:lnTo>
                    <a:pt x="0" y="9239"/>
                  </a:lnTo>
                  <a:close/>
                </a:path>
              </a:pathLst>
            </a:custGeom>
            <a:solidFill>
              <a:srgbClr val="F5891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4" name="Freeform: Shape 2883">
              <a:extLst>
                <a:ext uri="{FF2B5EF4-FFF2-40B4-BE49-F238E27FC236}">
                  <a16:creationId xmlns:a16="http://schemas.microsoft.com/office/drawing/2014/main" id="{97642AA5-2FD7-56FE-F782-5EFA4A384F45}"/>
                </a:ext>
              </a:extLst>
            </p:cNvPr>
            <p:cNvSpPr/>
            <p:nvPr/>
          </p:nvSpPr>
          <p:spPr>
            <a:xfrm>
              <a:off x="8805592" y="3448577"/>
              <a:ext cx="18418" cy="18418"/>
            </a:xfrm>
            <a:custGeom>
              <a:avLst/>
              <a:gdLst>
                <a:gd name="connsiteX0" fmla="*/ 0 w 18418"/>
                <a:gd name="connsiteY0" fmla="*/ 9237 h 18418"/>
                <a:gd name="connsiteX1" fmla="*/ 9179 w 18418"/>
                <a:gd name="connsiteY1" fmla="*/ 0 h 18418"/>
                <a:gd name="connsiteX2" fmla="*/ 18418 w 18418"/>
                <a:gd name="connsiteY2" fmla="*/ 9179 h 18418"/>
                <a:gd name="connsiteX3" fmla="*/ 9239 w 18418"/>
                <a:gd name="connsiteY3" fmla="*/ 18418 h 18418"/>
                <a:gd name="connsiteX4" fmla="*/ 0 w 18418"/>
                <a:gd name="connsiteY4" fmla="*/ 9237 h 18418"/>
                <a:gd name="connsiteX5" fmla="*/ 0 w 18418"/>
                <a:gd name="connsiteY5" fmla="*/ 9237 h 18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18" h="18418">
                  <a:moveTo>
                    <a:pt x="0" y="9237"/>
                  </a:moveTo>
                  <a:cubicBezTo>
                    <a:pt x="-16" y="4151"/>
                    <a:pt x="4094" y="16"/>
                    <a:pt x="9179" y="0"/>
                  </a:cubicBezTo>
                  <a:cubicBezTo>
                    <a:pt x="14267" y="-16"/>
                    <a:pt x="18402" y="4094"/>
                    <a:pt x="18418" y="9179"/>
                  </a:cubicBezTo>
                  <a:cubicBezTo>
                    <a:pt x="18434" y="14267"/>
                    <a:pt x="14324" y="18402"/>
                    <a:pt x="9239" y="18418"/>
                  </a:cubicBezTo>
                  <a:cubicBezTo>
                    <a:pt x="4151" y="18434"/>
                    <a:pt x="16" y="14324"/>
                    <a:pt x="0" y="9237"/>
                  </a:cubicBezTo>
                  <a:lnTo>
                    <a:pt x="0" y="9237"/>
                  </a:lnTo>
                  <a:close/>
                </a:path>
              </a:pathLst>
            </a:custGeom>
            <a:solidFill>
              <a:srgbClr val="58B1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5" name="Freeform: Shape 2884">
              <a:extLst>
                <a:ext uri="{FF2B5EF4-FFF2-40B4-BE49-F238E27FC236}">
                  <a16:creationId xmlns:a16="http://schemas.microsoft.com/office/drawing/2014/main" id="{4FFA4F90-1659-32DD-F28D-6BC6CD9368F3}"/>
                </a:ext>
              </a:extLst>
            </p:cNvPr>
            <p:cNvSpPr/>
            <p:nvPr/>
          </p:nvSpPr>
          <p:spPr>
            <a:xfrm>
              <a:off x="9046995" y="3678935"/>
              <a:ext cx="57417" cy="88479"/>
            </a:xfrm>
            <a:custGeom>
              <a:avLst/>
              <a:gdLst>
                <a:gd name="connsiteX0" fmla="*/ 57418 w 57417"/>
                <a:gd name="connsiteY0" fmla="*/ 15545 h 88479"/>
                <a:gd name="connsiteX1" fmla="*/ 57418 w 57417"/>
                <a:gd name="connsiteY1" fmla="*/ 88480 h 88479"/>
                <a:gd name="connsiteX2" fmla="*/ 0 w 57417"/>
                <a:gd name="connsiteY2" fmla="*/ 88480 h 88479"/>
                <a:gd name="connsiteX3" fmla="*/ 0 w 57417"/>
                <a:gd name="connsiteY3" fmla="*/ 0 h 88479"/>
                <a:gd name="connsiteX4" fmla="*/ 37119 w 57417"/>
                <a:gd name="connsiteY4" fmla="*/ 0 h 8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417" h="88479">
                  <a:moveTo>
                    <a:pt x="57418" y="15545"/>
                  </a:moveTo>
                  <a:lnTo>
                    <a:pt x="57418" y="88480"/>
                  </a:lnTo>
                  <a:lnTo>
                    <a:pt x="0" y="88480"/>
                  </a:lnTo>
                  <a:lnTo>
                    <a:pt x="0" y="0"/>
                  </a:lnTo>
                  <a:lnTo>
                    <a:pt x="37119" y="0"/>
                  </a:lnTo>
                </a:path>
              </a:pathLst>
            </a:custGeom>
            <a:solidFill>
              <a:srgbClr val="D3E7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6" name="Freeform: Shape 2885">
              <a:extLst>
                <a:ext uri="{FF2B5EF4-FFF2-40B4-BE49-F238E27FC236}">
                  <a16:creationId xmlns:a16="http://schemas.microsoft.com/office/drawing/2014/main" id="{3D44552C-41FE-B9C2-879A-4FA829FBD369}"/>
                </a:ext>
              </a:extLst>
            </p:cNvPr>
            <p:cNvSpPr/>
            <p:nvPr/>
          </p:nvSpPr>
          <p:spPr>
            <a:xfrm>
              <a:off x="9084115" y="3678935"/>
              <a:ext cx="20298" cy="15544"/>
            </a:xfrm>
            <a:custGeom>
              <a:avLst/>
              <a:gdLst>
                <a:gd name="connsiteX0" fmla="*/ 20298 w 20298"/>
                <a:gd name="connsiteY0" fmla="*/ 15545 h 15544"/>
                <a:gd name="connsiteX1" fmla="*/ 0 w 20298"/>
                <a:gd name="connsiteY1" fmla="*/ 15545 h 15544"/>
                <a:gd name="connsiteX2" fmla="*/ 0 w 20298"/>
                <a:gd name="connsiteY2" fmla="*/ 0 h 1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298" h="15544">
                  <a:moveTo>
                    <a:pt x="20298" y="15545"/>
                  </a:moveTo>
                  <a:lnTo>
                    <a:pt x="0" y="15545"/>
                  </a:lnTo>
                  <a:lnTo>
                    <a:pt x="0" y="0"/>
                  </a:lnTo>
                </a:path>
              </a:pathLst>
            </a:custGeom>
            <a:solidFill>
              <a:srgbClr val="C3D4E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7" name="Freeform: Shape 2886">
              <a:extLst>
                <a:ext uri="{FF2B5EF4-FFF2-40B4-BE49-F238E27FC236}">
                  <a16:creationId xmlns:a16="http://schemas.microsoft.com/office/drawing/2014/main" id="{B7B02DF9-E98D-1FAC-AE44-BEA1D6379CDE}"/>
                </a:ext>
              </a:extLst>
            </p:cNvPr>
            <p:cNvSpPr/>
            <p:nvPr/>
          </p:nvSpPr>
          <p:spPr>
            <a:xfrm>
              <a:off x="9091055" y="3705542"/>
              <a:ext cx="9057" cy="1349"/>
            </a:xfrm>
            <a:custGeom>
              <a:avLst/>
              <a:gdLst>
                <a:gd name="connsiteX0" fmla="*/ 0 w 9057"/>
                <a:gd name="connsiteY0" fmla="*/ 631 h 1349"/>
                <a:gd name="connsiteX1" fmla="*/ 629 w 9057"/>
                <a:gd name="connsiteY1" fmla="*/ 0 h 1349"/>
                <a:gd name="connsiteX2" fmla="*/ 8428 w 9057"/>
                <a:gd name="connsiteY2" fmla="*/ 0 h 1349"/>
                <a:gd name="connsiteX3" fmla="*/ 9058 w 9057"/>
                <a:gd name="connsiteY3" fmla="*/ 631 h 1349"/>
                <a:gd name="connsiteX4" fmla="*/ 9058 w 9057"/>
                <a:gd name="connsiteY4" fmla="*/ 721 h 1349"/>
                <a:gd name="connsiteX5" fmla="*/ 8428 w 9057"/>
                <a:gd name="connsiteY5" fmla="*/ 1350 h 1349"/>
                <a:gd name="connsiteX6" fmla="*/ 629 w 9057"/>
                <a:gd name="connsiteY6" fmla="*/ 1350 h 1349"/>
                <a:gd name="connsiteX7" fmla="*/ 0 w 9057"/>
                <a:gd name="connsiteY7" fmla="*/ 721 h 1349"/>
                <a:gd name="connsiteX8" fmla="*/ 0 w 9057"/>
                <a:gd name="connsiteY8" fmla="*/ 631 h 1349"/>
                <a:gd name="connsiteX9" fmla="*/ 0 w 9057"/>
                <a:gd name="connsiteY9" fmla="*/ 631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7" h="1349">
                  <a:moveTo>
                    <a:pt x="0" y="631"/>
                  </a:moveTo>
                  <a:cubicBezTo>
                    <a:pt x="0" y="283"/>
                    <a:pt x="281" y="0"/>
                    <a:pt x="629" y="0"/>
                  </a:cubicBezTo>
                  <a:lnTo>
                    <a:pt x="8428" y="0"/>
                  </a:lnTo>
                  <a:cubicBezTo>
                    <a:pt x="8776" y="0"/>
                    <a:pt x="9058" y="283"/>
                    <a:pt x="9058" y="631"/>
                  </a:cubicBezTo>
                  <a:lnTo>
                    <a:pt x="9058" y="721"/>
                  </a:lnTo>
                  <a:cubicBezTo>
                    <a:pt x="9058" y="1068"/>
                    <a:pt x="8776" y="1350"/>
                    <a:pt x="8428" y="1350"/>
                  </a:cubicBezTo>
                  <a:lnTo>
                    <a:pt x="629" y="1350"/>
                  </a:lnTo>
                  <a:cubicBezTo>
                    <a:pt x="281" y="1350"/>
                    <a:pt x="0" y="1068"/>
                    <a:pt x="0" y="721"/>
                  </a:cubicBezTo>
                  <a:lnTo>
                    <a:pt x="0" y="631"/>
                  </a:lnTo>
                  <a:lnTo>
                    <a:pt x="0" y="631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8" name="Freeform: Shape 2887">
              <a:extLst>
                <a:ext uri="{FF2B5EF4-FFF2-40B4-BE49-F238E27FC236}">
                  <a16:creationId xmlns:a16="http://schemas.microsoft.com/office/drawing/2014/main" id="{5D49010B-89BF-2DB9-E57B-AEEA9415FE8C}"/>
                </a:ext>
              </a:extLst>
            </p:cNvPr>
            <p:cNvSpPr/>
            <p:nvPr/>
          </p:nvSpPr>
          <p:spPr>
            <a:xfrm>
              <a:off x="9063718" y="3701948"/>
              <a:ext cx="9059" cy="1349"/>
            </a:xfrm>
            <a:custGeom>
              <a:avLst/>
              <a:gdLst>
                <a:gd name="connsiteX0" fmla="*/ 9059 w 9059"/>
                <a:gd name="connsiteY0" fmla="*/ 629 h 1349"/>
                <a:gd name="connsiteX1" fmla="*/ 8430 w 9059"/>
                <a:gd name="connsiteY1" fmla="*/ 0 h 1349"/>
                <a:gd name="connsiteX2" fmla="*/ 631 w 9059"/>
                <a:gd name="connsiteY2" fmla="*/ 0 h 1349"/>
                <a:gd name="connsiteX3" fmla="*/ 0 w 9059"/>
                <a:gd name="connsiteY3" fmla="*/ 629 h 1349"/>
                <a:gd name="connsiteX4" fmla="*/ 0 w 9059"/>
                <a:gd name="connsiteY4" fmla="*/ 721 h 1349"/>
                <a:gd name="connsiteX5" fmla="*/ 631 w 9059"/>
                <a:gd name="connsiteY5" fmla="*/ 1350 h 1349"/>
                <a:gd name="connsiteX6" fmla="*/ 8430 w 9059"/>
                <a:gd name="connsiteY6" fmla="*/ 1350 h 1349"/>
                <a:gd name="connsiteX7" fmla="*/ 9059 w 9059"/>
                <a:gd name="connsiteY7" fmla="*/ 721 h 1349"/>
                <a:gd name="connsiteX8" fmla="*/ 9059 w 9059"/>
                <a:gd name="connsiteY8" fmla="*/ 629 h 1349"/>
                <a:gd name="connsiteX9" fmla="*/ 9059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9059" y="629"/>
                  </a:moveTo>
                  <a:cubicBezTo>
                    <a:pt x="9059" y="281"/>
                    <a:pt x="8778" y="0"/>
                    <a:pt x="8430" y="0"/>
                  </a:cubicBezTo>
                  <a:lnTo>
                    <a:pt x="631" y="0"/>
                  </a:lnTo>
                  <a:cubicBezTo>
                    <a:pt x="283" y="0"/>
                    <a:pt x="0" y="281"/>
                    <a:pt x="0" y="629"/>
                  </a:cubicBezTo>
                  <a:lnTo>
                    <a:pt x="0" y="721"/>
                  </a:lnTo>
                  <a:cubicBezTo>
                    <a:pt x="0" y="1068"/>
                    <a:pt x="283" y="1350"/>
                    <a:pt x="631" y="1350"/>
                  </a:cubicBezTo>
                  <a:lnTo>
                    <a:pt x="8430" y="1350"/>
                  </a:lnTo>
                  <a:cubicBezTo>
                    <a:pt x="8778" y="1350"/>
                    <a:pt x="9059" y="1068"/>
                    <a:pt x="9059" y="721"/>
                  </a:cubicBezTo>
                  <a:lnTo>
                    <a:pt x="9059" y="629"/>
                  </a:lnTo>
                  <a:lnTo>
                    <a:pt x="9059" y="62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9" name="Freeform: Shape 2888">
              <a:extLst>
                <a:ext uri="{FF2B5EF4-FFF2-40B4-BE49-F238E27FC236}">
                  <a16:creationId xmlns:a16="http://schemas.microsoft.com/office/drawing/2014/main" id="{62A365A2-1785-411C-9767-0A4D7C2EB54B}"/>
                </a:ext>
              </a:extLst>
            </p:cNvPr>
            <p:cNvSpPr/>
            <p:nvPr/>
          </p:nvSpPr>
          <p:spPr>
            <a:xfrm>
              <a:off x="9072347" y="3709023"/>
              <a:ext cx="9059" cy="1351"/>
            </a:xfrm>
            <a:custGeom>
              <a:avLst/>
              <a:gdLst>
                <a:gd name="connsiteX0" fmla="*/ 0 w 9059"/>
                <a:gd name="connsiteY0" fmla="*/ 676 h 1351"/>
                <a:gd name="connsiteX1" fmla="*/ 676 w 9059"/>
                <a:gd name="connsiteY1" fmla="*/ 0 h 1351"/>
                <a:gd name="connsiteX2" fmla="*/ 8385 w 9059"/>
                <a:gd name="connsiteY2" fmla="*/ 0 h 1351"/>
                <a:gd name="connsiteX3" fmla="*/ 9059 w 9059"/>
                <a:gd name="connsiteY3" fmla="*/ 676 h 1351"/>
                <a:gd name="connsiteX4" fmla="*/ 8385 w 9059"/>
                <a:gd name="connsiteY4" fmla="*/ 1352 h 1351"/>
                <a:gd name="connsiteX5" fmla="*/ 676 w 9059"/>
                <a:gd name="connsiteY5" fmla="*/ 1352 h 1351"/>
                <a:gd name="connsiteX6" fmla="*/ 0 w 9059"/>
                <a:gd name="connsiteY6" fmla="*/ 676 h 1351"/>
                <a:gd name="connsiteX7" fmla="*/ 0 w 9059"/>
                <a:gd name="connsiteY7" fmla="*/ 676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9" h="1351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8385" y="0"/>
                  </a:lnTo>
                  <a:cubicBezTo>
                    <a:pt x="8758" y="0"/>
                    <a:pt x="9059" y="303"/>
                    <a:pt x="9059" y="676"/>
                  </a:cubicBezTo>
                  <a:cubicBezTo>
                    <a:pt x="9059" y="1049"/>
                    <a:pt x="8758" y="1352"/>
                    <a:pt x="8385" y="1352"/>
                  </a:cubicBezTo>
                  <a:lnTo>
                    <a:pt x="676" y="1352"/>
                  </a:lnTo>
                  <a:cubicBezTo>
                    <a:pt x="303" y="1352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0" name="Freeform: Shape 2889">
              <a:extLst>
                <a:ext uri="{FF2B5EF4-FFF2-40B4-BE49-F238E27FC236}">
                  <a16:creationId xmlns:a16="http://schemas.microsoft.com/office/drawing/2014/main" id="{6F1375FB-094F-9FEF-C365-3B092E30CC01}"/>
                </a:ext>
              </a:extLst>
            </p:cNvPr>
            <p:cNvSpPr/>
            <p:nvPr/>
          </p:nvSpPr>
          <p:spPr>
            <a:xfrm>
              <a:off x="9085400" y="3705542"/>
              <a:ext cx="5074" cy="1349"/>
            </a:xfrm>
            <a:custGeom>
              <a:avLst/>
              <a:gdLst>
                <a:gd name="connsiteX0" fmla="*/ 0 w 5074"/>
                <a:gd name="connsiteY0" fmla="*/ 617 h 1349"/>
                <a:gd name="connsiteX1" fmla="*/ 617 w 5074"/>
                <a:gd name="connsiteY1" fmla="*/ 0 h 1349"/>
                <a:gd name="connsiteX2" fmla="*/ 4458 w 5074"/>
                <a:gd name="connsiteY2" fmla="*/ 0 h 1349"/>
                <a:gd name="connsiteX3" fmla="*/ 5075 w 5074"/>
                <a:gd name="connsiteY3" fmla="*/ 617 h 1349"/>
                <a:gd name="connsiteX4" fmla="*/ 5075 w 5074"/>
                <a:gd name="connsiteY4" fmla="*/ 733 h 1349"/>
                <a:gd name="connsiteX5" fmla="*/ 4458 w 5074"/>
                <a:gd name="connsiteY5" fmla="*/ 1350 h 1349"/>
                <a:gd name="connsiteX6" fmla="*/ 617 w 5074"/>
                <a:gd name="connsiteY6" fmla="*/ 1350 h 1349"/>
                <a:gd name="connsiteX7" fmla="*/ 0 w 5074"/>
                <a:gd name="connsiteY7" fmla="*/ 733 h 1349"/>
                <a:gd name="connsiteX8" fmla="*/ 0 w 5074"/>
                <a:gd name="connsiteY8" fmla="*/ 617 h 1349"/>
                <a:gd name="connsiteX9" fmla="*/ 0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0" y="617"/>
                  </a:moveTo>
                  <a:cubicBezTo>
                    <a:pt x="0" y="276"/>
                    <a:pt x="276" y="0"/>
                    <a:pt x="617" y="0"/>
                  </a:cubicBezTo>
                  <a:lnTo>
                    <a:pt x="4458" y="0"/>
                  </a:lnTo>
                  <a:cubicBezTo>
                    <a:pt x="4799" y="0"/>
                    <a:pt x="5075" y="276"/>
                    <a:pt x="5075" y="617"/>
                  </a:cubicBezTo>
                  <a:lnTo>
                    <a:pt x="5075" y="733"/>
                  </a:lnTo>
                  <a:cubicBezTo>
                    <a:pt x="5075" y="1074"/>
                    <a:pt x="4799" y="1350"/>
                    <a:pt x="4458" y="1350"/>
                  </a:cubicBezTo>
                  <a:lnTo>
                    <a:pt x="617" y="1350"/>
                  </a:lnTo>
                  <a:cubicBezTo>
                    <a:pt x="276" y="1350"/>
                    <a:pt x="0" y="1074"/>
                    <a:pt x="0" y="733"/>
                  </a:cubicBezTo>
                  <a:lnTo>
                    <a:pt x="0" y="617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1" name="Freeform: Shape 2890">
              <a:extLst>
                <a:ext uri="{FF2B5EF4-FFF2-40B4-BE49-F238E27FC236}">
                  <a16:creationId xmlns:a16="http://schemas.microsoft.com/office/drawing/2014/main" id="{96B46AD6-1EA4-9222-C235-F81C5707A3EA}"/>
                </a:ext>
              </a:extLst>
            </p:cNvPr>
            <p:cNvSpPr/>
            <p:nvPr/>
          </p:nvSpPr>
          <p:spPr>
            <a:xfrm>
              <a:off x="9073358" y="3701948"/>
              <a:ext cx="5072" cy="1349"/>
            </a:xfrm>
            <a:custGeom>
              <a:avLst/>
              <a:gdLst>
                <a:gd name="connsiteX0" fmla="*/ 5073 w 5072"/>
                <a:gd name="connsiteY0" fmla="*/ 617 h 1349"/>
                <a:gd name="connsiteX1" fmla="*/ 4456 w 5072"/>
                <a:gd name="connsiteY1" fmla="*/ 0 h 1349"/>
                <a:gd name="connsiteX2" fmla="*/ 617 w 5072"/>
                <a:gd name="connsiteY2" fmla="*/ 0 h 1349"/>
                <a:gd name="connsiteX3" fmla="*/ 0 w 5072"/>
                <a:gd name="connsiteY3" fmla="*/ 617 h 1349"/>
                <a:gd name="connsiteX4" fmla="*/ 0 w 5072"/>
                <a:gd name="connsiteY4" fmla="*/ 733 h 1349"/>
                <a:gd name="connsiteX5" fmla="*/ 617 w 5072"/>
                <a:gd name="connsiteY5" fmla="*/ 1350 h 1349"/>
                <a:gd name="connsiteX6" fmla="*/ 4456 w 5072"/>
                <a:gd name="connsiteY6" fmla="*/ 1350 h 1349"/>
                <a:gd name="connsiteX7" fmla="*/ 5073 w 5072"/>
                <a:gd name="connsiteY7" fmla="*/ 733 h 1349"/>
                <a:gd name="connsiteX8" fmla="*/ 5073 w 5072"/>
                <a:gd name="connsiteY8" fmla="*/ 617 h 1349"/>
                <a:gd name="connsiteX9" fmla="*/ 5073 w 5072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2" h="1349">
                  <a:moveTo>
                    <a:pt x="5073" y="617"/>
                  </a:moveTo>
                  <a:cubicBezTo>
                    <a:pt x="5073" y="276"/>
                    <a:pt x="4797" y="0"/>
                    <a:pt x="4456" y="0"/>
                  </a:cubicBezTo>
                  <a:lnTo>
                    <a:pt x="617" y="0"/>
                  </a:lnTo>
                  <a:cubicBezTo>
                    <a:pt x="276" y="0"/>
                    <a:pt x="0" y="276"/>
                    <a:pt x="0" y="617"/>
                  </a:cubicBezTo>
                  <a:lnTo>
                    <a:pt x="0" y="733"/>
                  </a:lnTo>
                  <a:cubicBezTo>
                    <a:pt x="0" y="1074"/>
                    <a:pt x="276" y="1350"/>
                    <a:pt x="617" y="1350"/>
                  </a:cubicBezTo>
                  <a:lnTo>
                    <a:pt x="4456" y="1350"/>
                  </a:lnTo>
                  <a:cubicBezTo>
                    <a:pt x="4797" y="1350"/>
                    <a:pt x="5073" y="1074"/>
                    <a:pt x="5073" y="733"/>
                  </a:cubicBezTo>
                  <a:lnTo>
                    <a:pt x="5073" y="617"/>
                  </a:lnTo>
                  <a:lnTo>
                    <a:pt x="5073" y="61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2" name="Freeform: Shape 2891">
              <a:extLst>
                <a:ext uri="{FF2B5EF4-FFF2-40B4-BE49-F238E27FC236}">
                  <a16:creationId xmlns:a16="http://schemas.microsoft.com/office/drawing/2014/main" id="{8E106250-E6FA-D7CC-48EF-78CCFB66D4C2}"/>
                </a:ext>
              </a:extLst>
            </p:cNvPr>
            <p:cNvSpPr/>
            <p:nvPr/>
          </p:nvSpPr>
          <p:spPr>
            <a:xfrm>
              <a:off x="9066693" y="3709023"/>
              <a:ext cx="5074" cy="1351"/>
            </a:xfrm>
            <a:custGeom>
              <a:avLst/>
              <a:gdLst>
                <a:gd name="connsiteX0" fmla="*/ 0 w 5074"/>
                <a:gd name="connsiteY0" fmla="*/ 676 h 1351"/>
                <a:gd name="connsiteX1" fmla="*/ 676 w 5074"/>
                <a:gd name="connsiteY1" fmla="*/ 0 h 1351"/>
                <a:gd name="connsiteX2" fmla="*/ 4399 w 5074"/>
                <a:gd name="connsiteY2" fmla="*/ 0 h 1351"/>
                <a:gd name="connsiteX3" fmla="*/ 5075 w 5074"/>
                <a:gd name="connsiteY3" fmla="*/ 676 h 1351"/>
                <a:gd name="connsiteX4" fmla="*/ 4399 w 5074"/>
                <a:gd name="connsiteY4" fmla="*/ 1352 h 1351"/>
                <a:gd name="connsiteX5" fmla="*/ 676 w 5074"/>
                <a:gd name="connsiteY5" fmla="*/ 1352 h 1351"/>
                <a:gd name="connsiteX6" fmla="*/ 0 w 5074"/>
                <a:gd name="connsiteY6" fmla="*/ 676 h 1351"/>
                <a:gd name="connsiteX7" fmla="*/ 0 w 5074"/>
                <a:gd name="connsiteY7" fmla="*/ 676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51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4399" y="0"/>
                  </a:lnTo>
                  <a:cubicBezTo>
                    <a:pt x="4772" y="0"/>
                    <a:pt x="5075" y="303"/>
                    <a:pt x="5075" y="676"/>
                  </a:cubicBezTo>
                  <a:cubicBezTo>
                    <a:pt x="5075" y="1049"/>
                    <a:pt x="4772" y="1352"/>
                    <a:pt x="4399" y="1352"/>
                  </a:cubicBezTo>
                  <a:lnTo>
                    <a:pt x="676" y="1352"/>
                  </a:lnTo>
                  <a:cubicBezTo>
                    <a:pt x="303" y="1352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3" name="Freeform: Shape 2892">
              <a:extLst>
                <a:ext uri="{FF2B5EF4-FFF2-40B4-BE49-F238E27FC236}">
                  <a16:creationId xmlns:a16="http://schemas.microsoft.com/office/drawing/2014/main" id="{EB4458C9-FB8B-3309-5B98-0AD60C7F6F7F}"/>
                </a:ext>
              </a:extLst>
            </p:cNvPr>
            <p:cNvSpPr/>
            <p:nvPr/>
          </p:nvSpPr>
          <p:spPr>
            <a:xfrm>
              <a:off x="9063718" y="3705542"/>
              <a:ext cx="3396" cy="1349"/>
            </a:xfrm>
            <a:custGeom>
              <a:avLst/>
              <a:gdLst>
                <a:gd name="connsiteX0" fmla="*/ 0 w 3396"/>
                <a:gd name="connsiteY0" fmla="*/ 658 h 1349"/>
                <a:gd name="connsiteX1" fmla="*/ 658 w 3396"/>
                <a:gd name="connsiteY1" fmla="*/ 0 h 1349"/>
                <a:gd name="connsiteX2" fmla="*/ 2741 w 3396"/>
                <a:gd name="connsiteY2" fmla="*/ 0 h 1349"/>
                <a:gd name="connsiteX3" fmla="*/ 3397 w 3396"/>
                <a:gd name="connsiteY3" fmla="*/ 658 h 1349"/>
                <a:gd name="connsiteX4" fmla="*/ 3397 w 3396"/>
                <a:gd name="connsiteY4" fmla="*/ 694 h 1349"/>
                <a:gd name="connsiteX5" fmla="*/ 2741 w 3396"/>
                <a:gd name="connsiteY5" fmla="*/ 1350 h 1349"/>
                <a:gd name="connsiteX6" fmla="*/ 658 w 3396"/>
                <a:gd name="connsiteY6" fmla="*/ 1350 h 1349"/>
                <a:gd name="connsiteX7" fmla="*/ 0 w 3396"/>
                <a:gd name="connsiteY7" fmla="*/ 694 h 1349"/>
                <a:gd name="connsiteX8" fmla="*/ 0 w 3396"/>
                <a:gd name="connsiteY8" fmla="*/ 658 h 1349"/>
                <a:gd name="connsiteX9" fmla="*/ 0 w 3396"/>
                <a:gd name="connsiteY9" fmla="*/ 658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6" h="1349">
                  <a:moveTo>
                    <a:pt x="0" y="658"/>
                  </a:moveTo>
                  <a:cubicBezTo>
                    <a:pt x="0" y="296"/>
                    <a:pt x="296" y="0"/>
                    <a:pt x="658" y="0"/>
                  </a:cubicBezTo>
                  <a:lnTo>
                    <a:pt x="2741" y="0"/>
                  </a:lnTo>
                  <a:cubicBezTo>
                    <a:pt x="3103" y="0"/>
                    <a:pt x="3397" y="296"/>
                    <a:pt x="3397" y="658"/>
                  </a:cubicBezTo>
                  <a:lnTo>
                    <a:pt x="3397" y="694"/>
                  </a:lnTo>
                  <a:cubicBezTo>
                    <a:pt x="3397" y="1056"/>
                    <a:pt x="3103" y="1350"/>
                    <a:pt x="2741" y="1350"/>
                  </a:cubicBezTo>
                  <a:lnTo>
                    <a:pt x="658" y="1350"/>
                  </a:lnTo>
                  <a:cubicBezTo>
                    <a:pt x="296" y="1350"/>
                    <a:pt x="0" y="1056"/>
                    <a:pt x="0" y="694"/>
                  </a:cubicBezTo>
                  <a:lnTo>
                    <a:pt x="0" y="658"/>
                  </a:lnTo>
                  <a:lnTo>
                    <a:pt x="0" y="658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4" name="Freeform: Shape 2893">
              <a:extLst>
                <a:ext uri="{FF2B5EF4-FFF2-40B4-BE49-F238E27FC236}">
                  <a16:creationId xmlns:a16="http://schemas.microsoft.com/office/drawing/2014/main" id="{9D1A54D9-B575-F4C8-1EA2-E53BA03F5928}"/>
                </a:ext>
              </a:extLst>
            </p:cNvPr>
            <p:cNvSpPr/>
            <p:nvPr/>
          </p:nvSpPr>
          <p:spPr>
            <a:xfrm>
              <a:off x="9082426" y="3705542"/>
              <a:ext cx="2421" cy="1349"/>
            </a:xfrm>
            <a:custGeom>
              <a:avLst/>
              <a:gdLst>
                <a:gd name="connsiteX0" fmla="*/ 0 w 2421"/>
                <a:gd name="connsiteY0" fmla="*/ 602 h 1349"/>
                <a:gd name="connsiteX1" fmla="*/ 600 w 2421"/>
                <a:gd name="connsiteY1" fmla="*/ 0 h 1349"/>
                <a:gd name="connsiteX2" fmla="*/ 1821 w 2421"/>
                <a:gd name="connsiteY2" fmla="*/ 0 h 1349"/>
                <a:gd name="connsiteX3" fmla="*/ 2422 w 2421"/>
                <a:gd name="connsiteY3" fmla="*/ 602 h 1349"/>
                <a:gd name="connsiteX4" fmla="*/ 2422 w 2421"/>
                <a:gd name="connsiteY4" fmla="*/ 749 h 1349"/>
                <a:gd name="connsiteX5" fmla="*/ 1821 w 2421"/>
                <a:gd name="connsiteY5" fmla="*/ 1350 h 1349"/>
                <a:gd name="connsiteX6" fmla="*/ 600 w 2421"/>
                <a:gd name="connsiteY6" fmla="*/ 1350 h 1349"/>
                <a:gd name="connsiteX7" fmla="*/ 0 w 2421"/>
                <a:gd name="connsiteY7" fmla="*/ 749 h 1349"/>
                <a:gd name="connsiteX8" fmla="*/ 0 w 2421"/>
                <a:gd name="connsiteY8" fmla="*/ 602 h 1349"/>
                <a:gd name="connsiteX9" fmla="*/ 0 w 2421"/>
                <a:gd name="connsiteY9" fmla="*/ 602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1" h="1349">
                  <a:moveTo>
                    <a:pt x="0" y="602"/>
                  </a:moveTo>
                  <a:cubicBezTo>
                    <a:pt x="0" y="269"/>
                    <a:pt x="269" y="0"/>
                    <a:pt x="600" y="0"/>
                  </a:cubicBezTo>
                  <a:lnTo>
                    <a:pt x="1821" y="0"/>
                  </a:lnTo>
                  <a:cubicBezTo>
                    <a:pt x="2153" y="0"/>
                    <a:pt x="2422" y="269"/>
                    <a:pt x="2422" y="602"/>
                  </a:cubicBezTo>
                  <a:lnTo>
                    <a:pt x="2422" y="749"/>
                  </a:lnTo>
                  <a:cubicBezTo>
                    <a:pt x="2422" y="1081"/>
                    <a:pt x="2153" y="1350"/>
                    <a:pt x="1821" y="1350"/>
                  </a:cubicBezTo>
                  <a:lnTo>
                    <a:pt x="600" y="1350"/>
                  </a:lnTo>
                  <a:cubicBezTo>
                    <a:pt x="269" y="1350"/>
                    <a:pt x="0" y="1081"/>
                    <a:pt x="0" y="749"/>
                  </a:cubicBezTo>
                  <a:lnTo>
                    <a:pt x="0" y="602"/>
                  </a:lnTo>
                  <a:lnTo>
                    <a:pt x="0" y="602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5" name="Freeform: Shape 2894">
              <a:extLst>
                <a:ext uri="{FF2B5EF4-FFF2-40B4-BE49-F238E27FC236}">
                  <a16:creationId xmlns:a16="http://schemas.microsoft.com/office/drawing/2014/main" id="{FA2A2B09-3C88-E1F7-E24F-83A21297315A}"/>
                </a:ext>
              </a:extLst>
            </p:cNvPr>
            <p:cNvSpPr/>
            <p:nvPr/>
          </p:nvSpPr>
          <p:spPr>
            <a:xfrm>
              <a:off x="9063718" y="3709023"/>
              <a:ext cx="2423" cy="1351"/>
            </a:xfrm>
            <a:custGeom>
              <a:avLst/>
              <a:gdLst>
                <a:gd name="connsiteX0" fmla="*/ 0 w 2423"/>
                <a:gd name="connsiteY0" fmla="*/ 676 h 1351"/>
                <a:gd name="connsiteX1" fmla="*/ 676 w 2423"/>
                <a:gd name="connsiteY1" fmla="*/ 0 h 1351"/>
                <a:gd name="connsiteX2" fmla="*/ 1748 w 2423"/>
                <a:gd name="connsiteY2" fmla="*/ 0 h 1351"/>
                <a:gd name="connsiteX3" fmla="*/ 2423 w 2423"/>
                <a:gd name="connsiteY3" fmla="*/ 676 h 1351"/>
                <a:gd name="connsiteX4" fmla="*/ 1748 w 2423"/>
                <a:gd name="connsiteY4" fmla="*/ 1352 h 1351"/>
                <a:gd name="connsiteX5" fmla="*/ 676 w 2423"/>
                <a:gd name="connsiteY5" fmla="*/ 1352 h 1351"/>
                <a:gd name="connsiteX6" fmla="*/ 0 w 2423"/>
                <a:gd name="connsiteY6" fmla="*/ 676 h 1351"/>
                <a:gd name="connsiteX7" fmla="*/ 0 w 2423"/>
                <a:gd name="connsiteY7" fmla="*/ 676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3" h="1351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1748" y="0"/>
                  </a:lnTo>
                  <a:cubicBezTo>
                    <a:pt x="2121" y="0"/>
                    <a:pt x="2423" y="303"/>
                    <a:pt x="2423" y="676"/>
                  </a:cubicBezTo>
                  <a:cubicBezTo>
                    <a:pt x="2423" y="1049"/>
                    <a:pt x="2121" y="1352"/>
                    <a:pt x="1748" y="1352"/>
                  </a:cubicBezTo>
                  <a:lnTo>
                    <a:pt x="676" y="1352"/>
                  </a:lnTo>
                  <a:cubicBezTo>
                    <a:pt x="303" y="1352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6" name="Freeform: Shape 2895">
              <a:extLst>
                <a:ext uri="{FF2B5EF4-FFF2-40B4-BE49-F238E27FC236}">
                  <a16:creationId xmlns:a16="http://schemas.microsoft.com/office/drawing/2014/main" id="{EC1F777A-5490-CFA4-C3C7-80EF8340E1EC}"/>
                </a:ext>
              </a:extLst>
            </p:cNvPr>
            <p:cNvSpPr/>
            <p:nvPr/>
          </p:nvSpPr>
          <p:spPr>
            <a:xfrm>
              <a:off x="9068081" y="3705542"/>
              <a:ext cx="2783" cy="1349"/>
            </a:xfrm>
            <a:custGeom>
              <a:avLst/>
              <a:gdLst>
                <a:gd name="connsiteX0" fmla="*/ 0 w 2783"/>
                <a:gd name="connsiteY0" fmla="*/ 636 h 1349"/>
                <a:gd name="connsiteX1" fmla="*/ 635 w 2783"/>
                <a:gd name="connsiteY1" fmla="*/ 0 h 1349"/>
                <a:gd name="connsiteX2" fmla="*/ 2149 w 2783"/>
                <a:gd name="connsiteY2" fmla="*/ 0 h 1349"/>
                <a:gd name="connsiteX3" fmla="*/ 2784 w 2783"/>
                <a:gd name="connsiteY3" fmla="*/ 636 h 1349"/>
                <a:gd name="connsiteX4" fmla="*/ 2784 w 2783"/>
                <a:gd name="connsiteY4" fmla="*/ 715 h 1349"/>
                <a:gd name="connsiteX5" fmla="*/ 2149 w 2783"/>
                <a:gd name="connsiteY5" fmla="*/ 1350 h 1349"/>
                <a:gd name="connsiteX6" fmla="*/ 635 w 2783"/>
                <a:gd name="connsiteY6" fmla="*/ 1350 h 1349"/>
                <a:gd name="connsiteX7" fmla="*/ 0 w 2783"/>
                <a:gd name="connsiteY7" fmla="*/ 715 h 1349"/>
                <a:gd name="connsiteX8" fmla="*/ 0 w 2783"/>
                <a:gd name="connsiteY8" fmla="*/ 636 h 1349"/>
                <a:gd name="connsiteX9" fmla="*/ 0 w 2783"/>
                <a:gd name="connsiteY9" fmla="*/ 63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3" h="1349">
                  <a:moveTo>
                    <a:pt x="0" y="636"/>
                  </a:moveTo>
                  <a:cubicBezTo>
                    <a:pt x="0" y="285"/>
                    <a:pt x="283" y="0"/>
                    <a:pt x="635" y="0"/>
                  </a:cubicBezTo>
                  <a:lnTo>
                    <a:pt x="2149" y="0"/>
                  </a:lnTo>
                  <a:cubicBezTo>
                    <a:pt x="2499" y="0"/>
                    <a:pt x="2784" y="285"/>
                    <a:pt x="2784" y="636"/>
                  </a:cubicBezTo>
                  <a:lnTo>
                    <a:pt x="2784" y="715"/>
                  </a:lnTo>
                  <a:cubicBezTo>
                    <a:pt x="2784" y="1067"/>
                    <a:pt x="2499" y="1350"/>
                    <a:pt x="2149" y="1350"/>
                  </a:cubicBezTo>
                  <a:lnTo>
                    <a:pt x="635" y="1350"/>
                  </a:lnTo>
                  <a:cubicBezTo>
                    <a:pt x="283" y="1350"/>
                    <a:pt x="0" y="1067"/>
                    <a:pt x="0" y="715"/>
                  </a:cubicBezTo>
                  <a:lnTo>
                    <a:pt x="0" y="636"/>
                  </a:lnTo>
                  <a:lnTo>
                    <a:pt x="0" y="63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7" name="Freeform: Shape 2896">
              <a:extLst>
                <a:ext uri="{FF2B5EF4-FFF2-40B4-BE49-F238E27FC236}">
                  <a16:creationId xmlns:a16="http://schemas.microsoft.com/office/drawing/2014/main" id="{44017A0E-C039-6ED2-1124-B47A37C8A6F4}"/>
                </a:ext>
              </a:extLst>
            </p:cNvPr>
            <p:cNvSpPr/>
            <p:nvPr/>
          </p:nvSpPr>
          <p:spPr>
            <a:xfrm>
              <a:off x="9071368" y="3705542"/>
              <a:ext cx="2170" cy="1349"/>
            </a:xfrm>
            <a:custGeom>
              <a:avLst/>
              <a:gdLst>
                <a:gd name="connsiteX0" fmla="*/ 0 w 2170"/>
                <a:gd name="connsiteY0" fmla="*/ 627 h 1349"/>
                <a:gd name="connsiteX1" fmla="*/ 627 w 2170"/>
                <a:gd name="connsiteY1" fmla="*/ 0 h 1349"/>
                <a:gd name="connsiteX2" fmla="*/ 1543 w 2170"/>
                <a:gd name="connsiteY2" fmla="*/ 0 h 1349"/>
                <a:gd name="connsiteX3" fmla="*/ 2171 w 2170"/>
                <a:gd name="connsiteY3" fmla="*/ 627 h 1349"/>
                <a:gd name="connsiteX4" fmla="*/ 2171 w 2170"/>
                <a:gd name="connsiteY4" fmla="*/ 724 h 1349"/>
                <a:gd name="connsiteX5" fmla="*/ 1543 w 2170"/>
                <a:gd name="connsiteY5" fmla="*/ 1350 h 1349"/>
                <a:gd name="connsiteX6" fmla="*/ 627 w 2170"/>
                <a:gd name="connsiteY6" fmla="*/ 1350 h 1349"/>
                <a:gd name="connsiteX7" fmla="*/ 0 w 2170"/>
                <a:gd name="connsiteY7" fmla="*/ 724 h 1349"/>
                <a:gd name="connsiteX8" fmla="*/ 0 w 2170"/>
                <a:gd name="connsiteY8" fmla="*/ 627 h 1349"/>
                <a:gd name="connsiteX9" fmla="*/ 0 w 2170"/>
                <a:gd name="connsiteY9" fmla="*/ 62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0" h="1349">
                  <a:moveTo>
                    <a:pt x="0" y="627"/>
                  </a:moveTo>
                  <a:cubicBezTo>
                    <a:pt x="0" y="281"/>
                    <a:pt x="281" y="0"/>
                    <a:pt x="627" y="0"/>
                  </a:cubicBezTo>
                  <a:lnTo>
                    <a:pt x="1543" y="0"/>
                  </a:lnTo>
                  <a:cubicBezTo>
                    <a:pt x="1889" y="0"/>
                    <a:pt x="2171" y="281"/>
                    <a:pt x="2171" y="627"/>
                  </a:cubicBezTo>
                  <a:lnTo>
                    <a:pt x="2171" y="724"/>
                  </a:lnTo>
                  <a:cubicBezTo>
                    <a:pt x="2171" y="1070"/>
                    <a:pt x="1889" y="1350"/>
                    <a:pt x="1543" y="1350"/>
                  </a:cubicBezTo>
                  <a:lnTo>
                    <a:pt x="627" y="1350"/>
                  </a:lnTo>
                  <a:cubicBezTo>
                    <a:pt x="281" y="1350"/>
                    <a:pt x="0" y="1070"/>
                    <a:pt x="0" y="724"/>
                  </a:cubicBezTo>
                  <a:lnTo>
                    <a:pt x="0" y="627"/>
                  </a:lnTo>
                  <a:lnTo>
                    <a:pt x="0" y="62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8" name="Freeform: Shape 2897">
              <a:extLst>
                <a:ext uri="{FF2B5EF4-FFF2-40B4-BE49-F238E27FC236}">
                  <a16:creationId xmlns:a16="http://schemas.microsoft.com/office/drawing/2014/main" id="{DF040E18-DD7C-444E-7B1D-EC9E9DD42FED}"/>
                </a:ext>
              </a:extLst>
            </p:cNvPr>
            <p:cNvSpPr/>
            <p:nvPr/>
          </p:nvSpPr>
          <p:spPr>
            <a:xfrm>
              <a:off x="9073974" y="3705542"/>
              <a:ext cx="7431" cy="1349"/>
            </a:xfrm>
            <a:custGeom>
              <a:avLst/>
              <a:gdLst>
                <a:gd name="connsiteX0" fmla="*/ 0 w 7431"/>
                <a:gd name="connsiteY0" fmla="*/ 660 h 1349"/>
                <a:gd name="connsiteX1" fmla="*/ 660 w 7431"/>
                <a:gd name="connsiteY1" fmla="*/ 0 h 1349"/>
                <a:gd name="connsiteX2" fmla="*/ 6772 w 7431"/>
                <a:gd name="connsiteY2" fmla="*/ 0 h 1349"/>
                <a:gd name="connsiteX3" fmla="*/ 7432 w 7431"/>
                <a:gd name="connsiteY3" fmla="*/ 660 h 1349"/>
                <a:gd name="connsiteX4" fmla="*/ 7432 w 7431"/>
                <a:gd name="connsiteY4" fmla="*/ 690 h 1349"/>
                <a:gd name="connsiteX5" fmla="*/ 6772 w 7431"/>
                <a:gd name="connsiteY5" fmla="*/ 1350 h 1349"/>
                <a:gd name="connsiteX6" fmla="*/ 660 w 7431"/>
                <a:gd name="connsiteY6" fmla="*/ 1350 h 1349"/>
                <a:gd name="connsiteX7" fmla="*/ 0 w 7431"/>
                <a:gd name="connsiteY7" fmla="*/ 690 h 1349"/>
                <a:gd name="connsiteX8" fmla="*/ 0 w 7431"/>
                <a:gd name="connsiteY8" fmla="*/ 660 h 1349"/>
                <a:gd name="connsiteX9" fmla="*/ 0 w 7431"/>
                <a:gd name="connsiteY9" fmla="*/ 66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1" h="1349">
                  <a:moveTo>
                    <a:pt x="0" y="660"/>
                  </a:moveTo>
                  <a:cubicBezTo>
                    <a:pt x="0" y="296"/>
                    <a:pt x="296" y="0"/>
                    <a:pt x="660" y="0"/>
                  </a:cubicBezTo>
                  <a:lnTo>
                    <a:pt x="6772" y="0"/>
                  </a:lnTo>
                  <a:cubicBezTo>
                    <a:pt x="7136" y="0"/>
                    <a:pt x="7432" y="296"/>
                    <a:pt x="7432" y="660"/>
                  </a:cubicBezTo>
                  <a:lnTo>
                    <a:pt x="7432" y="690"/>
                  </a:lnTo>
                  <a:cubicBezTo>
                    <a:pt x="7432" y="1056"/>
                    <a:pt x="7136" y="1350"/>
                    <a:pt x="6772" y="1350"/>
                  </a:cubicBezTo>
                  <a:lnTo>
                    <a:pt x="660" y="1350"/>
                  </a:lnTo>
                  <a:cubicBezTo>
                    <a:pt x="296" y="1350"/>
                    <a:pt x="0" y="1056"/>
                    <a:pt x="0" y="690"/>
                  </a:cubicBezTo>
                  <a:lnTo>
                    <a:pt x="0" y="660"/>
                  </a:lnTo>
                  <a:lnTo>
                    <a:pt x="0" y="66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9" name="Freeform: Shape 2898">
              <a:extLst>
                <a:ext uri="{FF2B5EF4-FFF2-40B4-BE49-F238E27FC236}">
                  <a16:creationId xmlns:a16="http://schemas.microsoft.com/office/drawing/2014/main" id="{B9AE7CA6-07DF-B0D3-DD46-A52D46F72026}"/>
                </a:ext>
              </a:extLst>
            </p:cNvPr>
            <p:cNvSpPr/>
            <p:nvPr/>
          </p:nvSpPr>
          <p:spPr>
            <a:xfrm>
              <a:off x="9091055" y="3721115"/>
              <a:ext cx="9057" cy="1349"/>
            </a:xfrm>
            <a:custGeom>
              <a:avLst/>
              <a:gdLst>
                <a:gd name="connsiteX0" fmla="*/ 0 w 9057"/>
                <a:gd name="connsiteY0" fmla="*/ 629 h 1349"/>
                <a:gd name="connsiteX1" fmla="*/ 629 w 9057"/>
                <a:gd name="connsiteY1" fmla="*/ 0 h 1349"/>
                <a:gd name="connsiteX2" fmla="*/ 8428 w 9057"/>
                <a:gd name="connsiteY2" fmla="*/ 0 h 1349"/>
                <a:gd name="connsiteX3" fmla="*/ 9058 w 9057"/>
                <a:gd name="connsiteY3" fmla="*/ 629 h 1349"/>
                <a:gd name="connsiteX4" fmla="*/ 9058 w 9057"/>
                <a:gd name="connsiteY4" fmla="*/ 721 h 1349"/>
                <a:gd name="connsiteX5" fmla="*/ 8428 w 9057"/>
                <a:gd name="connsiteY5" fmla="*/ 1350 h 1349"/>
                <a:gd name="connsiteX6" fmla="*/ 629 w 9057"/>
                <a:gd name="connsiteY6" fmla="*/ 1350 h 1349"/>
                <a:gd name="connsiteX7" fmla="*/ 0 w 9057"/>
                <a:gd name="connsiteY7" fmla="*/ 721 h 1349"/>
                <a:gd name="connsiteX8" fmla="*/ 0 w 9057"/>
                <a:gd name="connsiteY8" fmla="*/ 629 h 1349"/>
                <a:gd name="connsiteX9" fmla="*/ 0 w 9057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7" h="1349">
                  <a:moveTo>
                    <a:pt x="0" y="629"/>
                  </a:moveTo>
                  <a:cubicBezTo>
                    <a:pt x="0" y="281"/>
                    <a:pt x="281" y="0"/>
                    <a:pt x="629" y="0"/>
                  </a:cubicBezTo>
                  <a:lnTo>
                    <a:pt x="8428" y="0"/>
                  </a:lnTo>
                  <a:cubicBezTo>
                    <a:pt x="8776" y="0"/>
                    <a:pt x="9058" y="281"/>
                    <a:pt x="9058" y="629"/>
                  </a:cubicBezTo>
                  <a:lnTo>
                    <a:pt x="9058" y="721"/>
                  </a:lnTo>
                  <a:cubicBezTo>
                    <a:pt x="9058" y="1068"/>
                    <a:pt x="8776" y="1350"/>
                    <a:pt x="8428" y="1350"/>
                  </a:cubicBezTo>
                  <a:lnTo>
                    <a:pt x="629" y="1350"/>
                  </a:lnTo>
                  <a:cubicBezTo>
                    <a:pt x="281" y="1350"/>
                    <a:pt x="0" y="1068"/>
                    <a:pt x="0" y="721"/>
                  </a:cubicBezTo>
                  <a:lnTo>
                    <a:pt x="0" y="629"/>
                  </a:lnTo>
                  <a:lnTo>
                    <a:pt x="0" y="629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0" name="Freeform: Shape 2899">
              <a:extLst>
                <a:ext uri="{FF2B5EF4-FFF2-40B4-BE49-F238E27FC236}">
                  <a16:creationId xmlns:a16="http://schemas.microsoft.com/office/drawing/2014/main" id="{5FBE4F78-4218-4409-DC18-061660DD1544}"/>
                </a:ext>
              </a:extLst>
            </p:cNvPr>
            <p:cNvSpPr/>
            <p:nvPr/>
          </p:nvSpPr>
          <p:spPr>
            <a:xfrm>
              <a:off x="9063718" y="3717593"/>
              <a:ext cx="9059" cy="1349"/>
            </a:xfrm>
            <a:custGeom>
              <a:avLst/>
              <a:gdLst>
                <a:gd name="connsiteX0" fmla="*/ 9059 w 9059"/>
                <a:gd name="connsiteY0" fmla="*/ 629 h 1349"/>
                <a:gd name="connsiteX1" fmla="*/ 8430 w 9059"/>
                <a:gd name="connsiteY1" fmla="*/ 0 h 1349"/>
                <a:gd name="connsiteX2" fmla="*/ 631 w 9059"/>
                <a:gd name="connsiteY2" fmla="*/ 0 h 1349"/>
                <a:gd name="connsiteX3" fmla="*/ 0 w 9059"/>
                <a:gd name="connsiteY3" fmla="*/ 629 h 1349"/>
                <a:gd name="connsiteX4" fmla="*/ 0 w 9059"/>
                <a:gd name="connsiteY4" fmla="*/ 721 h 1349"/>
                <a:gd name="connsiteX5" fmla="*/ 631 w 9059"/>
                <a:gd name="connsiteY5" fmla="*/ 1350 h 1349"/>
                <a:gd name="connsiteX6" fmla="*/ 8430 w 9059"/>
                <a:gd name="connsiteY6" fmla="*/ 1350 h 1349"/>
                <a:gd name="connsiteX7" fmla="*/ 9059 w 9059"/>
                <a:gd name="connsiteY7" fmla="*/ 721 h 1349"/>
                <a:gd name="connsiteX8" fmla="*/ 9059 w 9059"/>
                <a:gd name="connsiteY8" fmla="*/ 629 h 1349"/>
                <a:gd name="connsiteX9" fmla="*/ 9059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9059" y="629"/>
                  </a:moveTo>
                  <a:cubicBezTo>
                    <a:pt x="9059" y="281"/>
                    <a:pt x="8778" y="0"/>
                    <a:pt x="8430" y="0"/>
                  </a:cubicBezTo>
                  <a:lnTo>
                    <a:pt x="631" y="0"/>
                  </a:lnTo>
                  <a:cubicBezTo>
                    <a:pt x="283" y="0"/>
                    <a:pt x="0" y="281"/>
                    <a:pt x="0" y="629"/>
                  </a:cubicBezTo>
                  <a:lnTo>
                    <a:pt x="0" y="721"/>
                  </a:lnTo>
                  <a:cubicBezTo>
                    <a:pt x="0" y="1068"/>
                    <a:pt x="283" y="1350"/>
                    <a:pt x="631" y="1350"/>
                  </a:cubicBezTo>
                  <a:lnTo>
                    <a:pt x="8430" y="1350"/>
                  </a:lnTo>
                  <a:cubicBezTo>
                    <a:pt x="8778" y="1350"/>
                    <a:pt x="9059" y="1068"/>
                    <a:pt x="9059" y="721"/>
                  </a:cubicBezTo>
                  <a:lnTo>
                    <a:pt x="9059" y="629"/>
                  </a:lnTo>
                  <a:lnTo>
                    <a:pt x="9059" y="62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1" name="Freeform: Shape 2900">
              <a:extLst>
                <a:ext uri="{FF2B5EF4-FFF2-40B4-BE49-F238E27FC236}">
                  <a16:creationId xmlns:a16="http://schemas.microsoft.com/office/drawing/2014/main" id="{B7B7AC99-88F4-3986-F841-84605F9FD511}"/>
                </a:ext>
              </a:extLst>
            </p:cNvPr>
            <p:cNvSpPr/>
            <p:nvPr/>
          </p:nvSpPr>
          <p:spPr>
            <a:xfrm>
              <a:off x="9072347" y="3724596"/>
              <a:ext cx="9059" cy="1349"/>
            </a:xfrm>
            <a:custGeom>
              <a:avLst/>
              <a:gdLst>
                <a:gd name="connsiteX0" fmla="*/ 0 w 9059"/>
                <a:gd name="connsiteY0" fmla="*/ 674 h 1349"/>
                <a:gd name="connsiteX1" fmla="*/ 676 w 9059"/>
                <a:gd name="connsiteY1" fmla="*/ 0 h 1349"/>
                <a:gd name="connsiteX2" fmla="*/ 8385 w 9059"/>
                <a:gd name="connsiteY2" fmla="*/ 0 h 1349"/>
                <a:gd name="connsiteX3" fmla="*/ 9059 w 9059"/>
                <a:gd name="connsiteY3" fmla="*/ 674 h 1349"/>
                <a:gd name="connsiteX4" fmla="*/ 8385 w 9059"/>
                <a:gd name="connsiteY4" fmla="*/ 1350 h 1349"/>
                <a:gd name="connsiteX5" fmla="*/ 676 w 9059"/>
                <a:gd name="connsiteY5" fmla="*/ 1350 h 1349"/>
                <a:gd name="connsiteX6" fmla="*/ 0 w 9059"/>
                <a:gd name="connsiteY6" fmla="*/ 674 h 1349"/>
                <a:gd name="connsiteX7" fmla="*/ 0 w 9059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9" h="1349">
                  <a:moveTo>
                    <a:pt x="0" y="674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8385" y="0"/>
                  </a:lnTo>
                  <a:cubicBezTo>
                    <a:pt x="8758" y="0"/>
                    <a:pt x="9059" y="303"/>
                    <a:pt x="9059" y="674"/>
                  </a:cubicBezTo>
                  <a:cubicBezTo>
                    <a:pt x="9059" y="1045"/>
                    <a:pt x="8758" y="1350"/>
                    <a:pt x="8385" y="1350"/>
                  </a:cubicBezTo>
                  <a:lnTo>
                    <a:pt x="676" y="1350"/>
                  </a:lnTo>
                  <a:cubicBezTo>
                    <a:pt x="303" y="1350"/>
                    <a:pt x="0" y="1047"/>
                    <a:pt x="0" y="674"/>
                  </a:cubicBezTo>
                  <a:lnTo>
                    <a:pt x="0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2" name="Freeform: Shape 2901">
              <a:extLst>
                <a:ext uri="{FF2B5EF4-FFF2-40B4-BE49-F238E27FC236}">
                  <a16:creationId xmlns:a16="http://schemas.microsoft.com/office/drawing/2014/main" id="{04FE4A6B-ADC6-A075-C9AF-0864066E881A}"/>
                </a:ext>
              </a:extLst>
            </p:cNvPr>
            <p:cNvSpPr/>
            <p:nvPr/>
          </p:nvSpPr>
          <p:spPr>
            <a:xfrm>
              <a:off x="9085400" y="3721115"/>
              <a:ext cx="5074" cy="1349"/>
            </a:xfrm>
            <a:custGeom>
              <a:avLst/>
              <a:gdLst>
                <a:gd name="connsiteX0" fmla="*/ 0 w 5074"/>
                <a:gd name="connsiteY0" fmla="*/ 617 h 1349"/>
                <a:gd name="connsiteX1" fmla="*/ 617 w 5074"/>
                <a:gd name="connsiteY1" fmla="*/ 0 h 1349"/>
                <a:gd name="connsiteX2" fmla="*/ 4458 w 5074"/>
                <a:gd name="connsiteY2" fmla="*/ 0 h 1349"/>
                <a:gd name="connsiteX3" fmla="*/ 5075 w 5074"/>
                <a:gd name="connsiteY3" fmla="*/ 617 h 1349"/>
                <a:gd name="connsiteX4" fmla="*/ 5075 w 5074"/>
                <a:gd name="connsiteY4" fmla="*/ 733 h 1349"/>
                <a:gd name="connsiteX5" fmla="*/ 4458 w 5074"/>
                <a:gd name="connsiteY5" fmla="*/ 1350 h 1349"/>
                <a:gd name="connsiteX6" fmla="*/ 617 w 5074"/>
                <a:gd name="connsiteY6" fmla="*/ 1350 h 1349"/>
                <a:gd name="connsiteX7" fmla="*/ 0 w 5074"/>
                <a:gd name="connsiteY7" fmla="*/ 733 h 1349"/>
                <a:gd name="connsiteX8" fmla="*/ 0 w 5074"/>
                <a:gd name="connsiteY8" fmla="*/ 617 h 1349"/>
                <a:gd name="connsiteX9" fmla="*/ 0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0" y="617"/>
                  </a:moveTo>
                  <a:cubicBezTo>
                    <a:pt x="0" y="276"/>
                    <a:pt x="276" y="0"/>
                    <a:pt x="617" y="0"/>
                  </a:cubicBezTo>
                  <a:lnTo>
                    <a:pt x="4458" y="0"/>
                  </a:lnTo>
                  <a:cubicBezTo>
                    <a:pt x="4799" y="0"/>
                    <a:pt x="5075" y="276"/>
                    <a:pt x="5075" y="617"/>
                  </a:cubicBezTo>
                  <a:lnTo>
                    <a:pt x="5075" y="733"/>
                  </a:lnTo>
                  <a:cubicBezTo>
                    <a:pt x="5075" y="1074"/>
                    <a:pt x="4799" y="1350"/>
                    <a:pt x="4458" y="1350"/>
                  </a:cubicBezTo>
                  <a:lnTo>
                    <a:pt x="617" y="1350"/>
                  </a:lnTo>
                  <a:cubicBezTo>
                    <a:pt x="276" y="1350"/>
                    <a:pt x="0" y="1074"/>
                    <a:pt x="0" y="733"/>
                  </a:cubicBezTo>
                  <a:lnTo>
                    <a:pt x="0" y="617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3" name="Freeform: Shape 2902">
              <a:extLst>
                <a:ext uri="{FF2B5EF4-FFF2-40B4-BE49-F238E27FC236}">
                  <a16:creationId xmlns:a16="http://schemas.microsoft.com/office/drawing/2014/main" id="{5AFE67C2-B7A3-E584-7B8B-15F10694D2B9}"/>
                </a:ext>
              </a:extLst>
            </p:cNvPr>
            <p:cNvSpPr/>
            <p:nvPr/>
          </p:nvSpPr>
          <p:spPr>
            <a:xfrm>
              <a:off x="9073358" y="3717593"/>
              <a:ext cx="5072" cy="1349"/>
            </a:xfrm>
            <a:custGeom>
              <a:avLst/>
              <a:gdLst>
                <a:gd name="connsiteX0" fmla="*/ 5073 w 5072"/>
                <a:gd name="connsiteY0" fmla="*/ 617 h 1349"/>
                <a:gd name="connsiteX1" fmla="*/ 4456 w 5072"/>
                <a:gd name="connsiteY1" fmla="*/ 0 h 1349"/>
                <a:gd name="connsiteX2" fmla="*/ 617 w 5072"/>
                <a:gd name="connsiteY2" fmla="*/ 0 h 1349"/>
                <a:gd name="connsiteX3" fmla="*/ 0 w 5072"/>
                <a:gd name="connsiteY3" fmla="*/ 617 h 1349"/>
                <a:gd name="connsiteX4" fmla="*/ 0 w 5072"/>
                <a:gd name="connsiteY4" fmla="*/ 733 h 1349"/>
                <a:gd name="connsiteX5" fmla="*/ 617 w 5072"/>
                <a:gd name="connsiteY5" fmla="*/ 1350 h 1349"/>
                <a:gd name="connsiteX6" fmla="*/ 4456 w 5072"/>
                <a:gd name="connsiteY6" fmla="*/ 1350 h 1349"/>
                <a:gd name="connsiteX7" fmla="*/ 5073 w 5072"/>
                <a:gd name="connsiteY7" fmla="*/ 733 h 1349"/>
                <a:gd name="connsiteX8" fmla="*/ 5073 w 5072"/>
                <a:gd name="connsiteY8" fmla="*/ 617 h 1349"/>
                <a:gd name="connsiteX9" fmla="*/ 5073 w 5072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2" h="1349">
                  <a:moveTo>
                    <a:pt x="5073" y="617"/>
                  </a:moveTo>
                  <a:cubicBezTo>
                    <a:pt x="5073" y="276"/>
                    <a:pt x="4797" y="0"/>
                    <a:pt x="4456" y="0"/>
                  </a:cubicBezTo>
                  <a:lnTo>
                    <a:pt x="617" y="0"/>
                  </a:lnTo>
                  <a:cubicBezTo>
                    <a:pt x="276" y="0"/>
                    <a:pt x="0" y="276"/>
                    <a:pt x="0" y="617"/>
                  </a:cubicBezTo>
                  <a:lnTo>
                    <a:pt x="0" y="733"/>
                  </a:lnTo>
                  <a:cubicBezTo>
                    <a:pt x="0" y="1074"/>
                    <a:pt x="276" y="1350"/>
                    <a:pt x="617" y="1350"/>
                  </a:cubicBezTo>
                  <a:lnTo>
                    <a:pt x="4456" y="1350"/>
                  </a:lnTo>
                  <a:cubicBezTo>
                    <a:pt x="4797" y="1350"/>
                    <a:pt x="5073" y="1074"/>
                    <a:pt x="5073" y="733"/>
                  </a:cubicBezTo>
                  <a:lnTo>
                    <a:pt x="5073" y="617"/>
                  </a:lnTo>
                  <a:lnTo>
                    <a:pt x="5073" y="61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4" name="Freeform: Shape 2903">
              <a:extLst>
                <a:ext uri="{FF2B5EF4-FFF2-40B4-BE49-F238E27FC236}">
                  <a16:creationId xmlns:a16="http://schemas.microsoft.com/office/drawing/2014/main" id="{0D9A8CB8-35D9-161B-3620-7AB66972D3A2}"/>
                </a:ext>
              </a:extLst>
            </p:cNvPr>
            <p:cNvSpPr/>
            <p:nvPr/>
          </p:nvSpPr>
          <p:spPr>
            <a:xfrm>
              <a:off x="9066693" y="3724596"/>
              <a:ext cx="5074" cy="1349"/>
            </a:xfrm>
            <a:custGeom>
              <a:avLst/>
              <a:gdLst>
                <a:gd name="connsiteX0" fmla="*/ 0 w 5074"/>
                <a:gd name="connsiteY0" fmla="*/ 674 h 1349"/>
                <a:gd name="connsiteX1" fmla="*/ 676 w 5074"/>
                <a:gd name="connsiteY1" fmla="*/ 0 h 1349"/>
                <a:gd name="connsiteX2" fmla="*/ 4399 w 5074"/>
                <a:gd name="connsiteY2" fmla="*/ 0 h 1349"/>
                <a:gd name="connsiteX3" fmla="*/ 5075 w 5074"/>
                <a:gd name="connsiteY3" fmla="*/ 674 h 1349"/>
                <a:gd name="connsiteX4" fmla="*/ 4399 w 5074"/>
                <a:gd name="connsiteY4" fmla="*/ 1350 h 1349"/>
                <a:gd name="connsiteX5" fmla="*/ 676 w 5074"/>
                <a:gd name="connsiteY5" fmla="*/ 1350 h 1349"/>
                <a:gd name="connsiteX6" fmla="*/ 0 w 5074"/>
                <a:gd name="connsiteY6" fmla="*/ 674 h 1349"/>
                <a:gd name="connsiteX7" fmla="*/ 0 w 5074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0" y="674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4399" y="0"/>
                  </a:lnTo>
                  <a:cubicBezTo>
                    <a:pt x="4772" y="0"/>
                    <a:pt x="5075" y="303"/>
                    <a:pt x="5075" y="674"/>
                  </a:cubicBezTo>
                  <a:cubicBezTo>
                    <a:pt x="5075" y="1045"/>
                    <a:pt x="4772" y="1350"/>
                    <a:pt x="4399" y="1350"/>
                  </a:cubicBezTo>
                  <a:lnTo>
                    <a:pt x="676" y="1350"/>
                  </a:lnTo>
                  <a:cubicBezTo>
                    <a:pt x="303" y="1350"/>
                    <a:pt x="0" y="1047"/>
                    <a:pt x="0" y="674"/>
                  </a:cubicBezTo>
                  <a:lnTo>
                    <a:pt x="0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5" name="Freeform: Shape 2904">
              <a:extLst>
                <a:ext uri="{FF2B5EF4-FFF2-40B4-BE49-F238E27FC236}">
                  <a16:creationId xmlns:a16="http://schemas.microsoft.com/office/drawing/2014/main" id="{0920695E-07EC-4FCF-A3D2-7E013BC65701}"/>
                </a:ext>
              </a:extLst>
            </p:cNvPr>
            <p:cNvSpPr/>
            <p:nvPr/>
          </p:nvSpPr>
          <p:spPr>
            <a:xfrm>
              <a:off x="9082733" y="3724596"/>
              <a:ext cx="5074" cy="1349"/>
            </a:xfrm>
            <a:custGeom>
              <a:avLst/>
              <a:gdLst>
                <a:gd name="connsiteX0" fmla="*/ 0 w 5074"/>
                <a:gd name="connsiteY0" fmla="*/ 674 h 1349"/>
                <a:gd name="connsiteX1" fmla="*/ 676 w 5074"/>
                <a:gd name="connsiteY1" fmla="*/ 0 h 1349"/>
                <a:gd name="connsiteX2" fmla="*/ 4401 w 5074"/>
                <a:gd name="connsiteY2" fmla="*/ 0 h 1349"/>
                <a:gd name="connsiteX3" fmla="*/ 5075 w 5074"/>
                <a:gd name="connsiteY3" fmla="*/ 674 h 1349"/>
                <a:gd name="connsiteX4" fmla="*/ 4401 w 5074"/>
                <a:gd name="connsiteY4" fmla="*/ 1350 h 1349"/>
                <a:gd name="connsiteX5" fmla="*/ 676 w 5074"/>
                <a:gd name="connsiteY5" fmla="*/ 1350 h 1349"/>
                <a:gd name="connsiteX6" fmla="*/ 0 w 5074"/>
                <a:gd name="connsiteY6" fmla="*/ 674 h 1349"/>
                <a:gd name="connsiteX7" fmla="*/ 0 w 5074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0" y="674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4401" y="0"/>
                  </a:lnTo>
                  <a:cubicBezTo>
                    <a:pt x="4773" y="0"/>
                    <a:pt x="5075" y="303"/>
                    <a:pt x="5075" y="674"/>
                  </a:cubicBezTo>
                  <a:cubicBezTo>
                    <a:pt x="5075" y="1045"/>
                    <a:pt x="4773" y="1350"/>
                    <a:pt x="4401" y="1350"/>
                  </a:cubicBezTo>
                  <a:lnTo>
                    <a:pt x="676" y="1350"/>
                  </a:lnTo>
                  <a:cubicBezTo>
                    <a:pt x="303" y="1350"/>
                    <a:pt x="0" y="1047"/>
                    <a:pt x="0" y="674"/>
                  </a:cubicBezTo>
                  <a:lnTo>
                    <a:pt x="0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6" name="Freeform: Shape 2905">
              <a:extLst>
                <a:ext uri="{FF2B5EF4-FFF2-40B4-BE49-F238E27FC236}">
                  <a16:creationId xmlns:a16="http://schemas.microsoft.com/office/drawing/2014/main" id="{A06E8974-888A-3A32-B609-9872EE8340E6}"/>
                </a:ext>
              </a:extLst>
            </p:cNvPr>
            <p:cNvSpPr/>
            <p:nvPr/>
          </p:nvSpPr>
          <p:spPr>
            <a:xfrm>
              <a:off x="9063718" y="3721115"/>
              <a:ext cx="3396" cy="1349"/>
            </a:xfrm>
            <a:custGeom>
              <a:avLst/>
              <a:gdLst>
                <a:gd name="connsiteX0" fmla="*/ 0 w 3396"/>
                <a:gd name="connsiteY0" fmla="*/ 656 h 1349"/>
                <a:gd name="connsiteX1" fmla="*/ 658 w 3396"/>
                <a:gd name="connsiteY1" fmla="*/ 0 h 1349"/>
                <a:gd name="connsiteX2" fmla="*/ 2741 w 3396"/>
                <a:gd name="connsiteY2" fmla="*/ 0 h 1349"/>
                <a:gd name="connsiteX3" fmla="*/ 3397 w 3396"/>
                <a:gd name="connsiteY3" fmla="*/ 656 h 1349"/>
                <a:gd name="connsiteX4" fmla="*/ 3397 w 3396"/>
                <a:gd name="connsiteY4" fmla="*/ 692 h 1349"/>
                <a:gd name="connsiteX5" fmla="*/ 2741 w 3396"/>
                <a:gd name="connsiteY5" fmla="*/ 1350 h 1349"/>
                <a:gd name="connsiteX6" fmla="*/ 658 w 3396"/>
                <a:gd name="connsiteY6" fmla="*/ 1350 h 1349"/>
                <a:gd name="connsiteX7" fmla="*/ 0 w 3396"/>
                <a:gd name="connsiteY7" fmla="*/ 692 h 1349"/>
                <a:gd name="connsiteX8" fmla="*/ 0 w 3396"/>
                <a:gd name="connsiteY8" fmla="*/ 656 h 1349"/>
                <a:gd name="connsiteX9" fmla="*/ 0 w 3396"/>
                <a:gd name="connsiteY9" fmla="*/ 65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6" h="1349">
                  <a:moveTo>
                    <a:pt x="0" y="656"/>
                  </a:moveTo>
                  <a:cubicBezTo>
                    <a:pt x="0" y="294"/>
                    <a:pt x="296" y="0"/>
                    <a:pt x="658" y="0"/>
                  </a:cubicBezTo>
                  <a:lnTo>
                    <a:pt x="2741" y="0"/>
                  </a:lnTo>
                  <a:cubicBezTo>
                    <a:pt x="3103" y="0"/>
                    <a:pt x="3397" y="294"/>
                    <a:pt x="3397" y="656"/>
                  </a:cubicBezTo>
                  <a:lnTo>
                    <a:pt x="3397" y="692"/>
                  </a:lnTo>
                  <a:cubicBezTo>
                    <a:pt x="3397" y="1056"/>
                    <a:pt x="3103" y="1350"/>
                    <a:pt x="2741" y="1350"/>
                  </a:cubicBezTo>
                  <a:lnTo>
                    <a:pt x="658" y="1350"/>
                  </a:lnTo>
                  <a:cubicBezTo>
                    <a:pt x="296" y="1350"/>
                    <a:pt x="0" y="1056"/>
                    <a:pt x="0" y="692"/>
                  </a:cubicBezTo>
                  <a:lnTo>
                    <a:pt x="0" y="656"/>
                  </a:lnTo>
                  <a:lnTo>
                    <a:pt x="0" y="65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7" name="Freeform: Shape 2906">
              <a:extLst>
                <a:ext uri="{FF2B5EF4-FFF2-40B4-BE49-F238E27FC236}">
                  <a16:creationId xmlns:a16="http://schemas.microsoft.com/office/drawing/2014/main" id="{AC5C5BE4-8EB2-E2D2-FEE2-55B16D082166}"/>
                </a:ext>
              </a:extLst>
            </p:cNvPr>
            <p:cNvSpPr/>
            <p:nvPr/>
          </p:nvSpPr>
          <p:spPr>
            <a:xfrm>
              <a:off x="9082426" y="3721115"/>
              <a:ext cx="2421" cy="1349"/>
            </a:xfrm>
            <a:custGeom>
              <a:avLst/>
              <a:gdLst>
                <a:gd name="connsiteX0" fmla="*/ 0 w 2421"/>
                <a:gd name="connsiteY0" fmla="*/ 600 h 1349"/>
                <a:gd name="connsiteX1" fmla="*/ 600 w 2421"/>
                <a:gd name="connsiteY1" fmla="*/ 0 h 1349"/>
                <a:gd name="connsiteX2" fmla="*/ 1821 w 2421"/>
                <a:gd name="connsiteY2" fmla="*/ 0 h 1349"/>
                <a:gd name="connsiteX3" fmla="*/ 2422 w 2421"/>
                <a:gd name="connsiteY3" fmla="*/ 600 h 1349"/>
                <a:gd name="connsiteX4" fmla="*/ 2422 w 2421"/>
                <a:gd name="connsiteY4" fmla="*/ 749 h 1349"/>
                <a:gd name="connsiteX5" fmla="*/ 1821 w 2421"/>
                <a:gd name="connsiteY5" fmla="*/ 1350 h 1349"/>
                <a:gd name="connsiteX6" fmla="*/ 600 w 2421"/>
                <a:gd name="connsiteY6" fmla="*/ 1350 h 1349"/>
                <a:gd name="connsiteX7" fmla="*/ 0 w 2421"/>
                <a:gd name="connsiteY7" fmla="*/ 749 h 1349"/>
                <a:gd name="connsiteX8" fmla="*/ 0 w 2421"/>
                <a:gd name="connsiteY8" fmla="*/ 600 h 1349"/>
                <a:gd name="connsiteX9" fmla="*/ 0 w 2421"/>
                <a:gd name="connsiteY9" fmla="*/ 60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1" h="1349">
                  <a:moveTo>
                    <a:pt x="0" y="600"/>
                  </a:moveTo>
                  <a:cubicBezTo>
                    <a:pt x="0" y="269"/>
                    <a:pt x="269" y="0"/>
                    <a:pt x="600" y="0"/>
                  </a:cubicBezTo>
                  <a:lnTo>
                    <a:pt x="1821" y="0"/>
                  </a:lnTo>
                  <a:cubicBezTo>
                    <a:pt x="2153" y="0"/>
                    <a:pt x="2422" y="269"/>
                    <a:pt x="2422" y="600"/>
                  </a:cubicBezTo>
                  <a:lnTo>
                    <a:pt x="2422" y="749"/>
                  </a:lnTo>
                  <a:cubicBezTo>
                    <a:pt x="2422" y="1081"/>
                    <a:pt x="2153" y="1350"/>
                    <a:pt x="1821" y="1350"/>
                  </a:cubicBezTo>
                  <a:lnTo>
                    <a:pt x="600" y="1350"/>
                  </a:lnTo>
                  <a:cubicBezTo>
                    <a:pt x="269" y="1350"/>
                    <a:pt x="0" y="1081"/>
                    <a:pt x="0" y="749"/>
                  </a:cubicBezTo>
                  <a:lnTo>
                    <a:pt x="0" y="600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8" name="Freeform: Shape 2907">
              <a:extLst>
                <a:ext uri="{FF2B5EF4-FFF2-40B4-BE49-F238E27FC236}">
                  <a16:creationId xmlns:a16="http://schemas.microsoft.com/office/drawing/2014/main" id="{84D46982-ECC0-46B5-4298-E8FC694050AA}"/>
                </a:ext>
              </a:extLst>
            </p:cNvPr>
            <p:cNvSpPr/>
            <p:nvPr/>
          </p:nvSpPr>
          <p:spPr>
            <a:xfrm>
              <a:off x="9078984" y="3717593"/>
              <a:ext cx="2421" cy="1349"/>
            </a:xfrm>
            <a:custGeom>
              <a:avLst/>
              <a:gdLst>
                <a:gd name="connsiteX0" fmla="*/ 2422 w 2421"/>
                <a:gd name="connsiteY0" fmla="*/ 600 h 1349"/>
                <a:gd name="connsiteX1" fmla="*/ 1821 w 2421"/>
                <a:gd name="connsiteY1" fmla="*/ 0 h 1349"/>
                <a:gd name="connsiteX2" fmla="*/ 601 w 2421"/>
                <a:gd name="connsiteY2" fmla="*/ 0 h 1349"/>
                <a:gd name="connsiteX3" fmla="*/ 0 w 2421"/>
                <a:gd name="connsiteY3" fmla="*/ 600 h 1349"/>
                <a:gd name="connsiteX4" fmla="*/ 0 w 2421"/>
                <a:gd name="connsiteY4" fmla="*/ 749 h 1349"/>
                <a:gd name="connsiteX5" fmla="*/ 601 w 2421"/>
                <a:gd name="connsiteY5" fmla="*/ 1350 h 1349"/>
                <a:gd name="connsiteX6" fmla="*/ 1821 w 2421"/>
                <a:gd name="connsiteY6" fmla="*/ 1350 h 1349"/>
                <a:gd name="connsiteX7" fmla="*/ 2422 w 2421"/>
                <a:gd name="connsiteY7" fmla="*/ 749 h 1349"/>
                <a:gd name="connsiteX8" fmla="*/ 2422 w 2421"/>
                <a:gd name="connsiteY8" fmla="*/ 600 h 1349"/>
                <a:gd name="connsiteX9" fmla="*/ 2422 w 2421"/>
                <a:gd name="connsiteY9" fmla="*/ 60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1" h="1349">
                  <a:moveTo>
                    <a:pt x="2422" y="600"/>
                  </a:moveTo>
                  <a:cubicBezTo>
                    <a:pt x="2422" y="269"/>
                    <a:pt x="2153" y="0"/>
                    <a:pt x="1821" y="0"/>
                  </a:cubicBezTo>
                  <a:lnTo>
                    <a:pt x="601" y="0"/>
                  </a:lnTo>
                  <a:cubicBezTo>
                    <a:pt x="269" y="0"/>
                    <a:pt x="0" y="269"/>
                    <a:pt x="0" y="600"/>
                  </a:cubicBezTo>
                  <a:lnTo>
                    <a:pt x="0" y="749"/>
                  </a:lnTo>
                  <a:cubicBezTo>
                    <a:pt x="0" y="1081"/>
                    <a:pt x="269" y="1350"/>
                    <a:pt x="601" y="1350"/>
                  </a:cubicBezTo>
                  <a:lnTo>
                    <a:pt x="1821" y="1350"/>
                  </a:lnTo>
                  <a:cubicBezTo>
                    <a:pt x="2153" y="1350"/>
                    <a:pt x="2422" y="1081"/>
                    <a:pt x="2422" y="749"/>
                  </a:cubicBezTo>
                  <a:lnTo>
                    <a:pt x="2422" y="600"/>
                  </a:lnTo>
                  <a:lnTo>
                    <a:pt x="2422" y="600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9" name="Freeform: Shape 2908">
              <a:extLst>
                <a:ext uri="{FF2B5EF4-FFF2-40B4-BE49-F238E27FC236}">
                  <a16:creationId xmlns:a16="http://schemas.microsoft.com/office/drawing/2014/main" id="{1EF234C3-E2C4-6A41-0B67-81BDFF391ED7}"/>
                </a:ext>
              </a:extLst>
            </p:cNvPr>
            <p:cNvSpPr/>
            <p:nvPr/>
          </p:nvSpPr>
          <p:spPr>
            <a:xfrm>
              <a:off x="9063718" y="3724596"/>
              <a:ext cx="2423" cy="1349"/>
            </a:xfrm>
            <a:custGeom>
              <a:avLst/>
              <a:gdLst>
                <a:gd name="connsiteX0" fmla="*/ 0 w 2423"/>
                <a:gd name="connsiteY0" fmla="*/ 674 h 1349"/>
                <a:gd name="connsiteX1" fmla="*/ 676 w 2423"/>
                <a:gd name="connsiteY1" fmla="*/ 0 h 1349"/>
                <a:gd name="connsiteX2" fmla="*/ 1748 w 2423"/>
                <a:gd name="connsiteY2" fmla="*/ 0 h 1349"/>
                <a:gd name="connsiteX3" fmla="*/ 2423 w 2423"/>
                <a:gd name="connsiteY3" fmla="*/ 674 h 1349"/>
                <a:gd name="connsiteX4" fmla="*/ 1748 w 2423"/>
                <a:gd name="connsiteY4" fmla="*/ 1350 h 1349"/>
                <a:gd name="connsiteX5" fmla="*/ 676 w 2423"/>
                <a:gd name="connsiteY5" fmla="*/ 1350 h 1349"/>
                <a:gd name="connsiteX6" fmla="*/ 0 w 2423"/>
                <a:gd name="connsiteY6" fmla="*/ 674 h 1349"/>
                <a:gd name="connsiteX7" fmla="*/ 0 w 2423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3" h="1349">
                  <a:moveTo>
                    <a:pt x="0" y="674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1748" y="0"/>
                  </a:lnTo>
                  <a:cubicBezTo>
                    <a:pt x="2121" y="0"/>
                    <a:pt x="2423" y="303"/>
                    <a:pt x="2423" y="674"/>
                  </a:cubicBezTo>
                  <a:cubicBezTo>
                    <a:pt x="2423" y="1045"/>
                    <a:pt x="2121" y="1350"/>
                    <a:pt x="1748" y="1350"/>
                  </a:cubicBezTo>
                  <a:lnTo>
                    <a:pt x="676" y="1350"/>
                  </a:lnTo>
                  <a:cubicBezTo>
                    <a:pt x="303" y="1350"/>
                    <a:pt x="0" y="1047"/>
                    <a:pt x="0" y="674"/>
                  </a:cubicBezTo>
                  <a:lnTo>
                    <a:pt x="0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0" name="Freeform: Shape 2909">
              <a:extLst>
                <a:ext uri="{FF2B5EF4-FFF2-40B4-BE49-F238E27FC236}">
                  <a16:creationId xmlns:a16="http://schemas.microsoft.com/office/drawing/2014/main" id="{19C9CF28-49AE-25AA-7671-60CCB49B6905}"/>
                </a:ext>
              </a:extLst>
            </p:cNvPr>
            <p:cNvSpPr/>
            <p:nvPr/>
          </p:nvSpPr>
          <p:spPr>
            <a:xfrm>
              <a:off x="9068081" y="3721115"/>
              <a:ext cx="2783" cy="1349"/>
            </a:xfrm>
            <a:custGeom>
              <a:avLst/>
              <a:gdLst>
                <a:gd name="connsiteX0" fmla="*/ 0 w 2783"/>
                <a:gd name="connsiteY0" fmla="*/ 635 h 1349"/>
                <a:gd name="connsiteX1" fmla="*/ 635 w 2783"/>
                <a:gd name="connsiteY1" fmla="*/ 0 h 1349"/>
                <a:gd name="connsiteX2" fmla="*/ 2149 w 2783"/>
                <a:gd name="connsiteY2" fmla="*/ 0 h 1349"/>
                <a:gd name="connsiteX3" fmla="*/ 2784 w 2783"/>
                <a:gd name="connsiteY3" fmla="*/ 635 h 1349"/>
                <a:gd name="connsiteX4" fmla="*/ 2784 w 2783"/>
                <a:gd name="connsiteY4" fmla="*/ 715 h 1349"/>
                <a:gd name="connsiteX5" fmla="*/ 2149 w 2783"/>
                <a:gd name="connsiteY5" fmla="*/ 1350 h 1349"/>
                <a:gd name="connsiteX6" fmla="*/ 635 w 2783"/>
                <a:gd name="connsiteY6" fmla="*/ 1350 h 1349"/>
                <a:gd name="connsiteX7" fmla="*/ 0 w 2783"/>
                <a:gd name="connsiteY7" fmla="*/ 715 h 1349"/>
                <a:gd name="connsiteX8" fmla="*/ 0 w 2783"/>
                <a:gd name="connsiteY8" fmla="*/ 635 h 1349"/>
                <a:gd name="connsiteX9" fmla="*/ 0 w 2783"/>
                <a:gd name="connsiteY9" fmla="*/ 635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3" h="1349">
                  <a:moveTo>
                    <a:pt x="0" y="635"/>
                  </a:moveTo>
                  <a:cubicBezTo>
                    <a:pt x="0" y="283"/>
                    <a:pt x="283" y="0"/>
                    <a:pt x="635" y="0"/>
                  </a:cubicBezTo>
                  <a:lnTo>
                    <a:pt x="2149" y="0"/>
                  </a:lnTo>
                  <a:cubicBezTo>
                    <a:pt x="2499" y="0"/>
                    <a:pt x="2784" y="283"/>
                    <a:pt x="2784" y="635"/>
                  </a:cubicBezTo>
                  <a:lnTo>
                    <a:pt x="2784" y="715"/>
                  </a:lnTo>
                  <a:cubicBezTo>
                    <a:pt x="2784" y="1065"/>
                    <a:pt x="2499" y="1350"/>
                    <a:pt x="2149" y="1350"/>
                  </a:cubicBezTo>
                  <a:lnTo>
                    <a:pt x="635" y="1350"/>
                  </a:lnTo>
                  <a:cubicBezTo>
                    <a:pt x="283" y="1350"/>
                    <a:pt x="0" y="1065"/>
                    <a:pt x="0" y="715"/>
                  </a:cubicBezTo>
                  <a:lnTo>
                    <a:pt x="0" y="635"/>
                  </a:lnTo>
                  <a:lnTo>
                    <a:pt x="0" y="635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1" name="Freeform: Shape 2910">
              <a:extLst>
                <a:ext uri="{FF2B5EF4-FFF2-40B4-BE49-F238E27FC236}">
                  <a16:creationId xmlns:a16="http://schemas.microsoft.com/office/drawing/2014/main" id="{D37FC1AB-9C1E-6B7E-693A-772B4D6CA4F5}"/>
                </a:ext>
              </a:extLst>
            </p:cNvPr>
            <p:cNvSpPr/>
            <p:nvPr/>
          </p:nvSpPr>
          <p:spPr>
            <a:xfrm>
              <a:off x="9071368" y="3721115"/>
              <a:ext cx="2170" cy="1349"/>
            </a:xfrm>
            <a:custGeom>
              <a:avLst/>
              <a:gdLst>
                <a:gd name="connsiteX0" fmla="*/ 0 w 2170"/>
                <a:gd name="connsiteY0" fmla="*/ 627 h 1349"/>
                <a:gd name="connsiteX1" fmla="*/ 627 w 2170"/>
                <a:gd name="connsiteY1" fmla="*/ 0 h 1349"/>
                <a:gd name="connsiteX2" fmla="*/ 1543 w 2170"/>
                <a:gd name="connsiteY2" fmla="*/ 0 h 1349"/>
                <a:gd name="connsiteX3" fmla="*/ 2171 w 2170"/>
                <a:gd name="connsiteY3" fmla="*/ 627 h 1349"/>
                <a:gd name="connsiteX4" fmla="*/ 2171 w 2170"/>
                <a:gd name="connsiteY4" fmla="*/ 722 h 1349"/>
                <a:gd name="connsiteX5" fmla="*/ 1543 w 2170"/>
                <a:gd name="connsiteY5" fmla="*/ 1350 h 1349"/>
                <a:gd name="connsiteX6" fmla="*/ 627 w 2170"/>
                <a:gd name="connsiteY6" fmla="*/ 1350 h 1349"/>
                <a:gd name="connsiteX7" fmla="*/ 0 w 2170"/>
                <a:gd name="connsiteY7" fmla="*/ 722 h 1349"/>
                <a:gd name="connsiteX8" fmla="*/ 0 w 2170"/>
                <a:gd name="connsiteY8" fmla="*/ 627 h 1349"/>
                <a:gd name="connsiteX9" fmla="*/ 0 w 2170"/>
                <a:gd name="connsiteY9" fmla="*/ 62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0" h="1349">
                  <a:moveTo>
                    <a:pt x="0" y="627"/>
                  </a:moveTo>
                  <a:cubicBezTo>
                    <a:pt x="0" y="280"/>
                    <a:pt x="281" y="0"/>
                    <a:pt x="627" y="0"/>
                  </a:cubicBezTo>
                  <a:lnTo>
                    <a:pt x="1543" y="0"/>
                  </a:lnTo>
                  <a:cubicBezTo>
                    <a:pt x="1889" y="0"/>
                    <a:pt x="2171" y="280"/>
                    <a:pt x="2171" y="627"/>
                  </a:cubicBezTo>
                  <a:lnTo>
                    <a:pt x="2171" y="722"/>
                  </a:lnTo>
                  <a:cubicBezTo>
                    <a:pt x="2171" y="1068"/>
                    <a:pt x="1889" y="1350"/>
                    <a:pt x="1543" y="1350"/>
                  </a:cubicBezTo>
                  <a:lnTo>
                    <a:pt x="627" y="1350"/>
                  </a:lnTo>
                  <a:cubicBezTo>
                    <a:pt x="281" y="1350"/>
                    <a:pt x="0" y="1068"/>
                    <a:pt x="0" y="722"/>
                  </a:cubicBezTo>
                  <a:lnTo>
                    <a:pt x="0" y="627"/>
                  </a:lnTo>
                  <a:lnTo>
                    <a:pt x="0" y="62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2" name="Freeform: Shape 2911">
              <a:extLst>
                <a:ext uri="{FF2B5EF4-FFF2-40B4-BE49-F238E27FC236}">
                  <a16:creationId xmlns:a16="http://schemas.microsoft.com/office/drawing/2014/main" id="{3CDC5FF2-69B7-0516-5FE1-3F35A20E3A14}"/>
                </a:ext>
              </a:extLst>
            </p:cNvPr>
            <p:cNvSpPr/>
            <p:nvPr/>
          </p:nvSpPr>
          <p:spPr>
            <a:xfrm>
              <a:off x="9073974" y="3721115"/>
              <a:ext cx="7431" cy="1349"/>
            </a:xfrm>
            <a:custGeom>
              <a:avLst/>
              <a:gdLst>
                <a:gd name="connsiteX0" fmla="*/ 0 w 7431"/>
                <a:gd name="connsiteY0" fmla="*/ 660 h 1349"/>
                <a:gd name="connsiteX1" fmla="*/ 660 w 7431"/>
                <a:gd name="connsiteY1" fmla="*/ 0 h 1349"/>
                <a:gd name="connsiteX2" fmla="*/ 6772 w 7431"/>
                <a:gd name="connsiteY2" fmla="*/ 0 h 1349"/>
                <a:gd name="connsiteX3" fmla="*/ 7432 w 7431"/>
                <a:gd name="connsiteY3" fmla="*/ 660 h 1349"/>
                <a:gd name="connsiteX4" fmla="*/ 7432 w 7431"/>
                <a:gd name="connsiteY4" fmla="*/ 690 h 1349"/>
                <a:gd name="connsiteX5" fmla="*/ 6772 w 7431"/>
                <a:gd name="connsiteY5" fmla="*/ 1350 h 1349"/>
                <a:gd name="connsiteX6" fmla="*/ 660 w 7431"/>
                <a:gd name="connsiteY6" fmla="*/ 1350 h 1349"/>
                <a:gd name="connsiteX7" fmla="*/ 0 w 7431"/>
                <a:gd name="connsiteY7" fmla="*/ 690 h 1349"/>
                <a:gd name="connsiteX8" fmla="*/ 0 w 7431"/>
                <a:gd name="connsiteY8" fmla="*/ 660 h 1349"/>
                <a:gd name="connsiteX9" fmla="*/ 0 w 7431"/>
                <a:gd name="connsiteY9" fmla="*/ 66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1" h="1349">
                  <a:moveTo>
                    <a:pt x="0" y="660"/>
                  </a:moveTo>
                  <a:cubicBezTo>
                    <a:pt x="0" y="296"/>
                    <a:pt x="296" y="0"/>
                    <a:pt x="660" y="0"/>
                  </a:cubicBezTo>
                  <a:lnTo>
                    <a:pt x="6772" y="0"/>
                  </a:lnTo>
                  <a:cubicBezTo>
                    <a:pt x="7136" y="0"/>
                    <a:pt x="7432" y="296"/>
                    <a:pt x="7432" y="660"/>
                  </a:cubicBezTo>
                  <a:lnTo>
                    <a:pt x="7432" y="690"/>
                  </a:lnTo>
                  <a:cubicBezTo>
                    <a:pt x="7432" y="1054"/>
                    <a:pt x="7136" y="1350"/>
                    <a:pt x="6772" y="1350"/>
                  </a:cubicBezTo>
                  <a:lnTo>
                    <a:pt x="660" y="1350"/>
                  </a:lnTo>
                  <a:cubicBezTo>
                    <a:pt x="296" y="1350"/>
                    <a:pt x="0" y="1054"/>
                    <a:pt x="0" y="690"/>
                  </a:cubicBezTo>
                  <a:lnTo>
                    <a:pt x="0" y="660"/>
                  </a:lnTo>
                  <a:lnTo>
                    <a:pt x="0" y="66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3" name="Freeform: Shape 2912">
              <a:extLst>
                <a:ext uri="{FF2B5EF4-FFF2-40B4-BE49-F238E27FC236}">
                  <a16:creationId xmlns:a16="http://schemas.microsoft.com/office/drawing/2014/main" id="{21F2FEDD-71F8-2A6A-021F-D9DD0C63EEB0}"/>
                </a:ext>
              </a:extLst>
            </p:cNvPr>
            <p:cNvSpPr/>
            <p:nvPr/>
          </p:nvSpPr>
          <p:spPr>
            <a:xfrm>
              <a:off x="9091055" y="3735909"/>
              <a:ext cx="9057" cy="1349"/>
            </a:xfrm>
            <a:custGeom>
              <a:avLst/>
              <a:gdLst>
                <a:gd name="connsiteX0" fmla="*/ 0 w 9057"/>
                <a:gd name="connsiteY0" fmla="*/ 631 h 1349"/>
                <a:gd name="connsiteX1" fmla="*/ 629 w 9057"/>
                <a:gd name="connsiteY1" fmla="*/ 0 h 1349"/>
                <a:gd name="connsiteX2" fmla="*/ 8428 w 9057"/>
                <a:gd name="connsiteY2" fmla="*/ 0 h 1349"/>
                <a:gd name="connsiteX3" fmla="*/ 9058 w 9057"/>
                <a:gd name="connsiteY3" fmla="*/ 631 h 1349"/>
                <a:gd name="connsiteX4" fmla="*/ 9058 w 9057"/>
                <a:gd name="connsiteY4" fmla="*/ 721 h 1349"/>
                <a:gd name="connsiteX5" fmla="*/ 8428 w 9057"/>
                <a:gd name="connsiteY5" fmla="*/ 1350 h 1349"/>
                <a:gd name="connsiteX6" fmla="*/ 629 w 9057"/>
                <a:gd name="connsiteY6" fmla="*/ 1350 h 1349"/>
                <a:gd name="connsiteX7" fmla="*/ 0 w 9057"/>
                <a:gd name="connsiteY7" fmla="*/ 721 h 1349"/>
                <a:gd name="connsiteX8" fmla="*/ 0 w 9057"/>
                <a:gd name="connsiteY8" fmla="*/ 631 h 1349"/>
                <a:gd name="connsiteX9" fmla="*/ 0 w 9057"/>
                <a:gd name="connsiteY9" fmla="*/ 631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7" h="1349">
                  <a:moveTo>
                    <a:pt x="0" y="631"/>
                  </a:moveTo>
                  <a:cubicBezTo>
                    <a:pt x="0" y="283"/>
                    <a:pt x="281" y="0"/>
                    <a:pt x="629" y="0"/>
                  </a:cubicBezTo>
                  <a:lnTo>
                    <a:pt x="8428" y="0"/>
                  </a:lnTo>
                  <a:cubicBezTo>
                    <a:pt x="8776" y="0"/>
                    <a:pt x="9058" y="283"/>
                    <a:pt x="9058" y="631"/>
                  </a:cubicBezTo>
                  <a:lnTo>
                    <a:pt x="9058" y="721"/>
                  </a:lnTo>
                  <a:cubicBezTo>
                    <a:pt x="9058" y="1068"/>
                    <a:pt x="8776" y="1350"/>
                    <a:pt x="8428" y="1350"/>
                  </a:cubicBezTo>
                  <a:lnTo>
                    <a:pt x="629" y="1350"/>
                  </a:lnTo>
                  <a:cubicBezTo>
                    <a:pt x="281" y="1350"/>
                    <a:pt x="0" y="1068"/>
                    <a:pt x="0" y="721"/>
                  </a:cubicBezTo>
                  <a:lnTo>
                    <a:pt x="0" y="631"/>
                  </a:lnTo>
                  <a:lnTo>
                    <a:pt x="0" y="631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4" name="Freeform: Shape 2913">
              <a:extLst>
                <a:ext uri="{FF2B5EF4-FFF2-40B4-BE49-F238E27FC236}">
                  <a16:creationId xmlns:a16="http://schemas.microsoft.com/office/drawing/2014/main" id="{726C22E2-EEE4-61D9-69C6-719C9F146315}"/>
                </a:ext>
              </a:extLst>
            </p:cNvPr>
            <p:cNvSpPr/>
            <p:nvPr/>
          </p:nvSpPr>
          <p:spPr>
            <a:xfrm>
              <a:off x="9063718" y="3732388"/>
              <a:ext cx="9059" cy="1349"/>
            </a:xfrm>
            <a:custGeom>
              <a:avLst/>
              <a:gdLst>
                <a:gd name="connsiteX0" fmla="*/ 9059 w 9059"/>
                <a:gd name="connsiteY0" fmla="*/ 629 h 1349"/>
                <a:gd name="connsiteX1" fmla="*/ 8430 w 9059"/>
                <a:gd name="connsiteY1" fmla="*/ 0 h 1349"/>
                <a:gd name="connsiteX2" fmla="*/ 631 w 9059"/>
                <a:gd name="connsiteY2" fmla="*/ 0 h 1349"/>
                <a:gd name="connsiteX3" fmla="*/ 0 w 9059"/>
                <a:gd name="connsiteY3" fmla="*/ 629 h 1349"/>
                <a:gd name="connsiteX4" fmla="*/ 0 w 9059"/>
                <a:gd name="connsiteY4" fmla="*/ 719 h 1349"/>
                <a:gd name="connsiteX5" fmla="*/ 631 w 9059"/>
                <a:gd name="connsiteY5" fmla="*/ 1350 h 1349"/>
                <a:gd name="connsiteX6" fmla="*/ 8430 w 9059"/>
                <a:gd name="connsiteY6" fmla="*/ 1350 h 1349"/>
                <a:gd name="connsiteX7" fmla="*/ 9059 w 9059"/>
                <a:gd name="connsiteY7" fmla="*/ 719 h 1349"/>
                <a:gd name="connsiteX8" fmla="*/ 9059 w 9059"/>
                <a:gd name="connsiteY8" fmla="*/ 629 h 1349"/>
                <a:gd name="connsiteX9" fmla="*/ 9059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9059" y="629"/>
                  </a:moveTo>
                  <a:cubicBezTo>
                    <a:pt x="9059" y="281"/>
                    <a:pt x="8778" y="0"/>
                    <a:pt x="8430" y="0"/>
                  </a:cubicBezTo>
                  <a:lnTo>
                    <a:pt x="631" y="0"/>
                  </a:lnTo>
                  <a:cubicBezTo>
                    <a:pt x="283" y="0"/>
                    <a:pt x="0" y="281"/>
                    <a:pt x="0" y="629"/>
                  </a:cubicBezTo>
                  <a:lnTo>
                    <a:pt x="0" y="719"/>
                  </a:lnTo>
                  <a:cubicBezTo>
                    <a:pt x="0" y="1067"/>
                    <a:pt x="283" y="1350"/>
                    <a:pt x="631" y="1350"/>
                  </a:cubicBezTo>
                  <a:lnTo>
                    <a:pt x="8430" y="1350"/>
                  </a:lnTo>
                  <a:cubicBezTo>
                    <a:pt x="8778" y="1350"/>
                    <a:pt x="9059" y="1067"/>
                    <a:pt x="9059" y="719"/>
                  </a:cubicBezTo>
                  <a:lnTo>
                    <a:pt x="9059" y="629"/>
                  </a:lnTo>
                  <a:lnTo>
                    <a:pt x="9059" y="62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5" name="Freeform: Shape 2914">
              <a:extLst>
                <a:ext uri="{FF2B5EF4-FFF2-40B4-BE49-F238E27FC236}">
                  <a16:creationId xmlns:a16="http://schemas.microsoft.com/office/drawing/2014/main" id="{DC946326-50D8-7061-9725-FCFDA0C1A2ED}"/>
                </a:ext>
              </a:extLst>
            </p:cNvPr>
            <p:cNvSpPr/>
            <p:nvPr/>
          </p:nvSpPr>
          <p:spPr>
            <a:xfrm>
              <a:off x="9072347" y="3739390"/>
              <a:ext cx="9059" cy="1351"/>
            </a:xfrm>
            <a:custGeom>
              <a:avLst/>
              <a:gdLst>
                <a:gd name="connsiteX0" fmla="*/ 0 w 9059"/>
                <a:gd name="connsiteY0" fmla="*/ 676 h 1351"/>
                <a:gd name="connsiteX1" fmla="*/ 676 w 9059"/>
                <a:gd name="connsiteY1" fmla="*/ 0 h 1351"/>
                <a:gd name="connsiteX2" fmla="*/ 8385 w 9059"/>
                <a:gd name="connsiteY2" fmla="*/ 0 h 1351"/>
                <a:gd name="connsiteX3" fmla="*/ 9059 w 9059"/>
                <a:gd name="connsiteY3" fmla="*/ 676 h 1351"/>
                <a:gd name="connsiteX4" fmla="*/ 8385 w 9059"/>
                <a:gd name="connsiteY4" fmla="*/ 1352 h 1351"/>
                <a:gd name="connsiteX5" fmla="*/ 676 w 9059"/>
                <a:gd name="connsiteY5" fmla="*/ 1352 h 1351"/>
                <a:gd name="connsiteX6" fmla="*/ 0 w 9059"/>
                <a:gd name="connsiteY6" fmla="*/ 676 h 1351"/>
                <a:gd name="connsiteX7" fmla="*/ 0 w 9059"/>
                <a:gd name="connsiteY7" fmla="*/ 676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9" h="1351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8385" y="0"/>
                  </a:lnTo>
                  <a:cubicBezTo>
                    <a:pt x="8758" y="0"/>
                    <a:pt x="9059" y="303"/>
                    <a:pt x="9059" y="676"/>
                  </a:cubicBezTo>
                  <a:cubicBezTo>
                    <a:pt x="9059" y="1049"/>
                    <a:pt x="8758" y="1352"/>
                    <a:pt x="8385" y="1352"/>
                  </a:cubicBezTo>
                  <a:lnTo>
                    <a:pt x="676" y="1352"/>
                  </a:lnTo>
                  <a:cubicBezTo>
                    <a:pt x="303" y="1352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6" name="Freeform: Shape 2915">
              <a:extLst>
                <a:ext uri="{FF2B5EF4-FFF2-40B4-BE49-F238E27FC236}">
                  <a16:creationId xmlns:a16="http://schemas.microsoft.com/office/drawing/2014/main" id="{E8998853-C05B-391E-C804-4E253C1CFC87}"/>
                </a:ext>
              </a:extLst>
            </p:cNvPr>
            <p:cNvSpPr/>
            <p:nvPr/>
          </p:nvSpPr>
          <p:spPr>
            <a:xfrm>
              <a:off x="9085400" y="3735909"/>
              <a:ext cx="5074" cy="1349"/>
            </a:xfrm>
            <a:custGeom>
              <a:avLst/>
              <a:gdLst>
                <a:gd name="connsiteX0" fmla="*/ 0 w 5074"/>
                <a:gd name="connsiteY0" fmla="*/ 617 h 1349"/>
                <a:gd name="connsiteX1" fmla="*/ 617 w 5074"/>
                <a:gd name="connsiteY1" fmla="*/ 0 h 1349"/>
                <a:gd name="connsiteX2" fmla="*/ 4458 w 5074"/>
                <a:gd name="connsiteY2" fmla="*/ 0 h 1349"/>
                <a:gd name="connsiteX3" fmla="*/ 5075 w 5074"/>
                <a:gd name="connsiteY3" fmla="*/ 617 h 1349"/>
                <a:gd name="connsiteX4" fmla="*/ 5075 w 5074"/>
                <a:gd name="connsiteY4" fmla="*/ 733 h 1349"/>
                <a:gd name="connsiteX5" fmla="*/ 4458 w 5074"/>
                <a:gd name="connsiteY5" fmla="*/ 1350 h 1349"/>
                <a:gd name="connsiteX6" fmla="*/ 617 w 5074"/>
                <a:gd name="connsiteY6" fmla="*/ 1350 h 1349"/>
                <a:gd name="connsiteX7" fmla="*/ 0 w 5074"/>
                <a:gd name="connsiteY7" fmla="*/ 733 h 1349"/>
                <a:gd name="connsiteX8" fmla="*/ 0 w 5074"/>
                <a:gd name="connsiteY8" fmla="*/ 617 h 1349"/>
                <a:gd name="connsiteX9" fmla="*/ 0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0" y="617"/>
                  </a:moveTo>
                  <a:cubicBezTo>
                    <a:pt x="0" y="276"/>
                    <a:pt x="276" y="0"/>
                    <a:pt x="617" y="0"/>
                  </a:cubicBezTo>
                  <a:lnTo>
                    <a:pt x="4458" y="0"/>
                  </a:lnTo>
                  <a:cubicBezTo>
                    <a:pt x="4799" y="0"/>
                    <a:pt x="5075" y="276"/>
                    <a:pt x="5075" y="617"/>
                  </a:cubicBezTo>
                  <a:lnTo>
                    <a:pt x="5075" y="733"/>
                  </a:lnTo>
                  <a:cubicBezTo>
                    <a:pt x="5075" y="1074"/>
                    <a:pt x="4799" y="1350"/>
                    <a:pt x="4458" y="1350"/>
                  </a:cubicBezTo>
                  <a:lnTo>
                    <a:pt x="617" y="1350"/>
                  </a:lnTo>
                  <a:cubicBezTo>
                    <a:pt x="276" y="1350"/>
                    <a:pt x="0" y="1074"/>
                    <a:pt x="0" y="733"/>
                  </a:cubicBezTo>
                  <a:lnTo>
                    <a:pt x="0" y="617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7" name="Freeform: Shape 2916">
              <a:extLst>
                <a:ext uri="{FF2B5EF4-FFF2-40B4-BE49-F238E27FC236}">
                  <a16:creationId xmlns:a16="http://schemas.microsoft.com/office/drawing/2014/main" id="{9D2E682F-F1ED-0EED-31C4-54E3B5CECF01}"/>
                </a:ext>
              </a:extLst>
            </p:cNvPr>
            <p:cNvSpPr/>
            <p:nvPr/>
          </p:nvSpPr>
          <p:spPr>
            <a:xfrm>
              <a:off x="9073358" y="3732388"/>
              <a:ext cx="5072" cy="1349"/>
            </a:xfrm>
            <a:custGeom>
              <a:avLst/>
              <a:gdLst>
                <a:gd name="connsiteX0" fmla="*/ 5073 w 5072"/>
                <a:gd name="connsiteY0" fmla="*/ 617 h 1349"/>
                <a:gd name="connsiteX1" fmla="*/ 4456 w 5072"/>
                <a:gd name="connsiteY1" fmla="*/ 0 h 1349"/>
                <a:gd name="connsiteX2" fmla="*/ 617 w 5072"/>
                <a:gd name="connsiteY2" fmla="*/ 0 h 1349"/>
                <a:gd name="connsiteX3" fmla="*/ 0 w 5072"/>
                <a:gd name="connsiteY3" fmla="*/ 617 h 1349"/>
                <a:gd name="connsiteX4" fmla="*/ 0 w 5072"/>
                <a:gd name="connsiteY4" fmla="*/ 733 h 1349"/>
                <a:gd name="connsiteX5" fmla="*/ 617 w 5072"/>
                <a:gd name="connsiteY5" fmla="*/ 1350 h 1349"/>
                <a:gd name="connsiteX6" fmla="*/ 4456 w 5072"/>
                <a:gd name="connsiteY6" fmla="*/ 1350 h 1349"/>
                <a:gd name="connsiteX7" fmla="*/ 5073 w 5072"/>
                <a:gd name="connsiteY7" fmla="*/ 733 h 1349"/>
                <a:gd name="connsiteX8" fmla="*/ 5073 w 5072"/>
                <a:gd name="connsiteY8" fmla="*/ 617 h 1349"/>
                <a:gd name="connsiteX9" fmla="*/ 5073 w 5072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2" h="1349">
                  <a:moveTo>
                    <a:pt x="5073" y="617"/>
                  </a:moveTo>
                  <a:cubicBezTo>
                    <a:pt x="5073" y="276"/>
                    <a:pt x="4797" y="0"/>
                    <a:pt x="4456" y="0"/>
                  </a:cubicBezTo>
                  <a:lnTo>
                    <a:pt x="617" y="0"/>
                  </a:lnTo>
                  <a:cubicBezTo>
                    <a:pt x="276" y="0"/>
                    <a:pt x="0" y="276"/>
                    <a:pt x="0" y="617"/>
                  </a:cubicBezTo>
                  <a:lnTo>
                    <a:pt x="0" y="733"/>
                  </a:lnTo>
                  <a:cubicBezTo>
                    <a:pt x="0" y="1074"/>
                    <a:pt x="276" y="1350"/>
                    <a:pt x="617" y="1350"/>
                  </a:cubicBezTo>
                  <a:lnTo>
                    <a:pt x="4456" y="1350"/>
                  </a:lnTo>
                  <a:cubicBezTo>
                    <a:pt x="4797" y="1350"/>
                    <a:pt x="5073" y="1074"/>
                    <a:pt x="5073" y="733"/>
                  </a:cubicBezTo>
                  <a:lnTo>
                    <a:pt x="5073" y="617"/>
                  </a:lnTo>
                  <a:lnTo>
                    <a:pt x="5073" y="61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8" name="Freeform: Shape 2917">
              <a:extLst>
                <a:ext uri="{FF2B5EF4-FFF2-40B4-BE49-F238E27FC236}">
                  <a16:creationId xmlns:a16="http://schemas.microsoft.com/office/drawing/2014/main" id="{5974259F-94DD-6E46-C5AF-F84AF8FA2E29}"/>
                </a:ext>
              </a:extLst>
            </p:cNvPr>
            <p:cNvSpPr/>
            <p:nvPr/>
          </p:nvSpPr>
          <p:spPr>
            <a:xfrm>
              <a:off x="9066693" y="3739390"/>
              <a:ext cx="5074" cy="1351"/>
            </a:xfrm>
            <a:custGeom>
              <a:avLst/>
              <a:gdLst>
                <a:gd name="connsiteX0" fmla="*/ 0 w 5074"/>
                <a:gd name="connsiteY0" fmla="*/ 676 h 1351"/>
                <a:gd name="connsiteX1" fmla="*/ 676 w 5074"/>
                <a:gd name="connsiteY1" fmla="*/ 0 h 1351"/>
                <a:gd name="connsiteX2" fmla="*/ 4399 w 5074"/>
                <a:gd name="connsiteY2" fmla="*/ 0 h 1351"/>
                <a:gd name="connsiteX3" fmla="*/ 5075 w 5074"/>
                <a:gd name="connsiteY3" fmla="*/ 676 h 1351"/>
                <a:gd name="connsiteX4" fmla="*/ 4399 w 5074"/>
                <a:gd name="connsiteY4" fmla="*/ 1352 h 1351"/>
                <a:gd name="connsiteX5" fmla="*/ 676 w 5074"/>
                <a:gd name="connsiteY5" fmla="*/ 1352 h 1351"/>
                <a:gd name="connsiteX6" fmla="*/ 0 w 5074"/>
                <a:gd name="connsiteY6" fmla="*/ 676 h 1351"/>
                <a:gd name="connsiteX7" fmla="*/ 0 w 5074"/>
                <a:gd name="connsiteY7" fmla="*/ 676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51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4399" y="0"/>
                  </a:lnTo>
                  <a:cubicBezTo>
                    <a:pt x="4772" y="0"/>
                    <a:pt x="5075" y="303"/>
                    <a:pt x="5075" y="676"/>
                  </a:cubicBezTo>
                  <a:cubicBezTo>
                    <a:pt x="5075" y="1049"/>
                    <a:pt x="4772" y="1352"/>
                    <a:pt x="4399" y="1352"/>
                  </a:cubicBezTo>
                  <a:lnTo>
                    <a:pt x="676" y="1352"/>
                  </a:lnTo>
                  <a:cubicBezTo>
                    <a:pt x="303" y="1352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9" name="Freeform: Shape 2918">
              <a:extLst>
                <a:ext uri="{FF2B5EF4-FFF2-40B4-BE49-F238E27FC236}">
                  <a16:creationId xmlns:a16="http://schemas.microsoft.com/office/drawing/2014/main" id="{0B8261CA-A99E-81AC-B6AF-9236B7094656}"/>
                </a:ext>
              </a:extLst>
            </p:cNvPr>
            <p:cNvSpPr/>
            <p:nvPr/>
          </p:nvSpPr>
          <p:spPr>
            <a:xfrm>
              <a:off x="9082733" y="3739390"/>
              <a:ext cx="5074" cy="1351"/>
            </a:xfrm>
            <a:custGeom>
              <a:avLst/>
              <a:gdLst>
                <a:gd name="connsiteX0" fmla="*/ 0 w 5074"/>
                <a:gd name="connsiteY0" fmla="*/ 676 h 1351"/>
                <a:gd name="connsiteX1" fmla="*/ 676 w 5074"/>
                <a:gd name="connsiteY1" fmla="*/ 0 h 1351"/>
                <a:gd name="connsiteX2" fmla="*/ 4401 w 5074"/>
                <a:gd name="connsiteY2" fmla="*/ 0 h 1351"/>
                <a:gd name="connsiteX3" fmla="*/ 5075 w 5074"/>
                <a:gd name="connsiteY3" fmla="*/ 676 h 1351"/>
                <a:gd name="connsiteX4" fmla="*/ 4401 w 5074"/>
                <a:gd name="connsiteY4" fmla="*/ 1352 h 1351"/>
                <a:gd name="connsiteX5" fmla="*/ 676 w 5074"/>
                <a:gd name="connsiteY5" fmla="*/ 1352 h 1351"/>
                <a:gd name="connsiteX6" fmla="*/ 0 w 5074"/>
                <a:gd name="connsiteY6" fmla="*/ 676 h 1351"/>
                <a:gd name="connsiteX7" fmla="*/ 0 w 5074"/>
                <a:gd name="connsiteY7" fmla="*/ 676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51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4401" y="0"/>
                  </a:lnTo>
                  <a:cubicBezTo>
                    <a:pt x="4773" y="0"/>
                    <a:pt x="5075" y="303"/>
                    <a:pt x="5075" y="676"/>
                  </a:cubicBezTo>
                  <a:cubicBezTo>
                    <a:pt x="5075" y="1049"/>
                    <a:pt x="4773" y="1352"/>
                    <a:pt x="4401" y="1352"/>
                  </a:cubicBezTo>
                  <a:lnTo>
                    <a:pt x="676" y="1352"/>
                  </a:lnTo>
                  <a:cubicBezTo>
                    <a:pt x="303" y="1352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0" name="Freeform: Shape 2919">
              <a:extLst>
                <a:ext uri="{FF2B5EF4-FFF2-40B4-BE49-F238E27FC236}">
                  <a16:creationId xmlns:a16="http://schemas.microsoft.com/office/drawing/2014/main" id="{A3CE277B-5121-9A65-CB68-C095FC83BD0E}"/>
                </a:ext>
              </a:extLst>
            </p:cNvPr>
            <p:cNvSpPr/>
            <p:nvPr/>
          </p:nvSpPr>
          <p:spPr>
            <a:xfrm>
              <a:off x="9063718" y="3735909"/>
              <a:ext cx="3396" cy="1349"/>
            </a:xfrm>
            <a:custGeom>
              <a:avLst/>
              <a:gdLst>
                <a:gd name="connsiteX0" fmla="*/ 0 w 3396"/>
                <a:gd name="connsiteY0" fmla="*/ 658 h 1349"/>
                <a:gd name="connsiteX1" fmla="*/ 658 w 3396"/>
                <a:gd name="connsiteY1" fmla="*/ 0 h 1349"/>
                <a:gd name="connsiteX2" fmla="*/ 2741 w 3396"/>
                <a:gd name="connsiteY2" fmla="*/ 0 h 1349"/>
                <a:gd name="connsiteX3" fmla="*/ 3397 w 3396"/>
                <a:gd name="connsiteY3" fmla="*/ 658 h 1349"/>
                <a:gd name="connsiteX4" fmla="*/ 3397 w 3396"/>
                <a:gd name="connsiteY4" fmla="*/ 694 h 1349"/>
                <a:gd name="connsiteX5" fmla="*/ 2741 w 3396"/>
                <a:gd name="connsiteY5" fmla="*/ 1350 h 1349"/>
                <a:gd name="connsiteX6" fmla="*/ 658 w 3396"/>
                <a:gd name="connsiteY6" fmla="*/ 1350 h 1349"/>
                <a:gd name="connsiteX7" fmla="*/ 0 w 3396"/>
                <a:gd name="connsiteY7" fmla="*/ 694 h 1349"/>
                <a:gd name="connsiteX8" fmla="*/ 0 w 3396"/>
                <a:gd name="connsiteY8" fmla="*/ 658 h 1349"/>
                <a:gd name="connsiteX9" fmla="*/ 0 w 3396"/>
                <a:gd name="connsiteY9" fmla="*/ 658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6" h="1349">
                  <a:moveTo>
                    <a:pt x="0" y="658"/>
                  </a:moveTo>
                  <a:cubicBezTo>
                    <a:pt x="0" y="294"/>
                    <a:pt x="296" y="0"/>
                    <a:pt x="658" y="0"/>
                  </a:cubicBezTo>
                  <a:lnTo>
                    <a:pt x="2741" y="0"/>
                  </a:lnTo>
                  <a:cubicBezTo>
                    <a:pt x="3103" y="0"/>
                    <a:pt x="3397" y="294"/>
                    <a:pt x="3397" y="658"/>
                  </a:cubicBezTo>
                  <a:lnTo>
                    <a:pt x="3397" y="694"/>
                  </a:lnTo>
                  <a:cubicBezTo>
                    <a:pt x="3397" y="1056"/>
                    <a:pt x="3103" y="1350"/>
                    <a:pt x="2741" y="1350"/>
                  </a:cubicBezTo>
                  <a:lnTo>
                    <a:pt x="658" y="1350"/>
                  </a:lnTo>
                  <a:cubicBezTo>
                    <a:pt x="296" y="1350"/>
                    <a:pt x="0" y="1056"/>
                    <a:pt x="0" y="694"/>
                  </a:cubicBezTo>
                  <a:lnTo>
                    <a:pt x="0" y="658"/>
                  </a:lnTo>
                  <a:lnTo>
                    <a:pt x="0" y="658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1" name="Freeform: Shape 2920">
              <a:extLst>
                <a:ext uri="{FF2B5EF4-FFF2-40B4-BE49-F238E27FC236}">
                  <a16:creationId xmlns:a16="http://schemas.microsoft.com/office/drawing/2014/main" id="{68E8C79B-7758-171E-AC45-3D737F7383A1}"/>
                </a:ext>
              </a:extLst>
            </p:cNvPr>
            <p:cNvSpPr/>
            <p:nvPr/>
          </p:nvSpPr>
          <p:spPr>
            <a:xfrm>
              <a:off x="9082426" y="3735909"/>
              <a:ext cx="2421" cy="1349"/>
            </a:xfrm>
            <a:custGeom>
              <a:avLst/>
              <a:gdLst>
                <a:gd name="connsiteX0" fmla="*/ 0 w 2421"/>
                <a:gd name="connsiteY0" fmla="*/ 602 h 1349"/>
                <a:gd name="connsiteX1" fmla="*/ 600 w 2421"/>
                <a:gd name="connsiteY1" fmla="*/ 0 h 1349"/>
                <a:gd name="connsiteX2" fmla="*/ 1821 w 2421"/>
                <a:gd name="connsiteY2" fmla="*/ 0 h 1349"/>
                <a:gd name="connsiteX3" fmla="*/ 2422 w 2421"/>
                <a:gd name="connsiteY3" fmla="*/ 602 h 1349"/>
                <a:gd name="connsiteX4" fmla="*/ 2422 w 2421"/>
                <a:gd name="connsiteY4" fmla="*/ 749 h 1349"/>
                <a:gd name="connsiteX5" fmla="*/ 1821 w 2421"/>
                <a:gd name="connsiteY5" fmla="*/ 1350 h 1349"/>
                <a:gd name="connsiteX6" fmla="*/ 600 w 2421"/>
                <a:gd name="connsiteY6" fmla="*/ 1350 h 1349"/>
                <a:gd name="connsiteX7" fmla="*/ 0 w 2421"/>
                <a:gd name="connsiteY7" fmla="*/ 749 h 1349"/>
                <a:gd name="connsiteX8" fmla="*/ 0 w 2421"/>
                <a:gd name="connsiteY8" fmla="*/ 602 h 1349"/>
                <a:gd name="connsiteX9" fmla="*/ 0 w 2421"/>
                <a:gd name="connsiteY9" fmla="*/ 602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1" h="1349">
                  <a:moveTo>
                    <a:pt x="0" y="602"/>
                  </a:moveTo>
                  <a:cubicBezTo>
                    <a:pt x="0" y="269"/>
                    <a:pt x="269" y="0"/>
                    <a:pt x="600" y="0"/>
                  </a:cubicBezTo>
                  <a:lnTo>
                    <a:pt x="1821" y="0"/>
                  </a:lnTo>
                  <a:cubicBezTo>
                    <a:pt x="2153" y="0"/>
                    <a:pt x="2422" y="269"/>
                    <a:pt x="2422" y="602"/>
                  </a:cubicBezTo>
                  <a:lnTo>
                    <a:pt x="2422" y="749"/>
                  </a:lnTo>
                  <a:cubicBezTo>
                    <a:pt x="2422" y="1081"/>
                    <a:pt x="2153" y="1350"/>
                    <a:pt x="1821" y="1350"/>
                  </a:cubicBezTo>
                  <a:lnTo>
                    <a:pt x="600" y="1350"/>
                  </a:lnTo>
                  <a:cubicBezTo>
                    <a:pt x="269" y="1350"/>
                    <a:pt x="0" y="1081"/>
                    <a:pt x="0" y="749"/>
                  </a:cubicBezTo>
                  <a:lnTo>
                    <a:pt x="0" y="602"/>
                  </a:lnTo>
                  <a:lnTo>
                    <a:pt x="0" y="602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2" name="Freeform: Shape 2921">
              <a:extLst>
                <a:ext uri="{FF2B5EF4-FFF2-40B4-BE49-F238E27FC236}">
                  <a16:creationId xmlns:a16="http://schemas.microsoft.com/office/drawing/2014/main" id="{409EB532-7058-139A-5F26-3A6D6845EB44}"/>
                </a:ext>
              </a:extLst>
            </p:cNvPr>
            <p:cNvSpPr/>
            <p:nvPr/>
          </p:nvSpPr>
          <p:spPr>
            <a:xfrm>
              <a:off x="9078984" y="3732388"/>
              <a:ext cx="2421" cy="1349"/>
            </a:xfrm>
            <a:custGeom>
              <a:avLst/>
              <a:gdLst>
                <a:gd name="connsiteX0" fmla="*/ 2422 w 2421"/>
                <a:gd name="connsiteY0" fmla="*/ 601 h 1349"/>
                <a:gd name="connsiteX1" fmla="*/ 1821 w 2421"/>
                <a:gd name="connsiteY1" fmla="*/ 0 h 1349"/>
                <a:gd name="connsiteX2" fmla="*/ 601 w 2421"/>
                <a:gd name="connsiteY2" fmla="*/ 0 h 1349"/>
                <a:gd name="connsiteX3" fmla="*/ 0 w 2421"/>
                <a:gd name="connsiteY3" fmla="*/ 601 h 1349"/>
                <a:gd name="connsiteX4" fmla="*/ 0 w 2421"/>
                <a:gd name="connsiteY4" fmla="*/ 747 h 1349"/>
                <a:gd name="connsiteX5" fmla="*/ 601 w 2421"/>
                <a:gd name="connsiteY5" fmla="*/ 1350 h 1349"/>
                <a:gd name="connsiteX6" fmla="*/ 1821 w 2421"/>
                <a:gd name="connsiteY6" fmla="*/ 1350 h 1349"/>
                <a:gd name="connsiteX7" fmla="*/ 2422 w 2421"/>
                <a:gd name="connsiteY7" fmla="*/ 747 h 1349"/>
                <a:gd name="connsiteX8" fmla="*/ 2422 w 2421"/>
                <a:gd name="connsiteY8" fmla="*/ 601 h 1349"/>
                <a:gd name="connsiteX9" fmla="*/ 2422 w 2421"/>
                <a:gd name="connsiteY9" fmla="*/ 601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1" h="1349">
                  <a:moveTo>
                    <a:pt x="2422" y="601"/>
                  </a:moveTo>
                  <a:cubicBezTo>
                    <a:pt x="2422" y="269"/>
                    <a:pt x="2153" y="0"/>
                    <a:pt x="1821" y="0"/>
                  </a:cubicBezTo>
                  <a:lnTo>
                    <a:pt x="601" y="0"/>
                  </a:lnTo>
                  <a:cubicBezTo>
                    <a:pt x="269" y="0"/>
                    <a:pt x="0" y="269"/>
                    <a:pt x="0" y="601"/>
                  </a:cubicBezTo>
                  <a:lnTo>
                    <a:pt x="0" y="747"/>
                  </a:lnTo>
                  <a:cubicBezTo>
                    <a:pt x="0" y="1079"/>
                    <a:pt x="269" y="1350"/>
                    <a:pt x="601" y="1350"/>
                  </a:cubicBezTo>
                  <a:lnTo>
                    <a:pt x="1821" y="1350"/>
                  </a:lnTo>
                  <a:cubicBezTo>
                    <a:pt x="2153" y="1350"/>
                    <a:pt x="2422" y="1079"/>
                    <a:pt x="2422" y="747"/>
                  </a:cubicBezTo>
                  <a:lnTo>
                    <a:pt x="2422" y="601"/>
                  </a:lnTo>
                  <a:lnTo>
                    <a:pt x="2422" y="601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3" name="Freeform: Shape 2922">
              <a:extLst>
                <a:ext uri="{FF2B5EF4-FFF2-40B4-BE49-F238E27FC236}">
                  <a16:creationId xmlns:a16="http://schemas.microsoft.com/office/drawing/2014/main" id="{5A024CB8-0FA7-8475-4422-B9C4B4C697DF}"/>
                </a:ext>
              </a:extLst>
            </p:cNvPr>
            <p:cNvSpPr/>
            <p:nvPr/>
          </p:nvSpPr>
          <p:spPr>
            <a:xfrm>
              <a:off x="9063718" y="3739390"/>
              <a:ext cx="2423" cy="1351"/>
            </a:xfrm>
            <a:custGeom>
              <a:avLst/>
              <a:gdLst>
                <a:gd name="connsiteX0" fmla="*/ 0 w 2423"/>
                <a:gd name="connsiteY0" fmla="*/ 676 h 1351"/>
                <a:gd name="connsiteX1" fmla="*/ 676 w 2423"/>
                <a:gd name="connsiteY1" fmla="*/ 0 h 1351"/>
                <a:gd name="connsiteX2" fmla="*/ 1748 w 2423"/>
                <a:gd name="connsiteY2" fmla="*/ 0 h 1351"/>
                <a:gd name="connsiteX3" fmla="*/ 2423 w 2423"/>
                <a:gd name="connsiteY3" fmla="*/ 676 h 1351"/>
                <a:gd name="connsiteX4" fmla="*/ 1748 w 2423"/>
                <a:gd name="connsiteY4" fmla="*/ 1352 h 1351"/>
                <a:gd name="connsiteX5" fmla="*/ 676 w 2423"/>
                <a:gd name="connsiteY5" fmla="*/ 1352 h 1351"/>
                <a:gd name="connsiteX6" fmla="*/ 0 w 2423"/>
                <a:gd name="connsiteY6" fmla="*/ 676 h 1351"/>
                <a:gd name="connsiteX7" fmla="*/ 0 w 2423"/>
                <a:gd name="connsiteY7" fmla="*/ 676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3" h="1351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1748" y="0"/>
                  </a:lnTo>
                  <a:cubicBezTo>
                    <a:pt x="2121" y="0"/>
                    <a:pt x="2423" y="303"/>
                    <a:pt x="2423" y="676"/>
                  </a:cubicBezTo>
                  <a:cubicBezTo>
                    <a:pt x="2423" y="1049"/>
                    <a:pt x="2121" y="1352"/>
                    <a:pt x="1748" y="1352"/>
                  </a:cubicBezTo>
                  <a:lnTo>
                    <a:pt x="676" y="1352"/>
                  </a:lnTo>
                  <a:cubicBezTo>
                    <a:pt x="303" y="1352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4" name="Freeform: Shape 2923">
              <a:extLst>
                <a:ext uri="{FF2B5EF4-FFF2-40B4-BE49-F238E27FC236}">
                  <a16:creationId xmlns:a16="http://schemas.microsoft.com/office/drawing/2014/main" id="{80411AFA-6C3B-DF52-76BB-0ED63AA8AD1F}"/>
                </a:ext>
              </a:extLst>
            </p:cNvPr>
            <p:cNvSpPr/>
            <p:nvPr/>
          </p:nvSpPr>
          <p:spPr>
            <a:xfrm>
              <a:off x="9088361" y="3739390"/>
              <a:ext cx="2421" cy="1351"/>
            </a:xfrm>
            <a:custGeom>
              <a:avLst/>
              <a:gdLst>
                <a:gd name="connsiteX0" fmla="*/ 0 w 2421"/>
                <a:gd name="connsiteY0" fmla="*/ 676 h 1351"/>
                <a:gd name="connsiteX1" fmla="*/ 674 w 2421"/>
                <a:gd name="connsiteY1" fmla="*/ 0 h 1351"/>
                <a:gd name="connsiteX2" fmla="*/ 1746 w 2421"/>
                <a:gd name="connsiteY2" fmla="*/ 0 h 1351"/>
                <a:gd name="connsiteX3" fmla="*/ 2422 w 2421"/>
                <a:gd name="connsiteY3" fmla="*/ 676 h 1351"/>
                <a:gd name="connsiteX4" fmla="*/ 1746 w 2421"/>
                <a:gd name="connsiteY4" fmla="*/ 1352 h 1351"/>
                <a:gd name="connsiteX5" fmla="*/ 674 w 2421"/>
                <a:gd name="connsiteY5" fmla="*/ 1352 h 1351"/>
                <a:gd name="connsiteX6" fmla="*/ 0 w 2421"/>
                <a:gd name="connsiteY6" fmla="*/ 676 h 1351"/>
                <a:gd name="connsiteX7" fmla="*/ 0 w 2421"/>
                <a:gd name="connsiteY7" fmla="*/ 676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1" h="1351">
                  <a:moveTo>
                    <a:pt x="0" y="676"/>
                  </a:moveTo>
                  <a:cubicBezTo>
                    <a:pt x="0" y="303"/>
                    <a:pt x="301" y="0"/>
                    <a:pt x="674" y="0"/>
                  </a:cubicBezTo>
                  <a:lnTo>
                    <a:pt x="1746" y="0"/>
                  </a:lnTo>
                  <a:cubicBezTo>
                    <a:pt x="2119" y="0"/>
                    <a:pt x="2422" y="303"/>
                    <a:pt x="2422" y="676"/>
                  </a:cubicBezTo>
                  <a:cubicBezTo>
                    <a:pt x="2422" y="1049"/>
                    <a:pt x="2119" y="1352"/>
                    <a:pt x="1746" y="1352"/>
                  </a:cubicBezTo>
                  <a:lnTo>
                    <a:pt x="674" y="1352"/>
                  </a:lnTo>
                  <a:cubicBezTo>
                    <a:pt x="301" y="1352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5" name="Freeform: Shape 2924">
              <a:extLst>
                <a:ext uri="{FF2B5EF4-FFF2-40B4-BE49-F238E27FC236}">
                  <a16:creationId xmlns:a16="http://schemas.microsoft.com/office/drawing/2014/main" id="{A4CC1F43-4F7A-20B9-8686-525B9F458C09}"/>
                </a:ext>
              </a:extLst>
            </p:cNvPr>
            <p:cNvSpPr/>
            <p:nvPr/>
          </p:nvSpPr>
          <p:spPr>
            <a:xfrm>
              <a:off x="9068081" y="3735909"/>
              <a:ext cx="2783" cy="1349"/>
            </a:xfrm>
            <a:custGeom>
              <a:avLst/>
              <a:gdLst>
                <a:gd name="connsiteX0" fmla="*/ 0 w 2783"/>
                <a:gd name="connsiteY0" fmla="*/ 636 h 1349"/>
                <a:gd name="connsiteX1" fmla="*/ 635 w 2783"/>
                <a:gd name="connsiteY1" fmla="*/ 0 h 1349"/>
                <a:gd name="connsiteX2" fmla="*/ 2149 w 2783"/>
                <a:gd name="connsiteY2" fmla="*/ 0 h 1349"/>
                <a:gd name="connsiteX3" fmla="*/ 2784 w 2783"/>
                <a:gd name="connsiteY3" fmla="*/ 636 h 1349"/>
                <a:gd name="connsiteX4" fmla="*/ 2784 w 2783"/>
                <a:gd name="connsiteY4" fmla="*/ 715 h 1349"/>
                <a:gd name="connsiteX5" fmla="*/ 2149 w 2783"/>
                <a:gd name="connsiteY5" fmla="*/ 1350 h 1349"/>
                <a:gd name="connsiteX6" fmla="*/ 635 w 2783"/>
                <a:gd name="connsiteY6" fmla="*/ 1350 h 1349"/>
                <a:gd name="connsiteX7" fmla="*/ 0 w 2783"/>
                <a:gd name="connsiteY7" fmla="*/ 715 h 1349"/>
                <a:gd name="connsiteX8" fmla="*/ 0 w 2783"/>
                <a:gd name="connsiteY8" fmla="*/ 636 h 1349"/>
                <a:gd name="connsiteX9" fmla="*/ 0 w 2783"/>
                <a:gd name="connsiteY9" fmla="*/ 63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3" h="1349">
                  <a:moveTo>
                    <a:pt x="0" y="636"/>
                  </a:moveTo>
                  <a:cubicBezTo>
                    <a:pt x="0" y="285"/>
                    <a:pt x="283" y="0"/>
                    <a:pt x="635" y="0"/>
                  </a:cubicBezTo>
                  <a:lnTo>
                    <a:pt x="2149" y="0"/>
                  </a:lnTo>
                  <a:cubicBezTo>
                    <a:pt x="2499" y="0"/>
                    <a:pt x="2784" y="285"/>
                    <a:pt x="2784" y="636"/>
                  </a:cubicBezTo>
                  <a:lnTo>
                    <a:pt x="2784" y="715"/>
                  </a:lnTo>
                  <a:cubicBezTo>
                    <a:pt x="2784" y="1067"/>
                    <a:pt x="2499" y="1350"/>
                    <a:pt x="2149" y="1350"/>
                  </a:cubicBezTo>
                  <a:lnTo>
                    <a:pt x="635" y="1350"/>
                  </a:lnTo>
                  <a:cubicBezTo>
                    <a:pt x="283" y="1350"/>
                    <a:pt x="0" y="1067"/>
                    <a:pt x="0" y="715"/>
                  </a:cubicBezTo>
                  <a:lnTo>
                    <a:pt x="0" y="636"/>
                  </a:lnTo>
                  <a:lnTo>
                    <a:pt x="0" y="63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6" name="Freeform: Shape 2925">
              <a:extLst>
                <a:ext uri="{FF2B5EF4-FFF2-40B4-BE49-F238E27FC236}">
                  <a16:creationId xmlns:a16="http://schemas.microsoft.com/office/drawing/2014/main" id="{46792699-0940-598E-7365-B5C387DDE66A}"/>
                </a:ext>
              </a:extLst>
            </p:cNvPr>
            <p:cNvSpPr/>
            <p:nvPr/>
          </p:nvSpPr>
          <p:spPr>
            <a:xfrm>
              <a:off x="9091469" y="3739390"/>
              <a:ext cx="2423" cy="1351"/>
            </a:xfrm>
            <a:custGeom>
              <a:avLst/>
              <a:gdLst>
                <a:gd name="connsiteX0" fmla="*/ 0 w 2423"/>
                <a:gd name="connsiteY0" fmla="*/ 676 h 1351"/>
                <a:gd name="connsiteX1" fmla="*/ 676 w 2423"/>
                <a:gd name="connsiteY1" fmla="*/ 0 h 1351"/>
                <a:gd name="connsiteX2" fmla="*/ 1748 w 2423"/>
                <a:gd name="connsiteY2" fmla="*/ 0 h 1351"/>
                <a:gd name="connsiteX3" fmla="*/ 2423 w 2423"/>
                <a:gd name="connsiteY3" fmla="*/ 676 h 1351"/>
                <a:gd name="connsiteX4" fmla="*/ 1748 w 2423"/>
                <a:gd name="connsiteY4" fmla="*/ 1352 h 1351"/>
                <a:gd name="connsiteX5" fmla="*/ 676 w 2423"/>
                <a:gd name="connsiteY5" fmla="*/ 1352 h 1351"/>
                <a:gd name="connsiteX6" fmla="*/ 0 w 2423"/>
                <a:gd name="connsiteY6" fmla="*/ 676 h 1351"/>
                <a:gd name="connsiteX7" fmla="*/ 0 w 2423"/>
                <a:gd name="connsiteY7" fmla="*/ 676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3" h="1351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1748" y="0"/>
                  </a:lnTo>
                  <a:cubicBezTo>
                    <a:pt x="2121" y="0"/>
                    <a:pt x="2423" y="303"/>
                    <a:pt x="2423" y="676"/>
                  </a:cubicBezTo>
                  <a:cubicBezTo>
                    <a:pt x="2423" y="1049"/>
                    <a:pt x="2121" y="1352"/>
                    <a:pt x="1748" y="1352"/>
                  </a:cubicBezTo>
                  <a:lnTo>
                    <a:pt x="676" y="1352"/>
                  </a:lnTo>
                  <a:cubicBezTo>
                    <a:pt x="303" y="1352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7" name="Freeform: Shape 2926">
              <a:extLst>
                <a:ext uri="{FF2B5EF4-FFF2-40B4-BE49-F238E27FC236}">
                  <a16:creationId xmlns:a16="http://schemas.microsoft.com/office/drawing/2014/main" id="{7CAD1B76-4E84-8449-CCE4-7CA6B9AA8032}"/>
                </a:ext>
              </a:extLst>
            </p:cNvPr>
            <p:cNvSpPr/>
            <p:nvPr/>
          </p:nvSpPr>
          <p:spPr>
            <a:xfrm>
              <a:off x="9071368" y="3735909"/>
              <a:ext cx="2170" cy="1349"/>
            </a:xfrm>
            <a:custGeom>
              <a:avLst/>
              <a:gdLst>
                <a:gd name="connsiteX0" fmla="*/ 0 w 2170"/>
                <a:gd name="connsiteY0" fmla="*/ 627 h 1349"/>
                <a:gd name="connsiteX1" fmla="*/ 627 w 2170"/>
                <a:gd name="connsiteY1" fmla="*/ 0 h 1349"/>
                <a:gd name="connsiteX2" fmla="*/ 1543 w 2170"/>
                <a:gd name="connsiteY2" fmla="*/ 0 h 1349"/>
                <a:gd name="connsiteX3" fmla="*/ 2171 w 2170"/>
                <a:gd name="connsiteY3" fmla="*/ 627 h 1349"/>
                <a:gd name="connsiteX4" fmla="*/ 2171 w 2170"/>
                <a:gd name="connsiteY4" fmla="*/ 724 h 1349"/>
                <a:gd name="connsiteX5" fmla="*/ 1543 w 2170"/>
                <a:gd name="connsiteY5" fmla="*/ 1350 h 1349"/>
                <a:gd name="connsiteX6" fmla="*/ 627 w 2170"/>
                <a:gd name="connsiteY6" fmla="*/ 1350 h 1349"/>
                <a:gd name="connsiteX7" fmla="*/ 0 w 2170"/>
                <a:gd name="connsiteY7" fmla="*/ 724 h 1349"/>
                <a:gd name="connsiteX8" fmla="*/ 0 w 2170"/>
                <a:gd name="connsiteY8" fmla="*/ 627 h 1349"/>
                <a:gd name="connsiteX9" fmla="*/ 0 w 2170"/>
                <a:gd name="connsiteY9" fmla="*/ 62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0" h="1349">
                  <a:moveTo>
                    <a:pt x="0" y="627"/>
                  </a:moveTo>
                  <a:cubicBezTo>
                    <a:pt x="0" y="281"/>
                    <a:pt x="281" y="0"/>
                    <a:pt x="627" y="0"/>
                  </a:cubicBezTo>
                  <a:lnTo>
                    <a:pt x="1543" y="0"/>
                  </a:lnTo>
                  <a:cubicBezTo>
                    <a:pt x="1889" y="0"/>
                    <a:pt x="2171" y="281"/>
                    <a:pt x="2171" y="627"/>
                  </a:cubicBezTo>
                  <a:lnTo>
                    <a:pt x="2171" y="724"/>
                  </a:lnTo>
                  <a:cubicBezTo>
                    <a:pt x="2171" y="1070"/>
                    <a:pt x="1889" y="1350"/>
                    <a:pt x="1543" y="1350"/>
                  </a:cubicBezTo>
                  <a:lnTo>
                    <a:pt x="627" y="1350"/>
                  </a:lnTo>
                  <a:cubicBezTo>
                    <a:pt x="281" y="1350"/>
                    <a:pt x="0" y="1070"/>
                    <a:pt x="0" y="724"/>
                  </a:cubicBezTo>
                  <a:lnTo>
                    <a:pt x="0" y="627"/>
                  </a:lnTo>
                  <a:lnTo>
                    <a:pt x="0" y="62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8" name="Freeform: Shape 2927">
              <a:extLst>
                <a:ext uri="{FF2B5EF4-FFF2-40B4-BE49-F238E27FC236}">
                  <a16:creationId xmlns:a16="http://schemas.microsoft.com/office/drawing/2014/main" id="{B7171BB7-3820-94E6-7BC1-4612E828F79D}"/>
                </a:ext>
              </a:extLst>
            </p:cNvPr>
            <p:cNvSpPr/>
            <p:nvPr/>
          </p:nvSpPr>
          <p:spPr>
            <a:xfrm>
              <a:off x="9073974" y="3735909"/>
              <a:ext cx="7431" cy="1349"/>
            </a:xfrm>
            <a:custGeom>
              <a:avLst/>
              <a:gdLst>
                <a:gd name="connsiteX0" fmla="*/ 0 w 7431"/>
                <a:gd name="connsiteY0" fmla="*/ 660 h 1349"/>
                <a:gd name="connsiteX1" fmla="*/ 660 w 7431"/>
                <a:gd name="connsiteY1" fmla="*/ 0 h 1349"/>
                <a:gd name="connsiteX2" fmla="*/ 6772 w 7431"/>
                <a:gd name="connsiteY2" fmla="*/ 0 h 1349"/>
                <a:gd name="connsiteX3" fmla="*/ 7432 w 7431"/>
                <a:gd name="connsiteY3" fmla="*/ 660 h 1349"/>
                <a:gd name="connsiteX4" fmla="*/ 7432 w 7431"/>
                <a:gd name="connsiteY4" fmla="*/ 690 h 1349"/>
                <a:gd name="connsiteX5" fmla="*/ 6772 w 7431"/>
                <a:gd name="connsiteY5" fmla="*/ 1350 h 1349"/>
                <a:gd name="connsiteX6" fmla="*/ 660 w 7431"/>
                <a:gd name="connsiteY6" fmla="*/ 1350 h 1349"/>
                <a:gd name="connsiteX7" fmla="*/ 0 w 7431"/>
                <a:gd name="connsiteY7" fmla="*/ 690 h 1349"/>
                <a:gd name="connsiteX8" fmla="*/ 0 w 7431"/>
                <a:gd name="connsiteY8" fmla="*/ 660 h 1349"/>
                <a:gd name="connsiteX9" fmla="*/ 0 w 7431"/>
                <a:gd name="connsiteY9" fmla="*/ 66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1" h="1349">
                  <a:moveTo>
                    <a:pt x="0" y="660"/>
                  </a:moveTo>
                  <a:cubicBezTo>
                    <a:pt x="0" y="296"/>
                    <a:pt x="296" y="0"/>
                    <a:pt x="660" y="0"/>
                  </a:cubicBezTo>
                  <a:lnTo>
                    <a:pt x="6772" y="0"/>
                  </a:lnTo>
                  <a:cubicBezTo>
                    <a:pt x="7136" y="0"/>
                    <a:pt x="7432" y="296"/>
                    <a:pt x="7432" y="660"/>
                  </a:cubicBezTo>
                  <a:lnTo>
                    <a:pt x="7432" y="690"/>
                  </a:lnTo>
                  <a:cubicBezTo>
                    <a:pt x="7432" y="1056"/>
                    <a:pt x="7136" y="1350"/>
                    <a:pt x="6772" y="1350"/>
                  </a:cubicBezTo>
                  <a:lnTo>
                    <a:pt x="660" y="1350"/>
                  </a:lnTo>
                  <a:cubicBezTo>
                    <a:pt x="296" y="1350"/>
                    <a:pt x="0" y="1056"/>
                    <a:pt x="0" y="690"/>
                  </a:cubicBezTo>
                  <a:lnTo>
                    <a:pt x="0" y="660"/>
                  </a:lnTo>
                  <a:lnTo>
                    <a:pt x="0" y="66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9" name="Freeform: Shape 2928">
              <a:extLst>
                <a:ext uri="{FF2B5EF4-FFF2-40B4-BE49-F238E27FC236}">
                  <a16:creationId xmlns:a16="http://schemas.microsoft.com/office/drawing/2014/main" id="{C040C7D4-30E3-5D0F-C8DB-8192ABA16DA4}"/>
                </a:ext>
              </a:extLst>
            </p:cNvPr>
            <p:cNvSpPr/>
            <p:nvPr/>
          </p:nvSpPr>
          <p:spPr>
            <a:xfrm>
              <a:off x="9091055" y="3752274"/>
              <a:ext cx="9057" cy="1349"/>
            </a:xfrm>
            <a:custGeom>
              <a:avLst/>
              <a:gdLst>
                <a:gd name="connsiteX0" fmla="*/ 0 w 9057"/>
                <a:gd name="connsiteY0" fmla="*/ 629 h 1349"/>
                <a:gd name="connsiteX1" fmla="*/ 629 w 9057"/>
                <a:gd name="connsiteY1" fmla="*/ 0 h 1349"/>
                <a:gd name="connsiteX2" fmla="*/ 8428 w 9057"/>
                <a:gd name="connsiteY2" fmla="*/ 0 h 1349"/>
                <a:gd name="connsiteX3" fmla="*/ 9058 w 9057"/>
                <a:gd name="connsiteY3" fmla="*/ 629 h 1349"/>
                <a:gd name="connsiteX4" fmla="*/ 9058 w 9057"/>
                <a:gd name="connsiteY4" fmla="*/ 719 h 1349"/>
                <a:gd name="connsiteX5" fmla="*/ 8428 w 9057"/>
                <a:gd name="connsiteY5" fmla="*/ 1350 h 1349"/>
                <a:gd name="connsiteX6" fmla="*/ 629 w 9057"/>
                <a:gd name="connsiteY6" fmla="*/ 1350 h 1349"/>
                <a:gd name="connsiteX7" fmla="*/ 0 w 9057"/>
                <a:gd name="connsiteY7" fmla="*/ 719 h 1349"/>
                <a:gd name="connsiteX8" fmla="*/ 0 w 9057"/>
                <a:gd name="connsiteY8" fmla="*/ 629 h 1349"/>
                <a:gd name="connsiteX9" fmla="*/ 0 w 9057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7" h="1349">
                  <a:moveTo>
                    <a:pt x="0" y="629"/>
                  </a:moveTo>
                  <a:cubicBezTo>
                    <a:pt x="0" y="281"/>
                    <a:pt x="281" y="0"/>
                    <a:pt x="629" y="0"/>
                  </a:cubicBezTo>
                  <a:lnTo>
                    <a:pt x="8428" y="0"/>
                  </a:lnTo>
                  <a:cubicBezTo>
                    <a:pt x="8776" y="0"/>
                    <a:pt x="9058" y="281"/>
                    <a:pt x="9058" y="629"/>
                  </a:cubicBezTo>
                  <a:lnTo>
                    <a:pt x="9058" y="719"/>
                  </a:lnTo>
                  <a:cubicBezTo>
                    <a:pt x="9058" y="1067"/>
                    <a:pt x="8776" y="1350"/>
                    <a:pt x="8428" y="1350"/>
                  </a:cubicBezTo>
                  <a:lnTo>
                    <a:pt x="629" y="1350"/>
                  </a:lnTo>
                  <a:cubicBezTo>
                    <a:pt x="281" y="1350"/>
                    <a:pt x="0" y="1067"/>
                    <a:pt x="0" y="719"/>
                  </a:cubicBezTo>
                  <a:lnTo>
                    <a:pt x="0" y="629"/>
                  </a:lnTo>
                  <a:lnTo>
                    <a:pt x="0" y="629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0" name="Freeform: Shape 2929">
              <a:extLst>
                <a:ext uri="{FF2B5EF4-FFF2-40B4-BE49-F238E27FC236}">
                  <a16:creationId xmlns:a16="http://schemas.microsoft.com/office/drawing/2014/main" id="{4A21C1E1-9A3A-1D16-0288-54648B62D17E}"/>
                </a:ext>
              </a:extLst>
            </p:cNvPr>
            <p:cNvSpPr/>
            <p:nvPr/>
          </p:nvSpPr>
          <p:spPr>
            <a:xfrm>
              <a:off x="9063718" y="3748752"/>
              <a:ext cx="9059" cy="1349"/>
            </a:xfrm>
            <a:custGeom>
              <a:avLst/>
              <a:gdLst>
                <a:gd name="connsiteX0" fmla="*/ 9059 w 9059"/>
                <a:gd name="connsiteY0" fmla="*/ 629 h 1349"/>
                <a:gd name="connsiteX1" fmla="*/ 8430 w 9059"/>
                <a:gd name="connsiteY1" fmla="*/ 0 h 1349"/>
                <a:gd name="connsiteX2" fmla="*/ 631 w 9059"/>
                <a:gd name="connsiteY2" fmla="*/ 0 h 1349"/>
                <a:gd name="connsiteX3" fmla="*/ 0 w 9059"/>
                <a:gd name="connsiteY3" fmla="*/ 629 h 1349"/>
                <a:gd name="connsiteX4" fmla="*/ 0 w 9059"/>
                <a:gd name="connsiteY4" fmla="*/ 721 h 1349"/>
                <a:gd name="connsiteX5" fmla="*/ 631 w 9059"/>
                <a:gd name="connsiteY5" fmla="*/ 1350 h 1349"/>
                <a:gd name="connsiteX6" fmla="*/ 8430 w 9059"/>
                <a:gd name="connsiteY6" fmla="*/ 1350 h 1349"/>
                <a:gd name="connsiteX7" fmla="*/ 9059 w 9059"/>
                <a:gd name="connsiteY7" fmla="*/ 721 h 1349"/>
                <a:gd name="connsiteX8" fmla="*/ 9059 w 9059"/>
                <a:gd name="connsiteY8" fmla="*/ 629 h 1349"/>
                <a:gd name="connsiteX9" fmla="*/ 9059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9059" y="629"/>
                  </a:moveTo>
                  <a:cubicBezTo>
                    <a:pt x="9059" y="281"/>
                    <a:pt x="8778" y="0"/>
                    <a:pt x="8430" y="0"/>
                  </a:cubicBezTo>
                  <a:lnTo>
                    <a:pt x="631" y="0"/>
                  </a:lnTo>
                  <a:cubicBezTo>
                    <a:pt x="283" y="0"/>
                    <a:pt x="0" y="281"/>
                    <a:pt x="0" y="629"/>
                  </a:cubicBezTo>
                  <a:lnTo>
                    <a:pt x="0" y="721"/>
                  </a:lnTo>
                  <a:cubicBezTo>
                    <a:pt x="0" y="1068"/>
                    <a:pt x="283" y="1350"/>
                    <a:pt x="631" y="1350"/>
                  </a:cubicBezTo>
                  <a:lnTo>
                    <a:pt x="8430" y="1350"/>
                  </a:lnTo>
                  <a:cubicBezTo>
                    <a:pt x="8778" y="1350"/>
                    <a:pt x="9059" y="1068"/>
                    <a:pt x="9059" y="721"/>
                  </a:cubicBezTo>
                  <a:lnTo>
                    <a:pt x="9059" y="629"/>
                  </a:lnTo>
                  <a:lnTo>
                    <a:pt x="9059" y="62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1" name="Freeform: Shape 2930">
              <a:extLst>
                <a:ext uri="{FF2B5EF4-FFF2-40B4-BE49-F238E27FC236}">
                  <a16:creationId xmlns:a16="http://schemas.microsoft.com/office/drawing/2014/main" id="{10D43EE5-A0DB-1BB7-BBB4-13FB86E25F03}"/>
                </a:ext>
              </a:extLst>
            </p:cNvPr>
            <p:cNvSpPr/>
            <p:nvPr/>
          </p:nvSpPr>
          <p:spPr>
            <a:xfrm>
              <a:off x="9085400" y="3752274"/>
              <a:ext cx="5074" cy="1349"/>
            </a:xfrm>
            <a:custGeom>
              <a:avLst/>
              <a:gdLst>
                <a:gd name="connsiteX0" fmla="*/ 0 w 5074"/>
                <a:gd name="connsiteY0" fmla="*/ 617 h 1349"/>
                <a:gd name="connsiteX1" fmla="*/ 617 w 5074"/>
                <a:gd name="connsiteY1" fmla="*/ 0 h 1349"/>
                <a:gd name="connsiteX2" fmla="*/ 4458 w 5074"/>
                <a:gd name="connsiteY2" fmla="*/ 0 h 1349"/>
                <a:gd name="connsiteX3" fmla="*/ 5075 w 5074"/>
                <a:gd name="connsiteY3" fmla="*/ 617 h 1349"/>
                <a:gd name="connsiteX4" fmla="*/ 5075 w 5074"/>
                <a:gd name="connsiteY4" fmla="*/ 733 h 1349"/>
                <a:gd name="connsiteX5" fmla="*/ 4458 w 5074"/>
                <a:gd name="connsiteY5" fmla="*/ 1350 h 1349"/>
                <a:gd name="connsiteX6" fmla="*/ 617 w 5074"/>
                <a:gd name="connsiteY6" fmla="*/ 1350 h 1349"/>
                <a:gd name="connsiteX7" fmla="*/ 0 w 5074"/>
                <a:gd name="connsiteY7" fmla="*/ 733 h 1349"/>
                <a:gd name="connsiteX8" fmla="*/ 0 w 5074"/>
                <a:gd name="connsiteY8" fmla="*/ 617 h 1349"/>
                <a:gd name="connsiteX9" fmla="*/ 0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0" y="617"/>
                  </a:moveTo>
                  <a:cubicBezTo>
                    <a:pt x="0" y="276"/>
                    <a:pt x="276" y="0"/>
                    <a:pt x="617" y="0"/>
                  </a:cubicBezTo>
                  <a:lnTo>
                    <a:pt x="4458" y="0"/>
                  </a:lnTo>
                  <a:cubicBezTo>
                    <a:pt x="4799" y="0"/>
                    <a:pt x="5075" y="276"/>
                    <a:pt x="5075" y="617"/>
                  </a:cubicBezTo>
                  <a:lnTo>
                    <a:pt x="5075" y="733"/>
                  </a:lnTo>
                  <a:cubicBezTo>
                    <a:pt x="5075" y="1074"/>
                    <a:pt x="4799" y="1350"/>
                    <a:pt x="4458" y="1350"/>
                  </a:cubicBezTo>
                  <a:lnTo>
                    <a:pt x="617" y="1350"/>
                  </a:lnTo>
                  <a:cubicBezTo>
                    <a:pt x="276" y="1350"/>
                    <a:pt x="0" y="1074"/>
                    <a:pt x="0" y="733"/>
                  </a:cubicBezTo>
                  <a:lnTo>
                    <a:pt x="0" y="617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2" name="Freeform: Shape 2931">
              <a:extLst>
                <a:ext uri="{FF2B5EF4-FFF2-40B4-BE49-F238E27FC236}">
                  <a16:creationId xmlns:a16="http://schemas.microsoft.com/office/drawing/2014/main" id="{7E78EE1A-935A-B918-F20F-E15243C674CD}"/>
                </a:ext>
              </a:extLst>
            </p:cNvPr>
            <p:cNvSpPr/>
            <p:nvPr/>
          </p:nvSpPr>
          <p:spPr>
            <a:xfrm>
              <a:off x="9073358" y="3748752"/>
              <a:ext cx="5072" cy="1349"/>
            </a:xfrm>
            <a:custGeom>
              <a:avLst/>
              <a:gdLst>
                <a:gd name="connsiteX0" fmla="*/ 5073 w 5072"/>
                <a:gd name="connsiteY0" fmla="*/ 617 h 1349"/>
                <a:gd name="connsiteX1" fmla="*/ 4456 w 5072"/>
                <a:gd name="connsiteY1" fmla="*/ 0 h 1349"/>
                <a:gd name="connsiteX2" fmla="*/ 617 w 5072"/>
                <a:gd name="connsiteY2" fmla="*/ 0 h 1349"/>
                <a:gd name="connsiteX3" fmla="*/ 0 w 5072"/>
                <a:gd name="connsiteY3" fmla="*/ 617 h 1349"/>
                <a:gd name="connsiteX4" fmla="*/ 0 w 5072"/>
                <a:gd name="connsiteY4" fmla="*/ 733 h 1349"/>
                <a:gd name="connsiteX5" fmla="*/ 617 w 5072"/>
                <a:gd name="connsiteY5" fmla="*/ 1350 h 1349"/>
                <a:gd name="connsiteX6" fmla="*/ 4456 w 5072"/>
                <a:gd name="connsiteY6" fmla="*/ 1350 h 1349"/>
                <a:gd name="connsiteX7" fmla="*/ 5073 w 5072"/>
                <a:gd name="connsiteY7" fmla="*/ 733 h 1349"/>
                <a:gd name="connsiteX8" fmla="*/ 5073 w 5072"/>
                <a:gd name="connsiteY8" fmla="*/ 617 h 1349"/>
                <a:gd name="connsiteX9" fmla="*/ 5073 w 5072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2" h="1349">
                  <a:moveTo>
                    <a:pt x="5073" y="617"/>
                  </a:moveTo>
                  <a:cubicBezTo>
                    <a:pt x="5073" y="276"/>
                    <a:pt x="4797" y="0"/>
                    <a:pt x="4456" y="0"/>
                  </a:cubicBezTo>
                  <a:lnTo>
                    <a:pt x="617" y="0"/>
                  </a:lnTo>
                  <a:cubicBezTo>
                    <a:pt x="276" y="0"/>
                    <a:pt x="0" y="276"/>
                    <a:pt x="0" y="617"/>
                  </a:cubicBezTo>
                  <a:lnTo>
                    <a:pt x="0" y="733"/>
                  </a:lnTo>
                  <a:cubicBezTo>
                    <a:pt x="0" y="1074"/>
                    <a:pt x="276" y="1350"/>
                    <a:pt x="617" y="1350"/>
                  </a:cubicBezTo>
                  <a:lnTo>
                    <a:pt x="4456" y="1350"/>
                  </a:lnTo>
                  <a:cubicBezTo>
                    <a:pt x="4797" y="1350"/>
                    <a:pt x="5073" y="1074"/>
                    <a:pt x="5073" y="733"/>
                  </a:cubicBezTo>
                  <a:lnTo>
                    <a:pt x="5073" y="617"/>
                  </a:lnTo>
                  <a:lnTo>
                    <a:pt x="5073" y="61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3" name="Freeform: Shape 2932">
              <a:extLst>
                <a:ext uri="{FF2B5EF4-FFF2-40B4-BE49-F238E27FC236}">
                  <a16:creationId xmlns:a16="http://schemas.microsoft.com/office/drawing/2014/main" id="{64050482-4852-FCC8-B606-5A2B1789FCE8}"/>
                </a:ext>
              </a:extLst>
            </p:cNvPr>
            <p:cNvSpPr/>
            <p:nvPr/>
          </p:nvSpPr>
          <p:spPr>
            <a:xfrm>
              <a:off x="9066693" y="3755755"/>
              <a:ext cx="5074" cy="1349"/>
            </a:xfrm>
            <a:custGeom>
              <a:avLst/>
              <a:gdLst>
                <a:gd name="connsiteX0" fmla="*/ 0 w 5074"/>
                <a:gd name="connsiteY0" fmla="*/ 674 h 1349"/>
                <a:gd name="connsiteX1" fmla="*/ 676 w 5074"/>
                <a:gd name="connsiteY1" fmla="*/ 0 h 1349"/>
                <a:gd name="connsiteX2" fmla="*/ 4399 w 5074"/>
                <a:gd name="connsiteY2" fmla="*/ 0 h 1349"/>
                <a:gd name="connsiteX3" fmla="*/ 5075 w 5074"/>
                <a:gd name="connsiteY3" fmla="*/ 674 h 1349"/>
                <a:gd name="connsiteX4" fmla="*/ 4399 w 5074"/>
                <a:gd name="connsiteY4" fmla="*/ 1350 h 1349"/>
                <a:gd name="connsiteX5" fmla="*/ 676 w 5074"/>
                <a:gd name="connsiteY5" fmla="*/ 1350 h 1349"/>
                <a:gd name="connsiteX6" fmla="*/ 0 w 5074"/>
                <a:gd name="connsiteY6" fmla="*/ 674 h 1349"/>
                <a:gd name="connsiteX7" fmla="*/ 0 w 5074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0" y="674"/>
                  </a:moveTo>
                  <a:cubicBezTo>
                    <a:pt x="0" y="301"/>
                    <a:pt x="303" y="0"/>
                    <a:pt x="676" y="0"/>
                  </a:cubicBezTo>
                  <a:lnTo>
                    <a:pt x="4399" y="0"/>
                  </a:lnTo>
                  <a:cubicBezTo>
                    <a:pt x="4772" y="0"/>
                    <a:pt x="5075" y="301"/>
                    <a:pt x="5075" y="674"/>
                  </a:cubicBezTo>
                  <a:cubicBezTo>
                    <a:pt x="5075" y="1047"/>
                    <a:pt x="4772" y="1350"/>
                    <a:pt x="4399" y="1350"/>
                  </a:cubicBezTo>
                  <a:lnTo>
                    <a:pt x="676" y="1350"/>
                  </a:lnTo>
                  <a:cubicBezTo>
                    <a:pt x="303" y="1350"/>
                    <a:pt x="0" y="1047"/>
                    <a:pt x="0" y="674"/>
                  </a:cubicBezTo>
                  <a:lnTo>
                    <a:pt x="0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4" name="Freeform: Shape 2933">
              <a:extLst>
                <a:ext uri="{FF2B5EF4-FFF2-40B4-BE49-F238E27FC236}">
                  <a16:creationId xmlns:a16="http://schemas.microsoft.com/office/drawing/2014/main" id="{0E01489B-036E-D908-22B7-CDFD977B3436}"/>
                </a:ext>
              </a:extLst>
            </p:cNvPr>
            <p:cNvSpPr/>
            <p:nvPr/>
          </p:nvSpPr>
          <p:spPr>
            <a:xfrm>
              <a:off x="9063718" y="3752274"/>
              <a:ext cx="3396" cy="1349"/>
            </a:xfrm>
            <a:custGeom>
              <a:avLst/>
              <a:gdLst>
                <a:gd name="connsiteX0" fmla="*/ 0 w 3396"/>
                <a:gd name="connsiteY0" fmla="*/ 656 h 1349"/>
                <a:gd name="connsiteX1" fmla="*/ 658 w 3396"/>
                <a:gd name="connsiteY1" fmla="*/ 0 h 1349"/>
                <a:gd name="connsiteX2" fmla="*/ 2741 w 3396"/>
                <a:gd name="connsiteY2" fmla="*/ 0 h 1349"/>
                <a:gd name="connsiteX3" fmla="*/ 3397 w 3396"/>
                <a:gd name="connsiteY3" fmla="*/ 656 h 1349"/>
                <a:gd name="connsiteX4" fmla="*/ 3397 w 3396"/>
                <a:gd name="connsiteY4" fmla="*/ 692 h 1349"/>
                <a:gd name="connsiteX5" fmla="*/ 2741 w 3396"/>
                <a:gd name="connsiteY5" fmla="*/ 1350 h 1349"/>
                <a:gd name="connsiteX6" fmla="*/ 658 w 3396"/>
                <a:gd name="connsiteY6" fmla="*/ 1350 h 1349"/>
                <a:gd name="connsiteX7" fmla="*/ 0 w 3396"/>
                <a:gd name="connsiteY7" fmla="*/ 692 h 1349"/>
                <a:gd name="connsiteX8" fmla="*/ 0 w 3396"/>
                <a:gd name="connsiteY8" fmla="*/ 656 h 1349"/>
                <a:gd name="connsiteX9" fmla="*/ 0 w 3396"/>
                <a:gd name="connsiteY9" fmla="*/ 65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6" h="1349">
                  <a:moveTo>
                    <a:pt x="0" y="656"/>
                  </a:moveTo>
                  <a:cubicBezTo>
                    <a:pt x="0" y="294"/>
                    <a:pt x="296" y="0"/>
                    <a:pt x="658" y="0"/>
                  </a:cubicBezTo>
                  <a:lnTo>
                    <a:pt x="2741" y="0"/>
                  </a:lnTo>
                  <a:cubicBezTo>
                    <a:pt x="3103" y="0"/>
                    <a:pt x="3397" y="294"/>
                    <a:pt x="3397" y="656"/>
                  </a:cubicBezTo>
                  <a:lnTo>
                    <a:pt x="3397" y="692"/>
                  </a:lnTo>
                  <a:cubicBezTo>
                    <a:pt x="3397" y="1056"/>
                    <a:pt x="3103" y="1350"/>
                    <a:pt x="2741" y="1350"/>
                  </a:cubicBezTo>
                  <a:lnTo>
                    <a:pt x="658" y="1350"/>
                  </a:lnTo>
                  <a:cubicBezTo>
                    <a:pt x="296" y="1350"/>
                    <a:pt x="0" y="1056"/>
                    <a:pt x="0" y="692"/>
                  </a:cubicBezTo>
                  <a:lnTo>
                    <a:pt x="0" y="656"/>
                  </a:lnTo>
                  <a:lnTo>
                    <a:pt x="0" y="65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5" name="Freeform: Shape 2934">
              <a:extLst>
                <a:ext uri="{FF2B5EF4-FFF2-40B4-BE49-F238E27FC236}">
                  <a16:creationId xmlns:a16="http://schemas.microsoft.com/office/drawing/2014/main" id="{26491DA4-DF07-54FF-B88C-3824FE068243}"/>
                </a:ext>
              </a:extLst>
            </p:cNvPr>
            <p:cNvSpPr/>
            <p:nvPr/>
          </p:nvSpPr>
          <p:spPr>
            <a:xfrm>
              <a:off x="9082426" y="3752274"/>
              <a:ext cx="2421" cy="1349"/>
            </a:xfrm>
            <a:custGeom>
              <a:avLst/>
              <a:gdLst>
                <a:gd name="connsiteX0" fmla="*/ 0 w 2421"/>
                <a:gd name="connsiteY0" fmla="*/ 600 h 1349"/>
                <a:gd name="connsiteX1" fmla="*/ 600 w 2421"/>
                <a:gd name="connsiteY1" fmla="*/ 0 h 1349"/>
                <a:gd name="connsiteX2" fmla="*/ 1821 w 2421"/>
                <a:gd name="connsiteY2" fmla="*/ 0 h 1349"/>
                <a:gd name="connsiteX3" fmla="*/ 2422 w 2421"/>
                <a:gd name="connsiteY3" fmla="*/ 600 h 1349"/>
                <a:gd name="connsiteX4" fmla="*/ 2422 w 2421"/>
                <a:gd name="connsiteY4" fmla="*/ 747 h 1349"/>
                <a:gd name="connsiteX5" fmla="*/ 1821 w 2421"/>
                <a:gd name="connsiteY5" fmla="*/ 1350 h 1349"/>
                <a:gd name="connsiteX6" fmla="*/ 600 w 2421"/>
                <a:gd name="connsiteY6" fmla="*/ 1350 h 1349"/>
                <a:gd name="connsiteX7" fmla="*/ 0 w 2421"/>
                <a:gd name="connsiteY7" fmla="*/ 747 h 1349"/>
                <a:gd name="connsiteX8" fmla="*/ 0 w 2421"/>
                <a:gd name="connsiteY8" fmla="*/ 600 h 1349"/>
                <a:gd name="connsiteX9" fmla="*/ 0 w 2421"/>
                <a:gd name="connsiteY9" fmla="*/ 60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1" h="1349">
                  <a:moveTo>
                    <a:pt x="0" y="600"/>
                  </a:moveTo>
                  <a:cubicBezTo>
                    <a:pt x="0" y="269"/>
                    <a:pt x="269" y="0"/>
                    <a:pt x="600" y="0"/>
                  </a:cubicBezTo>
                  <a:lnTo>
                    <a:pt x="1821" y="0"/>
                  </a:lnTo>
                  <a:cubicBezTo>
                    <a:pt x="2153" y="0"/>
                    <a:pt x="2422" y="269"/>
                    <a:pt x="2422" y="600"/>
                  </a:cubicBezTo>
                  <a:lnTo>
                    <a:pt x="2422" y="747"/>
                  </a:lnTo>
                  <a:cubicBezTo>
                    <a:pt x="2422" y="1081"/>
                    <a:pt x="2153" y="1350"/>
                    <a:pt x="1821" y="1350"/>
                  </a:cubicBezTo>
                  <a:lnTo>
                    <a:pt x="600" y="1350"/>
                  </a:lnTo>
                  <a:cubicBezTo>
                    <a:pt x="269" y="1350"/>
                    <a:pt x="0" y="1081"/>
                    <a:pt x="0" y="747"/>
                  </a:cubicBezTo>
                  <a:lnTo>
                    <a:pt x="0" y="600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6" name="Freeform: Shape 2935">
              <a:extLst>
                <a:ext uri="{FF2B5EF4-FFF2-40B4-BE49-F238E27FC236}">
                  <a16:creationId xmlns:a16="http://schemas.microsoft.com/office/drawing/2014/main" id="{598D36F6-9932-6F9E-069F-9B261330C26D}"/>
                </a:ext>
              </a:extLst>
            </p:cNvPr>
            <p:cNvSpPr/>
            <p:nvPr/>
          </p:nvSpPr>
          <p:spPr>
            <a:xfrm>
              <a:off x="9078984" y="3748752"/>
              <a:ext cx="2421" cy="1349"/>
            </a:xfrm>
            <a:custGeom>
              <a:avLst/>
              <a:gdLst>
                <a:gd name="connsiteX0" fmla="*/ 2422 w 2421"/>
                <a:gd name="connsiteY0" fmla="*/ 600 h 1349"/>
                <a:gd name="connsiteX1" fmla="*/ 1821 w 2421"/>
                <a:gd name="connsiteY1" fmla="*/ 0 h 1349"/>
                <a:gd name="connsiteX2" fmla="*/ 601 w 2421"/>
                <a:gd name="connsiteY2" fmla="*/ 0 h 1349"/>
                <a:gd name="connsiteX3" fmla="*/ 0 w 2421"/>
                <a:gd name="connsiteY3" fmla="*/ 600 h 1349"/>
                <a:gd name="connsiteX4" fmla="*/ 0 w 2421"/>
                <a:gd name="connsiteY4" fmla="*/ 749 h 1349"/>
                <a:gd name="connsiteX5" fmla="*/ 601 w 2421"/>
                <a:gd name="connsiteY5" fmla="*/ 1350 h 1349"/>
                <a:gd name="connsiteX6" fmla="*/ 1821 w 2421"/>
                <a:gd name="connsiteY6" fmla="*/ 1350 h 1349"/>
                <a:gd name="connsiteX7" fmla="*/ 2422 w 2421"/>
                <a:gd name="connsiteY7" fmla="*/ 749 h 1349"/>
                <a:gd name="connsiteX8" fmla="*/ 2422 w 2421"/>
                <a:gd name="connsiteY8" fmla="*/ 600 h 1349"/>
                <a:gd name="connsiteX9" fmla="*/ 2422 w 2421"/>
                <a:gd name="connsiteY9" fmla="*/ 60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1" h="1349">
                  <a:moveTo>
                    <a:pt x="2422" y="600"/>
                  </a:moveTo>
                  <a:cubicBezTo>
                    <a:pt x="2422" y="269"/>
                    <a:pt x="2153" y="0"/>
                    <a:pt x="1821" y="0"/>
                  </a:cubicBezTo>
                  <a:lnTo>
                    <a:pt x="601" y="0"/>
                  </a:lnTo>
                  <a:cubicBezTo>
                    <a:pt x="269" y="0"/>
                    <a:pt x="0" y="269"/>
                    <a:pt x="0" y="600"/>
                  </a:cubicBezTo>
                  <a:lnTo>
                    <a:pt x="0" y="749"/>
                  </a:lnTo>
                  <a:cubicBezTo>
                    <a:pt x="0" y="1081"/>
                    <a:pt x="269" y="1350"/>
                    <a:pt x="601" y="1350"/>
                  </a:cubicBezTo>
                  <a:lnTo>
                    <a:pt x="1821" y="1350"/>
                  </a:lnTo>
                  <a:cubicBezTo>
                    <a:pt x="2153" y="1350"/>
                    <a:pt x="2422" y="1081"/>
                    <a:pt x="2422" y="749"/>
                  </a:cubicBezTo>
                  <a:lnTo>
                    <a:pt x="2422" y="600"/>
                  </a:lnTo>
                  <a:lnTo>
                    <a:pt x="2422" y="600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7" name="Freeform: Shape 2936">
              <a:extLst>
                <a:ext uri="{FF2B5EF4-FFF2-40B4-BE49-F238E27FC236}">
                  <a16:creationId xmlns:a16="http://schemas.microsoft.com/office/drawing/2014/main" id="{AAA931F9-6C8A-4E8E-5269-2E9C287EDBD3}"/>
                </a:ext>
              </a:extLst>
            </p:cNvPr>
            <p:cNvSpPr/>
            <p:nvPr/>
          </p:nvSpPr>
          <p:spPr>
            <a:xfrm>
              <a:off x="9063718" y="3755755"/>
              <a:ext cx="2423" cy="1349"/>
            </a:xfrm>
            <a:custGeom>
              <a:avLst/>
              <a:gdLst>
                <a:gd name="connsiteX0" fmla="*/ 0 w 2423"/>
                <a:gd name="connsiteY0" fmla="*/ 674 h 1349"/>
                <a:gd name="connsiteX1" fmla="*/ 676 w 2423"/>
                <a:gd name="connsiteY1" fmla="*/ 0 h 1349"/>
                <a:gd name="connsiteX2" fmla="*/ 1748 w 2423"/>
                <a:gd name="connsiteY2" fmla="*/ 0 h 1349"/>
                <a:gd name="connsiteX3" fmla="*/ 2423 w 2423"/>
                <a:gd name="connsiteY3" fmla="*/ 674 h 1349"/>
                <a:gd name="connsiteX4" fmla="*/ 1748 w 2423"/>
                <a:gd name="connsiteY4" fmla="*/ 1350 h 1349"/>
                <a:gd name="connsiteX5" fmla="*/ 676 w 2423"/>
                <a:gd name="connsiteY5" fmla="*/ 1350 h 1349"/>
                <a:gd name="connsiteX6" fmla="*/ 0 w 2423"/>
                <a:gd name="connsiteY6" fmla="*/ 674 h 1349"/>
                <a:gd name="connsiteX7" fmla="*/ 0 w 2423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3" h="1349">
                  <a:moveTo>
                    <a:pt x="0" y="674"/>
                  </a:moveTo>
                  <a:cubicBezTo>
                    <a:pt x="0" y="301"/>
                    <a:pt x="303" y="0"/>
                    <a:pt x="676" y="0"/>
                  </a:cubicBezTo>
                  <a:lnTo>
                    <a:pt x="1748" y="0"/>
                  </a:lnTo>
                  <a:cubicBezTo>
                    <a:pt x="2121" y="0"/>
                    <a:pt x="2423" y="301"/>
                    <a:pt x="2423" y="674"/>
                  </a:cubicBezTo>
                  <a:cubicBezTo>
                    <a:pt x="2423" y="1047"/>
                    <a:pt x="2121" y="1350"/>
                    <a:pt x="1748" y="1350"/>
                  </a:cubicBezTo>
                  <a:lnTo>
                    <a:pt x="676" y="1350"/>
                  </a:lnTo>
                  <a:cubicBezTo>
                    <a:pt x="303" y="1350"/>
                    <a:pt x="0" y="1047"/>
                    <a:pt x="0" y="674"/>
                  </a:cubicBezTo>
                  <a:lnTo>
                    <a:pt x="0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8" name="Freeform: Shape 2937">
              <a:extLst>
                <a:ext uri="{FF2B5EF4-FFF2-40B4-BE49-F238E27FC236}">
                  <a16:creationId xmlns:a16="http://schemas.microsoft.com/office/drawing/2014/main" id="{7FA301D2-9375-BA97-606C-70BF8CF92A4B}"/>
                </a:ext>
              </a:extLst>
            </p:cNvPr>
            <p:cNvSpPr/>
            <p:nvPr/>
          </p:nvSpPr>
          <p:spPr>
            <a:xfrm>
              <a:off x="9068081" y="3752274"/>
              <a:ext cx="2783" cy="1349"/>
            </a:xfrm>
            <a:custGeom>
              <a:avLst/>
              <a:gdLst>
                <a:gd name="connsiteX0" fmla="*/ 0 w 2783"/>
                <a:gd name="connsiteY0" fmla="*/ 635 h 1349"/>
                <a:gd name="connsiteX1" fmla="*/ 635 w 2783"/>
                <a:gd name="connsiteY1" fmla="*/ 0 h 1349"/>
                <a:gd name="connsiteX2" fmla="*/ 2149 w 2783"/>
                <a:gd name="connsiteY2" fmla="*/ 0 h 1349"/>
                <a:gd name="connsiteX3" fmla="*/ 2784 w 2783"/>
                <a:gd name="connsiteY3" fmla="*/ 635 h 1349"/>
                <a:gd name="connsiteX4" fmla="*/ 2784 w 2783"/>
                <a:gd name="connsiteY4" fmla="*/ 713 h 1349"/>
                <a:gd name="connsiteX5" fmla="*/ 2149 w 2783"/>
                <a:gd name="connsiteY5" fmla="*/ 1350 h 1349"/>
                <a:gd name="connsiteX6" fmla="*/ 635 w 2783"/>
                <a:gd name="connsiteY6" fmla="*/ 1350 h 1349"/>
                <a:gd name="connsiteX7" fmla="*/ 0 w 2783"/>
                <a:gd name="connsiteY7" fmla="*/ 713 h 1349"/>
                <a:gd name="connsiteX8" fmla="*/ 0 w 2783"/>
                <a:gd name="connsiteY8" fmla="*/ 635 h 1349"/>
                <a:gd name="connsiteX9" fmla="*/ 0 w 2783"/>
                <a:gd name="connsiteY9" fmla="*/ 635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3" h="1349">
                  <a:moveTo>
                    <a:pt x="0" y="635"/>
                  </a:moveTo>
                  <a:cubicBezTo>
                    <a:pt x="0" y="283"/>
                    <a:pt x="283" y="0"/>
                    <a:pt x="635" y="0"/>
                  </a:cubicBezTo>
                  <a:lnTo>
                    <a:pt x="2149" y="0"/>
                  </a:lnTo>
                  <a:cubicBezTo>
                    <a:pt x="2499" y="0"/>
                    <a:pt x="2784" y="283"/>
                    <a:pt x="2784" y="635"/>
                  </a:cubicBezTo>
                  <a:lnTo>
                    <a:pt x="2784" y="713"/>
                  </a:lnTo>
                  <a:cubicBezTo>
                    <a:pt x="2784" y="1065"/>
                    <a:pt x="2499" y="1350"/>
                    <a:pt x="2149" y="1350"/>
                  </a:cubicBezTo>
                  <a:lnTo>
                    <a:pt x="635" y="1350"/>
                  </a:lnTo>
                  <a:cubicBezTo>
                    <a:pt x="283" y="1350"/>
                    <a:pt x="0" y="1065"/>
                    <a:pt x="0" y="713"/>
                  </a:cubicBezTo>
                  <a:lnTo>
                    <a:pt x="0" y="635"/>
                  </a:lnTo>
                  <a:lnTo>
                    <a:pt x="0" y="635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9" name="Freeform: Shape 2938">
              <a:extLst>
                <a:ext uri="{FF2B5EF4-FFF2-40B4-BE49-F238E27FC236}">
                  <a16:creationId xmlns:a16="http://schemas.microsoft.com/office/drawing/2014/main" id="{84821596-65A8-E92A-6732-D23F26A85518}"/>
                </a:ext>
              </a:extLst>
            </p:cNvPr>
            <p:cNvSpPr/>
            <p:nvPr/>
          </p:nvSpPr>
          <p:spPr>
            <a:xfrm>
              <a:off x="9071368" y="3752274"/>
              <a:ext cx="2170" cy="1349"/>
            </a:xfrm>
            <a:custGeom>
              <a:avLst/>
              <a:gdLst>
                <a:gd name="connsiteX0" fmla="*/ 0 w 2170"/>
                <a:gd name="connsiteY0" fmla="*/ 626 h 1349"/>
                <a:gd name="connsiteX1" fmla="*/ 627 w 2170"/>
                <a:gd name="connsiteY1" fmla="*/ 0 h 1349"/>
                <a:gd name="connsiteX2" fmla="*/ 1543 w 2170"/>
                <a:gd name="connsiteY2" fmla="*/ 0 h 1349"/>
                <a:gd name="connsiteX3" fmla="*/ 2171 w 2170"/>
                <a:gd name="connsiteY3" fmla="*/ 626 h 1349"/>
                <a:gd name="connsiteX4" fmla="*/ 2171 w 2170"/>
                <a:gd name="connsiteY4" fmla="*/ 722 h 1349"/>
                <a:gd name="connsiteX5" fmla="*/ 1543 w 2170"/>
                <a:gd name="connsiteY5" fmla="*/ 1350 h 1349"/>
                <a:gd name="connsiteX6" fmla="*/ 627 w 2170"/>
                <a:gd name="connsiteY6" fmla="*/ 1350 h 1349"/>
                <a:gd name="connsiteX7" fmla="*/ 0 w 2170"/>
                <a:gd name="connsiteY7" fmla="*/ 722 h 1349"/>
                <a:gd name="connsiteX8" fmla="*/ 0 w 2170"/>
                <a:gd name="connsiteY8" fmla="*/ 626 h 1349"/>
                <a:gd name="connsiteX9" fmla="*/ 0 w 2170"/>
                <a:gd name="connsiteY9" fmla="*/ 62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0" h="1349">
                  <a:moveTo>
                    <a:pt x="0" y="626"/>
                  </a:moveTo>
                  <a:cubicBezTo>
                    <a:pt x="0" y="280"/>
                    <a:pt x="281" y="0"/>
                    <a:pt x="627" y="0"/>
                  </a:cubicBezTo>
                  <a:lnTo>
                    <a:pt x="1543" y="0"/>
                  </a:lnTo>
                  <a:cubicBezTo>
                    <a:pt x="1889" y="0"/>
                    <a:pt x="2171" y="280"/>
                    <a:pt x="2171" y="626"/>
                  </a:cubicBezTo>
                  <a:lnTo>
                    <a:pt x="2171" y="722"/>
                  </a:lnTo>
                  <a:cubicBezTo>
                    <a:pt x="2171" y="1068"/>
                    <a:pt x="1889" y="1350"/>
                    <a:pt x="1543" y="1350"/>
                  </a:cubicBezTo>
                  <a:lnTo>
                    <a:pt x="627" y="1350"/>
                  </a:lnTo>
                  <a:cubicBezTo>
                    <a:pt x="281" y="1350"/>
                    <a:pt x="0" y="1068"/>
                    <a:pt x="0" y="722"/>
                  </a:cubicBezTo>
                  <a:lnTo>
                    <a:pt x="0" y="626"/>
                  </a:lnTo>
                  <a:lnTo>
                    <a:pt x="0" y="62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0" name="Freeform: Shape 2939">
              <a:extLst>
                <a:ext uri="{FF2B5EF4-FFF2-40B4-BE49-F238E27FC236}">
                  <a16:creationId xmlns:a16="http://schemas.microsoft.com/office/drawing/2014/main" id="{CD8A4F8A-067B-C346-2E5D-64FC517E0556}"/>
                </a:ext>
              </a:extLst>
            </p:cNvPr>
            <p:cNvSpPr/>
            <p:nvPr/>
          </p:nvSpPr>
          <p:spPr>
            <a:xfrm>
              <a:off x="9073974" y="3752274"/>
              <a:ext cx="7431" cy="1349"/>
            </a:xfrm>
            <a:custGeom>
              <a:avLst/>
              <a:gdLst>
                <a:gd name="connsiteX0" fmla="*/ 0 w 7431"/>
                <a:gd name="connsiteY0" fmla="*/ 660 h 1349"/>
                <a:gd name="connsiteX1" fmla="*/ 660 w 7431"/>
                <a:gd name="connsiteY1" fmla="*/ 0 h 1349"/>
                <a:gd name="connsiteX2" fmla="*/ 6772 w 7431"/>
                <a:gd name="connsiteY2" fmla="*/ 0 h 1349"/>
                <a:gd name="connsiteX3" fmla="*/ 7432 w 7431"/>
                <a:gd name="connsiteY3" fmla="*/ 660 h 1349"/>
                <a:gd name="connsiteX4" fmla="*/ 7432 w 7431"/>
                <a:gd name="connsiteY4" fmla="*/ 690 h 1349"/>
                <a:gd name="connsiteX5" fmla="*/ 6772 w 7431"/>
                <a:gd name="connsiteY5" fmla="*/ 1350 h 1349"/>
                <a:gd name="connsiteX6" fmla="*/ 660 w 7431"/>
                <a:gd name="connsiteY6" fmla="*/ 1350 h 1349"/>
                <a:gd name="connsiteX7" fmla="*/ 0 w 7431"/>
                <a:gd name="connsiteY7" fmla="*/ 690 h 1349"/>
                <a:gd name="connsiteX8" fmla="*/ 0 w 7431"/>
                <a:gd name="connsiteY8" fmla="*/ 660 h 1349"/>
                <a:gd name="connsiteX9" fmla="*/ 0 w 7431"/>
                <a:gd name="connsiteY9" fmla="*/ 66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1" h="1349">
                  <a:moveTo>
                    <a:pt x="0" y="660"/>
                  </a:moveTo>
                  <a:cubicBezTo>
                    <a:pt x="0" y="294"/>
                    <a:pt x="296" y="0"/>
                    <a:pt x="660" y="0"/>
                  </a:cubicBezTo>
                  <a:lnTo>
                    <a:pt x="6772" y="0"/>
                  </a:lnTo>
                  <a:cubicBezTo>
                    <a:pt x="7136" y="0"/>
                    <a:pt x="7432" y="294"/>
                    <a:pt x="7432" y="660"/>
                  </a:cubicBezTo>
                  <a:lnTo>
                    <a:pt x="7432" y="690"/>
                  </a:lnTo>
                  <a:cubicBezTo>
                    <a:pt x="7432" y="1054"/>
                    <a:pt x="7136" y="1350"/>
                    <a:pt x="6772" y="1350"/>
                  </a:cubicBezTo>
                  <a:lnTo>
                    <a:pt x="660" y="1350"/>
                  </a:lnTo>
                  <a:cubicBezTo>
                    <a:pt x="296" y="1350"/>
                    <a:pt x="0" y="1054"/>
                    <a:pt x="0" y="690"/>
                  </a:cubicBezTo>
                  <a:lnTo>
                    <a:pt x="0" y="660"/>
                  </a:lnTo>
                  <a:lnTo>
                    <a:pt x="0" y="66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1" name="Freeform: Shape 2940">
              <a:extLst>
                <a:ext uri="{FF2B5EF4-FFF2-40B4-BE49-F238E27FC236}">
                  <a16:creationId xmlns:a16="http://schemas.microsoft.com/office/drawing/2014/main" id="{27FAEFFB-0139-868F-F6B8-DDCBE8CE4D75}"/>
                </a:ext>
              </a:extLst>
            </p:cNvPr>
            <p:cNvSpPr/>
            <p:nvPr/>
          </p:nvSpPr>
          <p:spPr>
            <a:xfrm>
              <a:off x="9082426" y="3748752"/>
              <a:ext cx="7431" cy="1349"/>
            </a:xfrm>
            <a:custGeom>
              <a:avLst/>
              <a:gdLst>
                <a:gd name="connsiteX0" fmla="*/ 7432 w 7431"/>
                <a:gd name="connsiteY0" fmla="*/ 660 h 1349"/>
                <a:gd name="connsiteX1" fmla="*/ 6772 w 7431"/>
                <a:gd name="connsiteY1" fmla="*/ 0 h 1349"/>
                <a:gd name="connsiteX2" fmla="*/ 660 w 7431"/>
                <a:gd name="connsiteY2" fmla="*/ 0 h 1349"/>
                <a:gd name="connsiteX3" fmla="*/ 0 w 7431"/>
                <a:gd name="connsiteY3" fmla="*/ 660 h 1349"/>
                <a:gd name="connsiteX4" fmla="*/ 0 w 7431"/>
                <a:gd name="connsiteY4" fmla="*/ 690 h 1349"/>
                <a:gd name="connsiteX5" fmla="*/ 660 w 7431"/>
                <a:gd name="connsiteY5" fmla="*/ 1350 h 1349"/>
                <a:gd name="connsiteX6" fmla="*/ 6772 w 7431"/>
                <a:gd name="connsiteY6" fmla="*/ 1350 h 1349"/>
                <a:gd name="connsiteX7" fmla="*/ 7432 w 7431"/>
                <a:gd name="connsiteY7" fmla="*/ 690 h 1349"/>
                <a:gd name="connsiteX8" fmla="*/ 7432 w 7431"/>
                <a:gd name="connsiteY8" fmla="*/ 660 h 1349"/>
                <a:gd name="connsiteX9" fmla="*/ 7432 w 7431"/>
                <a:gd name="connsiteY9" fmla="*/ 66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1" h="1349">
                  <a:moveTo>
                    <a:pt x="7432" y="660"/>
                  </a:moveTo>
                  <a:cubicBezTo>
                    <a:pt x="7432" y="296"/>
                    <a:pt x="7136" y="0"/>
                    <a:pt x="6772" y="0"/>
                  </a:cubicBezTo>
                  <a:lnTo>
                    <a:pt x="660" y="0"/>
                  </a:lnTo>
                  <a:cubicBezTo>
                    <a:pt x="296" y="0"/>
                    <a:pt x="0" y="296"/>
                    <a:pt x="0" y="660"/>
                  </a:cubicBezTo>
                  <a:lnTo>
                    <a:pt x="0" y="690"/>
                  </a:lnTo>
                  <a:cubicBezTo>
                    <a:pt x="0" y="1054"/>
                    <a:pt x="296" y="1350"/>
                    <a:pt x="660" y="1350"/>
                  </a:cubicBezTo>
                  <a:lnTo>
                    <a:pt x="6772" y="1350"/>
                  </a:lnTo>
                  <a:cubicBezTo>
                    <a:pt x="7136" y="1350"/>
                    <a:pt x="7432" y="1054"/>
                    <a:pt x="7432" y="690"/>
                  </a:cubicBezTo>
                  <a:lnTo>
                    <a:pt x="7432" y="660"/>
                  </a:lnTo>
                  <a:lnTo>
                    <a:pt x="7432" y="660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2" name="Freeform: Shape 2941">
              <a:extLst>
                <a:ext uri="{FF2B5EF4-FFF2-40B4-BE49-F238E27FC236}">
                  <a16:creationId xmlns:a16="http://schemas.microsoft.com/office/drawing/2014/main" id="{A5A6FF4B-2205-4ED4-F111-AF580C220FFE}"/>
                </a:ext>
              </a:extLst>
            </p:cNvPr>
            <p:cNvSpPr/>
            <p:nvPr/>
          </p:nvSpPr>
          <p:spPr>
            <a:xfrm>
              <a:off x="9052506" y="3704677"/>
              <a:ext cx="3250" cy="3559"/>
            </a:xfrm>
            <a:custGeom>
              <a:avLst/>
              <a:gdLst>
                <a:gd name="connsiteX0" fmla="*/ 118 w 3250"/>
                <a:gd name="connsiteY0" fmla="*/ 786 h 3559"/>
                <a:gd name="connsiteX1" fmla="*/ 161 w 3250"/>
                <a:gd name="connsiteY1" fmla="*/ 119 h 3559"/>
                <a:gd name="connsiteX2" fmla="*/ 828 w 3250"/>
                <a:gd name="connsiteY2" fmla="*/ 160 h 3559"/>
                <a:gd name="connsiteX3" fmla="*/ 3133 w 3250"/>
                <a:gd name="connsiteY3" fmla="*/ 2772 h 3559"/>
                <a:gd name="connsiteX4" fmla="*/ 3092 w 3250"/>
                <a:gd name="connsiteY4" fmla="*/ 3440 h 3559"/>
                <a:gd name="connsiteX5" fmla="*/ 2423 w 3250"/>
                <a:gd name="connsiteY5" fmla="*/ 3399 h 3559"/>
                <a:gd name="connsiteX6" fmla="*/ 118 w 3250"/>
                <a:gd name="connsiteY6" fmla="*/ 786 h 3559"/>
                <a:gd name="connsiteX7" fmla="*/ 118 w 3250"/>
                <a:gd name="connsiteY7" fmla="*/ 786 h 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0" h="3559">
                  <a:moveTo>
                    <a:pt x="118" y="786"/>
                  </a:moveTo>
                  <a:cubicBezTo>
                    <a:pt x="-54" y="590"/>
                    <a:pt x="-36" y="291"/>
                    <a:pt x="161" y="119"/>
                  </a:cubicBezTo>
                  <a:cubicBezTo>
                    <a:pt x="356" y="-55"/>
                    <a:pt x="656" y="-35"/>
                    <a:pt x="828" y="160"/>
                  </a:cubicBezTo>
                  <a:lnTo>
                    <a:pt x="3133" y="2772"/>
                  </a:lnTo>
                  <a:cubicBezTo>
                    <a:pt x="3305" y="2969"/>
                    <a:pt x="3287" y="3268"/>
                    <a:pt x="3092" y="3440"/>
                  </a:cubicBezTo>
                  <a:cubicBezTo>
                    <a:pt x="2894" y="3614"/>
                    <a:pt x="2595" y="3594"/>
                    <a:pt x="2423" y="3399"/>
                  </a:cubicBezTo>
                  <a:lnTo>
                    <a:pt x="118" y="786"/>
                  </a:lnTo>
                  <a:lnTo>
                    <a:pt x="118" y="786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3" name="Freeform: Shape 2942">
              <a:extLst>
                <a:ext uri="{FF2B5EF4-FFF2-40B4-BE49-F238E27FC236}">
                  <a16:creationId xmlns:a16="http://schemas.microsoft.com/office/drawing/2014/main" id="{C2F19E94-6BF6-FE59-9BC9-D6CF3523B941}"/>
                </a:ext>
              </a:extLst>
            </p:cNvPr>
            <p:cNvSpPr/>
            <p:nvPr/>
          </p:nvSpPr>
          <p:spPr>
            <a:xfrm>
              <a:off x="9054851" y="3703114"/>
              <a:ext cx="4629" cy="5122"/>
            </a:xfrm>
            <a:custGeom>
              <a:avLst/>
              <a:gdLst>
                <a:gd name="connsiteX0" fmla="*/ 4510 w 4629"/>
                <a:gd name="connsiteY0" fmla="*/ 786 h 5122"/>
                <a:gd name="connsiteX1" fmla="*/ 4469 w 4629"/>
                <a:gd name="connsiteY1" fmla="*/ 119 h 5122"/>
                <a:gd name="connsiteX2" fmla="*/ 3801 w 4629"/>
                <a:gd name="connsiteY2" fmla="*/ 160 h 5122"/>
                <a:gd name="connsiteX3" fmla="*/ 119 w 4629"/>
                <a:gd name="connsiteY3" fmla="*/ 4335 h 5122"/>
                <a:gd name="connsiteX4" fmla="*/ 160 w 4629"/>
                <a:gd name="connsiteY4" fmla="*/ 5003 h 5122"/>
                <a:gd name="connsiteX5" fmla="*/ 829 w 4629"/>
                <a:gd name="connsiteY5" fmla="*/ 4962 h 5122"/>
                <a:gd name="connsiteX6" fmla="*/ 4510 w 4629"/>
                <a:gd name="connsiteY6" fmla="*/ 786 h 5122"/>
                <a:gd name="connsiteX7" fmla="*/ 4510 w 4629"/>
                <a:gd name="connsiteY7" fmla="*/ 786 h 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9" h="5122">
                  <a:moveTo>
                    <a:pt x="4510" y="786"/>
                  </a:moveTo>
                  <a:cubicBezTo>
                    <a:pt x="4684" y="590"/>
                    <a:pt x="4665" y="291"/>
                    <a:pt x="4469" y="119"/>
                  </a:cubicBezTo>
                  <a:cubicBezTo>
                    <a:pt x="4272" y="-55"/>
                    <a:pt x="3973" y="-35"/>
                    <a:pt x="3801" y="160"/>
                  </a:cubicBezTo>
                  <a:lnTo>
                    <a:pt x="119" y="4335"/>
                  </a:lnTo>
                  <a:cubicBezTo>
                    <a:pt x="-55" y="4532"/>
                    <a:pt x="-35" y="4831"/>
                    <a:pt x="160" y="5003"/>
                  </a:cubicBezTo>
                  <a:cubicBezTo>
                    <a:pt x="355" y="5177"/>
                    <a:pt x="655" y="5158"/>
                    <a:pt x="829" y="4962"/>
                  </a:cubicBezTo>
                  <a:lnTo>
                    <a:pt x="4510" y="786"/>
                  </a:lnTo>
                  <a:lnTo>
                    <a:pt x="4510" y="786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4" name="Freeform: Shape 2943">
              <a:extLst>
                <a:ext uri="{FF2B5EF4-FFF2-40B4-BE49-F238E27FC236}">
                  <a16:creationId xmlns:a16="http://schemas.microsoft.com/office/drawing/2014/main" id="{983AD203-D70E-8A5F-4B0D-6ACAB10F52E9}"/>
                </a:ext>
              </a:extLst>
            </p:cNvPr>
            <p:cNvSpPr/>
            <p:nvPr/>
          </p:nvSpPr>
          <p:spPr>
            <a:xfrm>
              <a:off x="9051294" y="3700976"/>
              <a:ext cx="9398" cy="9398"/>
            </a:xfrm>
            <a:custGeom>
              <a:avLst/>
              <a:gdLst>
                <a:gd name="connsiteX0" fmla="*/ 1576 w 9398"/>
                <a:gd name="connsiteY0" fmla="*/ 0 h 9398"/>
                <a:gd name="connsiteX1" fmla="*/ 0 w 9398"/>
                <a:gd name="connsiteY1" fmla="*/ 1576 h 9398"/>
                <a:gd name="connsiteX2" fmla="*/ 0 w 9398"/>
                <a:gd name="connsiteY2" fmla="*/ 7823 h 9398"/>
                <a:gd name="connsiteX3" fmla="*/ 1576 w 9398"/>
                <a:gd name="connsiteY3" fmla="*/ 9398 h 9398"/>
                <a:gd name="connsiteX4" fmla="*/ 7821 w 9398"/>
                <a:gd name="connsiteY4" fmla="*/ 9398 h 9398"/>
                <a:gd name="connsiteX5" fmla="*/ 9398 w 9398"/>
                <a:gd name="connsiteY5" fmla="*/ 7823 h 9398"/>
                <a:gd name="connsiteX6" fmla="*/ 9398 w 9398"/>
                <a:gd name="connsiteY6" fmla="*/ 1576 h 9398"/>
                <a:gd name="connsiteX7" fmla="*/ 7821 w 9398"/>
                <a:gd name="connsiteY7" fmla="*/ 0 h 9398"/>
                <a:gd name="connsiteX8" fmla="*/ 1576 w 9398"/>
                <a:gd name="connsiteY8" fmla="*/ 0 h 9398"/>
                <a:gd name="connsiteX9" fmla="*/ 1576 w 9398"/>
                <a:gd name="connsiteY9" fmla="*/ 649 h 9398"/>
                <a:gd name="connsiteX10" fmla="*/ 7821 w 9398"/>
                <a:gd name="connsiteY10" fmla="*/ 649 h 9398"/>
                <a:gd name="connsiteX11" fmla="*/ 8749 w 9398"/>
                <a:gd name="connsiteY11" fmla="*/ 1576 h 9398"/>
                <a:gd name="connsiteX12" fmla="*/ 8749 w 9398"/>
                <a:gd name="connsiteY12" fmla="*/ 7823 h 9398"/>
                <a:gd name="connsiteX13" fmla="*/ 7821 w 9398"/>
                <a:gd name="connsiteY13" fmla="*/ 8749 h 9398"/>
                <a:gd name="connsiteX14" fmla="*/ 1576 w 9398"/>
                <a:gd name="connsiteY14" fmla="*/ 8749 h 9398"/>
                <a:gd name="connsiteX15" fmla="*/ 647 w 9398"/>
                <a:gd name="connsiteY15" fmla="*/ 7823 h 9398"/>
                <a:gd name="connsiteX16" fmla="*/ 647 w 9398"/>
                <a:gd name="connsiteY16" fmla="*/ 1576 h 9398"/>
                <a:gd name="connsiteX17" fmla="*/ 1576 w 9398"/>
                <a:gd name="connsiteY17" fmla="*/ 649 h 9398"/>
                <a:gd name="connsiteX18" fmla="*/ 1576 w 9398"/>
                <a:gd name="connsiteY18" fmla="*/ 649 h 9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398" h="9398">
                  <a:moveTo>
                    <a:pt x="1576" y="0"/>
                  </a:moveTo>
                  <a:cubicBezTo>
                    <a:pt x="706" y="0"/>
                    <a:pt x="0" y="706"/>
                    <a:pt x="0" y="1576"/>
                  </a:cubicBezTo>
                  <a:lnTo>
                    <a:pt x="0" y="7823"/>
                  </a:lnTo>
                  <a:cubicBezTo>
                    <a:pt x="0" y="8692"/>
                    <a:pt x="706" y="9398"/>
                    <a:pt x="1576" y="9398"/>
                  </a:cubicBezTo>
                  <a:lnTo>
                    <a:pt x="7821" y="9398"/>
                  </a:lnTo>
                  <a:cubicBezTo>
                    <a:pt x="8692" y="9398"/>
                    <a:pt x="9398" y="8692"/>
                    <a:pt x="9398" y="7823"/>
                  </a:cubicBezTo>
                  <a:lnTo>
                    <a:pt x="9398" y="1576"/>
                  </a:lnTo>
                  <a:cubicBezTo>
                    <a:pt x="9398" y="706"/>
                    <a:pt x="8692" y="0"/>
                    <a:pt x="7821" y="0"/>
                  </a:cubicBezTo>
                  <a:lnTo>
                    <a:pt x="1576" y="0"/>
                  </a:lnTo>
                  <a:close/>
                  <a:moveTo>
                    <a:pt x="1576" y="649"/>
                  </a:moveTo>
                  <a:lnTo>
                    <a:pt x="7821" y="649"/>
                  </a:lnTo>
                  <a:cubicBezTo>
                    <a:pt x="8333" y="649"/>
                    <a:pt x="8749" y="1065"/>
                    <a:pt x="8749" y="1576"/>
                  </a:cubicBezTo>
                  <a:lnTo>
                    <a:pt x="8749" y="7823"/>
                  </a:lnTo>
                  <a:cubicBezTo>
                    <a:pt x="8749" y="8333"/>
                    <a:pt x="8333" y="8749"/>
                    <a:pt x="7821" y="8749"/>
                  </a:cubicBezTo>
                  <a:lnTo>
                    <a:pt x="1576" y="8749"/>
                  </a:lnTo>
                  <a:cubicBezTo>
                    <a:pt x="1063" y="8749"/>
                    <a:pt x="647" y="8333"/>
                    <a:pt x="647" y="7823"/>
                  </a:cubicBezTo>
                  <a:lnTo>
                    <a:pt x="647" y="1576"/>
                  </a:lnTo>
                  <a:cubicBezTo>
                    <a:pt x="647" y="1065"/>
                    <a:pt x="1063" y="649"/>
                    <a:pt x="1576" y="649"/>
                  </a:cubicBezTo>
                  <a:lnTo>
                    <a:pt x="1576" y="64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5" name="Freeform: Shape 2944">
              <a:extLst>
                <a:ext uri="{FF2B5EF4-FFF2-40B4-BE49-F238E27FC236}">
                  <a16:creationId xmlns:a16="http://schemas.microsoft.com/office/drawing/2014/main" id="{D03FE95D-3D76-C420-D7EB-DC732BD10AA2}"/>
                </a:ext>
              </a:extLst>
            </p:cNvPr>
            <p:cNvSpPr/>
            <p:nvPr/>
          </p:nvSpPr>
          <p:spPr>
            <a:xfrm>
              <a:off x="9052506" y="3720249"/>
              <a:ext cx="3250" cy="3559"/>
            </a:xfrm>
            <a:custGeom>
              <a:avLst/>
              <a:gdLst>
                <a:gd name="connsiteX0" fmla="*/ 118 w 3250"/>
                <a:gd name="connsiteY0" fmla="*/ 787 h 3559"/>
                <a:gd name="connsiteX1" fmla="*/ 161 w 3250"/>
                <a:gd name="connsiteY1" fmla="*/ 118 h 3559"/>
                <a:gd name="connsiteX2" fmla="*/ 828 w 3250"/>
                <a:gd name="connsiteY2" fmla="*/ 159 h 3559"/>
                <a:gd name="connsiteX3" fmla="*/ 3133 w 3250"/>
                <a:gd name="connsiteY3" fmla="*/ 2773 h 3559"/>
                <a:gd name="connsiteX4" fmla="*/ 3092 w 3250"/>
                <a:gd name="connsiteY4" fmla="*/ 3441 h 3559"/>
                <a:gd name="connsiteX5" fmla="*/ 2423 w 3250"/>
                <a:gd name="connsiteY5" fmla="*/ 3398 h 3559"/>
                <a:gd name="connsiteX6" fmla="*/ 118 w 3250"/>
                <a:gd name="connsiteY6" fmla="*/ 787 h 3559"/>
                <a:gd name="connsiteX7" fmla="*/ 118 w 3250"/>
                <a:gd name="connsiteY7" fmla="*/ 787 h 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0" h="3559">
                  <a:moveTo>
                    <a:pt x="118" y="787"/>
                  </a:moveTo>
                  <a:cubicBezTo>
                    <a:pt x="-54" y="590"/>
                    <a:pt x="-36" y="290"/>
                    <a:pt x="161" y="118"/>
                  </a:cubicBezTo>
                  <a:cubicBezTo>
                    <a:pt x="356" y="-54"/>
                    <a:pt x="656" y="-36"/>
                    <a:pt x="828" y="159"/>
                  </a:cubicBezTo>
                  <a:lnTo>
                    <a:pt x="3133" y="2773"/>
                  </a:lnTo>
                  <a:cubicBezTo>
                    <a:pt x="3305" y="2968"/>
                    <a:pt x="3287" y="3268"/>
                    <a:pt x="3092" y="3441"/>
                  </a:cubicBezTo>
                  <a:cubicBezTo>
                    <a:pt x="2894" y="3613"/>
                    <a:pt x="2595" y="3596"/>
                    <a:pt x="2423" y="3398"/>
                  </a:cubicBezTo>
                  <a:lnTo>
                    <a:pt x="118" y="787"/>
                  </a:lnTo>
                  <a:lnTo>
                    <a:pt x="118" y="787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6" name="Freeform: Shape 2945">
              <a:extLst>
                <a:ext uri="{FF2B5EF4-FFF2-40B4-BE49-F238E27FC236}">
                  <a16:creationId xmlns:a16="http://schemas.microsoft.com/office/drawing/2014/main" id="{F9E75CF7-0E8E-593F-F5C4-DDC24EDE51CF}"/>
                </a:ext>
              </a:extLst>
            </p:cNvPr>
            <p:cNvSpPr/>
            <p:nvPr/>
          </p:nvSpPr>
          <p:spPr>
            <a:xfrm>
              <a:off x="9054851" y="3718687"/>
              <a:ext cx="4629" cy="5122"/>
            </a:xfrm>
            <a:custGeom>
              <a:avLst/>
              <a:gdLst>
                <a:gd name="connsiteX0" fmla="*/ 4510 w 4629"/>
                <a:gd name="connsiteY0" fmla="*/ 787 h 5122"/>
                <a:gd name="connsiteX1" fmla="*/ 4469 w 4629"/>
                <a:gd name="connsiteY1" fmla="*/ 118 h 5122"/>
                <a:gd name="connsiteX2" fmla="*/ 3801 w 4629"/>
                <a:gd name="connsiteY2" fmla="*/ 161 h 5122"/>
                <a:gd name="connsiteX3" fmla="*/ 119 w 4629"/>
                <a:gd name="connsiteY3" fmla="*/ 4336 h 5122"/>
                <a:gd name="connsiteX4" fmla="*/ 160 w 4629"/>
                <a:gd name="connsiteY4" fmla="*/ 5004 h 5122"/>
                <a:gd name="connsiteX5" fmla="*/ 829 w 4629"/>
                <a:gd name="connsiteY5" fmla="*/ 4961 h 5122"/>
                <a:gd name="connsiteX6" fmla="*/ 4510 w 4629"/>
                <a:gd name="connsiteY6" fmla="*/ 787 h 5122"/>
                <a:gd name="connsiteX7" fmla="*/ 4510 w 4629"/>
                <a:gd name="connsiteY7" fmla="*/ 787 h 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9" h="5122">
                  <a:moveTo>
                    <a:pt x="4510" y="787"/>
                  </a:moveTo>
                  <a:cubicBezTo>
                    <a:pt x="4684" y="589"/>
                    <a:pt x="4665" y="292"/>
                    <a:pt x="4469" y="118"/>
                  </a:cubicBezTo>
                  <a:cubicBezTo>
                    <a:pt x="4272" y="-54"/>
                    <a:pt x="3973" y="-36"/>
                    <a:pt x="3801" y="161"/>
                  </a:cubicBezTo>
                  <a:lnTo>
                    <a:pt x="119" y="4336"/>
                  </a:lnTo>
                  <a:cubicBezTo>
                    <a:pt x="-55" y="4531"/>
                    <a:pt x="-35" y="4830"/>
                    <a:pt x="160" y="5004"/>
                  </a:cubicBezTo>
                  <a:cubicBezTo>
                    <a:pt x="355" y="5176"/>
                    <a:pt x="655" y="5158"/>
                    <a:pt x="829" y="4961"/>
                  </a:cubicBezTo>
                  <a:lnTo>
                    <a:pt x="4510" y="787"/>
                  </a:lnTo>
                  <a:lnTo>
                    <a:pt x="4510" y="787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7" name="Freeform: Shape 2946">
              <a:extLst>
                <a:ext uri="{FF2B5EF4-FFF2-40B4-BE49-F238E27FC236}">
                  <a16:creationId xmlns:a16="http://schemas.microsoft.com/office/drawing/2014/main" id="{33034421-766C-6BE4-3EA8-46BE2D226770}"/>
                </a:ext>
              </a:extLst>
            </p:cNvPr>
            <p:cNvSpPr/>
            <p:nvPr/>
          </p:nvSpPr>
          <p:spPr>
            <a:xfrm>
              <a:off x="9051294" y="3716549"/>
              <a:ext cx="9398" cy="9396"/>
            </a:xfrm>
            <a:custGeom>
              <a:avLst/>
              <a:gdLst>
                <a:gd name="connsiteX0" fmla="*/ 1576 w 9398"/>
                <a:gd name="connsiteY0" fmla="*/ 0 h 9396"/>
                <a:gd name="connsiteX1" fmla="*/ 0 w 9398"/>
                <a:gd name="connsiteY1" fmla="*/ 1576 h 9396"/>
                <a:gd name="connsiteX2" fmla="*/ 0 w 9398"/>
                <a:gd name="connsiteY2" fmla="*/ 7821 h 9396"/>
                <a:gd name="connsiteX3" fmla="*/ 1576 w 9398"/>
                <a:gd name="connsiteY3" fmla="*/ 9396 h 9396"/>
                <a:gd name="connsiteX4" fmla="*/ 7821 w 9398"/>
                <a:gd name="connsiteY4" fmla="*/ 9396 h 9396"/>
                <a:gd name="connsiteX5" fmla="*/ 9398 w 9398"/>
                <a:gd name="connsiteY5" fmla="*/ 7821 h 9396"/>
                <a:gd name="connsiteX6" fmla="*/ 9398 w 9398"/>
                <a:gd name="connsiteY6" fmla="*/ 1576 h 9396"/>
                <a:gd name="connsiteX7" fmla="*/ 7821 w 9398"/>
                <a:gd name="connsiteY7" fmla="*/ 0 h 9396"/>
                <a:gd name="connsiteX8" fmla="*/ 1576 w 9398"/>
                <a:gd name="connsiteY8" fmla="*/ 0 h 9396"/>
                <a:gd name="connsiteX9" fmla="*/ 1576 w 9398"/>
                <a:gd name="connsiteY9" fmla="*/ 647 h 9396"/>
                <a:gd name="connsiteX10" fmla="*/ 7821 w 9398"/>
                <a:gd name="connsiteY10" fmla="*/ 647 h 9396"/>
                <a:gd name="connsiteX11" fmla="*/ 8749 w 9398"/>
                <a:gd name="connsiteY11" fmla="*/ 1576 h 9396"/>
                <a:gd name="connsiteX12" fmla="*/ 8749 w 9398"/>
                <a:gd name="connsiteY12" fmla="*/ 7821 h 9396"/>
                <a:gd name="connsiteX13" fmla="*/ 7821 w 9398"/>
                <a:gd name="connsiteY13" fmla="*/ 8749 h 9396"/>
                <a:gd name="connsiteX14" fmla="*/ 1576 w 9398"/>
                <a:gd name="connsiteY14" fmla="*/ 8749 h 9396"/>
                <a:gd name="connsiteX15" fmla="*/ 647 w 9398"/>
                <a:gd name="connsiteY15" fmla="*/ 7821 h 9396"/>
                <a:gd name="connsiteX16" fmla="*/ 647 w 9398"/>
                <a:gd name="connsiteY16" fmla="*/ 1576 h 9396"/>
                <a:gd name="connsiteX17" fmla="*/ 1576 w 9398"/>
                <a:gd name="connsiteY17" fmla="*/ 647 h 9396"/>
                <a:gd name="connsiteX18" fmla="*/ 1576 w 9398"/>
                <a:gd name="connsiteY18" fmla="*/ 647 h 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398" h="9396">
                  <a:moveTo>
                    <a:pt x="1576" y="0"/>
                  </a:moveTo>
                  <a:cubicBezTo>
                    <a:pt x="706" y="0"/>
                    <a:pt x="0" y="704"/>
                    <a:pt x="0" y="1576"/>
                  </a:cubicBezTo>
                  <a:lnTo>
                    <a:pt x="0" y="7821"/>
                  </a:lnTo>
                  <a:cubicBezTo>
                    <a:pt x="0" y="8692"/>
                    <a:pt x="706" y="9396"/>
                    <a:pt x="1576" y="9396"/>
                  </a:cubicBezTo>
                  <a:lnTo>
                    <a:pt x="7821" y="9396"/>
                  </a:lnTo>
                  <a:cubicBezTo>
                    <a:pt x="8692" y="9396"/>
                    <a:pt x="9398" y="8692"/>
                    <a:pt x="9398" y="7821"/>
                  </a:cubicBezTo>
                  <a:lnTo>
                    <a:pt x="9398" y="1576"/>
                  </a:lnTo>
                  <a:cubicBezTo>
                    <a:pt x="9398" y="704"/>
                    <a:pt x="8692" y="0"/>
                    <a:pt x="7821" y="0"/>
                  </a:cubicBezTo>
                  <a:lnTo>
                    <a:pt x="1576" y="0"/>
                  </a:lnTo>
                  <a:close/>
                  <a:moveTo>
                    <a:pt x="1576" y="647"/>
                  </a:moveTo>
                  <a:lnTo>
                    <a:pt x="7821" y="647"/>
                  </a:lnTo>
                  <a:cubicBezTo>
                    <a:pt x="8333" y="647"/>
                    <a:pt x="8749" y="1063"/>
                    <a:pt x="8749" y="1576"/>
                  </a:cubicBezTo>
                  <a:lnTo>
                    <a:pt x="8749" y="7821"/>
                  </a:lnTo>
                  <a:cubicBezTo>
                    <a:pt x="8749" y="8333"/>
                    <a:pt x="8333" y="8749"/>
                    <a:pt x="7821" y="8749"/>
                  </a:cubicBezTo>
                  <a:lnTo>
                    <a:pt x="1576" y="8749"/>
                  </a:lnTo>
                  <a:cubicBezTo>
                    <a:pt x="1063" y="8749"/>
                    <a:pt x="647" y="8333"/>
                    <a:pt x="647" y="7821"/>
                  </a:cubicBezTo>
                  <a:lnTo>
                    <a:pt x="647" y="1576"/>
                  </a:lnTo>
                  <a:cubicBezTo>
                    <a:pt x="647" y="1063"/>
                    <a:pt x="1063" y="647"/>
                    <a:pt x="1576" y="647"/>
                  </a:cubicBezTo>
                  <a:lnTo>
                    <a:pt x="1576" y="64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8" name="Freeform: Shape 2947">
              <a:extLst>
                <a:ext uri="{FF2B5EF4-FFF2-40B4-BE49-F238E27FC236}">
                  <a16:creationId xmlns:a16="http://schemas.microsoft.com/office/drawing/2014/main" id="{FC68ADBD-83CB-C0A8-B3AE-1D6247C7EB3E}"/>
                </a:ext>
              </a:extLst>
            </p:cNvPr>
            <p:cNvSpPr/>
            <p:nvPr/>
          </p:nvSpPr>
          <p:spPr>
            <a:xfrm>
              <a:off x="9052506" y="3735043"/>
              <a:ext cx="3250" cy="3560"/>
            </a:xfrm>
            <a:custGeom>
              <a:avLst/>
              <a:gdLst>
                <a:gd name="connsiteX0" fmla="*/ 118 w 3250"/>
                <a:gd name="connsiteY0" fmla="*/ 787 h 3560"/>
                <a:gd name="connsiteX1" fmla="*/ 161 w 3250"/>
                <a:gd name="connsiteY1" fmla="*/ 118 h 3560"/>
                <a:gd name="connsiteX2" fmla="*/ 828 w 3250"/>
                <a:gd name="connsiteY2" fmla="*/ 161 h 3560"/>
                <a:gd name="connsiteX3" fmla="*/ 3133 w 3250"/>
                <a:gd name="connsiteY3" fmla="*/ 2773 h 3560"/>
                <a:gd name="connsiteX4" fmla="*/ 3092 w 3250"/>
                <a:gd name="connsiteY4" fmla="*/ 3441 h 3560"/>
                <a:gd name="connsiteX5" fmla="*/ 2423 w 3250"/>
                <a:gd name="connsiteY5" fmla="*/ 3400 h 3560"/>
                <a:gd name="connsiteX6" fmla="*/ 118 w 3250"/>
                <a:gd name="connsiteY6" fmla="*/ 787 h 3560"/>
                <a:gd name="connsiteX7" fmla="*/ 118 w 3250"/>
                <a:gd name="connsiteY7" fmla="*/ 787 h 3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0" h="3560">
                  <a:moveTo>
                    <a:pt x="118" y="787"/>
                  </a:moveTo>
                  <a:cubicBezTo>
                    <a:pt x="-54" y="591"/>
                    <a:pt x="-36" y="292"/>
                    <a:pt x="161" y="118"/>
                  </a:cubicBezTo>
                  <a:cubicBezTo>
                    <a:pt x="356" y="-54"/>
                    <a:pt x="656" y="-36"/>
                    <a:pt x="828" y="161"/>
                  </a:cubicBezTo>
                  <a:lnTo>
                    <a:pt x="3133" y="2773"/>
                  </a:lnTo>
                  <a:cubicBezTo>
                    <a:pt x="3305" y="2970"/>
                    <a:pt x="3287" y="3269"/>
                    <a:pt x="3092" y="3441"/>
                  </a:cubicBezTo>
                  <a:cubicBezTo>
                    <a:pt x="2894" y="3615"/>
                    <a:pt x="2595" y="3595"/>
                    <a:pt x="2423" y="3400"/>
                  </a:cubicBezTo>
                  <a:lnTo>
                    <a:pt x="118" y="787"/>
                  </a:lnTo>
                  <a:lnTo>
                    <a:pt x="118" y="787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9" name="Freeform: Shape 2948">
              <a:extLst>
                <a:ext uri="{FF2B5EF4-FFF2-40B4-BE49-F238E27FC236}">
                  <a16:creationId xmlns:a16="http://schemas.microsoft.com/office/drawing/2014/main" id="{A0B4826A-7DD9-B8D1-5C7C-E5D81B989DCB}"/>
                </a:ext>
              </a:extLst>
            </p:cNvPr>
            <p:cNvSpPr/>
            <p:nvPr/>
          </p:nvSpPr>
          <p:spPr>
            <a:xfrm>
              <a:off x="9054851" y="3733481"/>
              <a:ext cx="4629" cy="5122"/>
            </a:xfrm>
            <a:custGeom>
              <a:avLst/>
              <a:gdLst>
                <a:gd name="connsiteX0" fmla="*/ 4510 w 4629"/>
                <a:gd name="connsiteY0" fmla="*/ 786 h 5122"/>
                <a:gd name="connsiteX1" fmla="*/ 4469 w 4629"/>
                <a:gd name="connsiteY1" fmla="*/ 119 h 5122"/>
                <a:gd name="connsiteX2" fmla="*/ 3801 w 4629"/>
                <a:gd name="connsiteY2" fmla="*/ 160 h 5122"/>
                <a:gd name="connsiteX3" fmla="*/ 119 w 4629"/>
                <a:gd name="connsiteY3" fmla="*/ 4335 h 5122"/>
                <a:gd name="connsiteX4" fmla="*/ 160 w 4629"/>
                <a:gd name="connsiteY4" fmla="*/ 5003 h 5122"/>
                <a:gd name="connsiteX5" fmla="*/ 829 w 4629"/>
                <a:gd name="connsiteY5" fmla="*/ 4962 h 5122"/>
                <a:gd name="connsiteX6" fmla="*/ 4510 w 4629"/>
                <a:gd name="connsiteY6" fmla="*/ 786 h 5122"/>
                <a:gd name="connsiteX7" fmla="*/ 4510 w 4629"/>
                <a:gd name="connsiteY7" fmla="*/ 786 h 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9" h="5122">
                  <a:moveTo>
                    <a:pt x="4510" y="786"/>
                  </a:moveTo>
                  <a:cubicBezTo>
                    <a:pt x="4684" y="590"/>
                    <a:pt x="4665" y="291"/>
                    <a:pt x="4469" y="119"/>
                  </a:cubicBezTo>
                  <a:cubicBezTo>
                    <a:pt x="4272" y="-55"/>
                    <a:pt x="3973" y="-35"/>
                    <a:pt x="3801" y="160"/>
                  </a:cubicBezTo>
                  <a:lnTo>
                    <a:pt x="119" y="4335"/>
                  </a:lnTo>
                  <a:cubicBezTo>
                    <a:pt x="-55" y="4532"/>
                    <a:pt x="-35" y="4831"/>
                    <a:pt x="160" y="5003"/>
                  </a:cubicBezTo>
                  <a:cubicBezTo>
                    <a:pt x="355" y="5177"/>
                    <a:pt x="655" y="5158"/>
                    <a:pt x="829" y="4962"/>
                  </a:cubicBezTo>
                  <a:lnTo>
                    <a:pt x="4510" y="786"/>
                  </a:lnTo>
                  <a:lnTo>
                    <a:pt x="4510" y="786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0" name="Freeform: Shape 2949">
              <a:extLst>
                <a:ext uri="{FF2B5EF4-FFF2-40B4-BE49-F238E27FC236}">
                  <a16:creationId xmlns:a16="http://schemas.microsoft.com/office/drawing/2014/main" id="{D1ACDC11-DCF7-B7E3-CC78-5D2BFD66266D}"/>
                </a:ext>
              </a:extLst>
            </p:cNvPr>
            <p:cNvSpPr/>
            <p:nvPr/>
          </p:nvSpPr>
          <p:spPr>
            <a:xfrm>
              <a:off x="9051294" y="3731343"/>
              <a:ext cx="9398" cy="9398"/>
            </a:xfrm>
            <a:custGeom>
              <a:avLst/>
              <a:gdLst>
                <a:gd name="connsiteX0" fmla="*/ 1576 w 9398"/>
                <a:gd name="connsiteY0" fmla="*/ 0 h 9398"/>
                <a:gd name="connsiteX1" fmla="*/ 0 w 9398"/>
                <a:gd name="connsiteY1" fmla="*/ 1576 h 9398"/>
                <a:gd name="connsiteX2" fmla="*/ 0 w 9398"/>
                <a:gd name="connsiteY2" fmla="*/ 7821 h 9398"/>
                <a:gd name="connsiteX3" fmla="*/ 1576 w 9398"/>
                <a:gd name="connsiteY3" fmla="*/ 9398 h 9398"/>
                <a:gd name="connsiteX4" fmla="*/ 7821 w 9398"/>
                <a:gd name="connsiteY4" fmla="*/ 9398 h 9398"/>
                <a:gd name="connsiteX5" fmla="*/ 9398 w 9398"/>
                <a:gd name="connsiteY5" fmla="*/ 7821 h 9398"/>
                <a:gd name="connsiteX6" fmla="*/ 9398 w 9398"/>
                <a:gd name="connsiteY6" fmla="*/ 1576 h 9398"/>
                <a:gd name="connsiteX7" fmla="*/ 7821 w 9398"/>
                <a:gd name="connsiteY7" fmla="*/ 0 h 9398"/>
                <a:gd name="connsiteX8" fmla="*/ 1576 w 9398"/>
                <a:gd name="connsiteY8" fmla="*/ 0 h 9398"/>
                <a:gd name="connsiteX9" fmla="*/ 1576 w 9398"/>
                <a:gd name="connsiteY9" fmla="*/ 649 h 9398"/>
                <a:gd name="connsiteX10" fmla="*/ 7821 w 9398"/>
                <a:gd name="connsiteY10" fmla="*/ 649 h 9398"/>
                <a:gd name="connsiteX11" fmla="*/ 8749 w 9398"/>
                <a:gd name="connsiteY11" fmla="*/ 1576 h 9398"/>
                <a:gd name="connsiteX12" fmla="*/ 8749 w 9398"/>
                <a:gd name="connsiteY12" fmla="*/ 7821 h 9398"/>
                <a:gd name="connsiteX13" fmla="*/ 7821 w 9398"/>
                <a:gd name="connsiteY13" fmla="*/ 8749 h 9398"/>
                <a:gd name="connsiteX14" fmla="*/ 1576 w 9398"/>
                <a:gd name="connsiteY14" fmla="*/ 8749 h 9398"/>
                <a:gd name="connsiteX15" fmla="*/ 647 w 9398"/>
                <a:gd name="connsiteY15" fmla="*/ 7821 h 9398"/>
                <a:gd name="connsiteX16" fmla="*/ 647 w 9398"/>
                <a:gd name="connsiteY16" fmla="*/ 1576 h 9398"/>
                <a:gd name="connsiteX17" fmla="*/ 1576 w 9398"/>
                <a:gd name="connsiteY17" fmla="*/ 649 h 9398"/>
                <a:gd name="connsiteX18" fmla="*/ 1576 w 9398"/>
                <a:gd name="connsiteY18" fmla="*/ 649 h 9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398" h="9398">
                  <a:moveTo>
                    <a:pt x="1576" y="0"/>
                  </a:moveTo>
                  <a:cubicBezTo>
                    <a:pt x="706" y="0"/>
                    <a:pt x="0" y="706"/>
                    <a:pt x="0" y="1576"/>
                  </a:cubicBezTo>
                  <a:lnTo>
                    <a:pt x="0" y="7821"/>
                  </a:lnTo>
                  <a:cubicBezTo>
                    <a:pt x="0" y="8692"/>
                    <a:pt x="706" y="9398"/>
                    <a:pt x="1576" y="9398"/>
                  </a:cubicBezTo>
                  <a:lnTo>
                    <a:pt x="7821" y="9398"/>
                  </a:lnTo>
                  <a:cubicBezTo>
                    <a:pt x="8692" y="9398"/>
                    <a:pt x="9398" y="8692"/>
                    <a:pt x="9398" y="7821"/>
                  </a:cubicBezTo>
                  <a:lnTo>
                    <a:pt x="9398" y="1576"/>
                  </a:lnTo>
                  <a:cubicBezTo>
                    <a:pt x="9398" y="706"/>
                    <a:pt x="8692" y="0"/>
                    <a:pt x="7821" y="0"/>
                  </a:cubicBezTo>
                  <a:lnTo>
                    <a:pt x="1576" y="0"/>
                  </a:lnTo>
                  <a:close/>
                  <a:moveTo>
                    <a:pt x="1576" y="649"/>
                  </a:moveTo>
                  <a:lnTo>
                    <a:pt x="7821" y="649"/>
                  </a:lnTo>
                  <a:cubicBezTo>
                    <a:pt x="8333" y="649"/>
                    <a:pt x="8749" y="1063"/>
                    <a:pt x="8749" y="1576"/>
                  </a:cubicBezTo>
                  <a:lnTo>
                    <a:pt x="8749" y="7821"/>
                  </a:lnTo>
                  <a:cubicBezTo>
                    <a:pt x="8749" y="8333"/>
                    <a:pt x="8333" y="8749"/>
                    <a:pt x="7821" y="8749"/>
                  </a:cubicBezTo>
                  <a:lnTo>
                    <a:pt x="1576" y="8749"/>
                  </a:lnTo>
                  <a:cubicBezTo>
                    <a:pt x="1063" y="8749"/>
                    <a:pt x="647" y="8333"/>
                    <a:pt x="647" y="7821"/>
                  </a:cubicBezTo>
                  <a:lnTo>
                    <a:pt x="647" y="1576"/>
                  </a:lnTo>
                  <a:cubicBezTo>
                    <a:pt x="647" y="1063"/>
                    <a:pt x="1063" y="649"/>
                    <a:pt x="1576" y="649"/>
                  </a:cubicBezTo>
                  <a:lnTo>
                    <a:pt x="1576" y="64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1" name="Freeform: Shape 2950">
              <a:extLst>
                <a:ext uri="{FF2B5EF4-FFF2-40B4-BE49-F238E27FC236}">
                  <a16:creationId xmlns:a16="http://schemas.microsoft.com/office/drawing/2014/main" id="{FCE50596-4FC3-7E69-51C0-20A8483F88DC}"/>
                </a:ext>
              </a:extLst>
            </p:cNvPr>
            <p:cNvSpPr/>
            <p:nvPr/>
          </p:nvSpPr>
          <p:spPr>
            <a:xfrm>
              <a:off x="9052506" y="3751408"/>
              <a:ext cx="3250" cy="3559"/>
            </a:xfrm>
            <a:custGeom>
              <a:avLst/>
              <a:gdLst>
                <a:gd name="connsiteX0" fmla="*/ 118 w 3250"/>
                <a:gd name="connsiteY0" fmla="*/ 786 h 3559"/>
                <a:gd name="connsiteX1" fmla="*/ 161 w 3250"/>
                <a:gd name="connsiteY1" fmla="*/ 119 h 3559"/>
                <a:gd name="connsiteX2" fmla="*/ 828 w 3250"/>
                <a:gd name="connsiteY2" fmla="*/ 160 h 3559"/>
                <a:gd name="connsiteX3" fmla="*/ 3133 w 3250"/>
                <a:gd name="connsiteY3" fmla="*/ 2774 h 3559"/>
                <a:gd name="connsiteX4" fmla="*/ 3092 w 3250"/>
                <a:gd name="connsiteY4" fmla="*/ 3440 h 3559"/>
                <a:gd name="connsiteX5" fmla="*/ 2423 w 3250"/>
                <a:gd name="connsiteY5" fmla="*/ 3399 h 3559"/>
                <a:gd name="connsiteX6" fmla="*/ 118 w 3250"/>
                <a:gd name="connsiteY6" fmla="*/ 786 h 3559"/>
                <a:gd name="connsiteX7" fmla="*/ 118 w 3250"/>
                <a:gd name="connsiteY7" fmla="*/ 786 h 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0" h="3559">
                  <a:moveTo>
                    <a:pt x="118" y="786"/>
                  </a:moveTo>
                  <a:cubicBezTo>
                    <a:pt x="-54" y="590"/>
                    <a:pt x="-36" y="291"/>
                    <a:pt x="161" y="119"/>
                  </a:cubicBezTo>
                  <a:cubicBezTo>
                    <a:pt x="356" y="-55"/>
                    <a:pt x="656" y="-35"/>
                    <a:pt x="828" y="160"/>
                  </a:cubicBezTo>
                  <a:lnTo>
                    <a:pt x="3133" y="2774"/>
                  </a:lnTo>
                  <a:cubicBezTo>
                    <a:pt x="3305" y="2969"/>
                    <a:pt x="3287" y="3268"/>
                    <a:pt x="3092" y="3440"/>
                  </a:cubicBezTo>
                  <a:cubicBezTo>
                    <a:pt x="2894" y="3614"/>
                    <a:pt x="2595" y="3594"/>
                    <a:pt x="2423" y="3399"/>
                  </a:cubicBezTo>
                  <a:lnTo>
                    <a:pt x="118" y="786"/>
                  </a:lnTo>
                  <a:lnTo>
                    <a:pt x="118" y="786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2" name="Freeform: Shape 2951">
              <a:extLst>
                <a:ext uri="{FF2B5EF4-FFF2-40B4-BE49-F238E27FC236}">
                  <a16:creationId xmlns:a16="http://schemas.microsoft.com/office/drawing/2014/main" id="{AA7583FE-2ED3-3223-FBA5-B23EA0E95D5E}"/>
                </a:ext>
              </a:extLst>
            </p:cNvPr>
            <p:cNvSpPr/>
            <p:nvPr/>
          </p:nvSpPr>
          <p:spPr>
            <a:xfrm>
              <a:off x="9054851" y="3749845"/>
              <a:ext cx="4629" cy="5122"/>
            </a:xfrm>
            <a:custGeom>
              <a:avLst/>
              <a:gdLst>
                <a:gd name="connsiteX0" fmla="*/ 4510 w 4629"/>
                <a:gd name="connsiteY0" fmla="*/ 787 h 5122"/>
                <a:gd name="connsiteX1" fmla="*/ 4469 w 4629"/>
                <a:gd name="connsiteY1" fmla="*/ 119 h 5122"/>
                <a:gd name="connsiteX2" fmla="*/ 3801 w 4629"/>
                <a:gd name="connsiteY2" fmla="*/ 160 h 5122"/>
                <a:gd name="connsiteX3" fmla="*/ 119 w 4629"/>
                <a:gd name="connsiteY3" fmla="*/ 4337 h 5122"/>
                <a:gd name="connsiteX4" fmla="*/ 160 w 4629"/>
                <a:gd name="connsiteY4" fmla="*/ 5003 h 5122"/>
                <a:gd name="connsiteX5" fmla="*/ 829 w 4629"/>
                <a:gd name="connsiteY5" fmla="*/ 4962 h 5122"/>
                <a:gd name="connsiteX6" fmla="*/ 4510 w 4629"/>
                <a:gd name="connsiteY6" fmla="*/ 787 h 5122"/>
                <a:gd name="connsiteX7" fmla="*/ 4510 w 4629"/>
                <a:gd name="connsiteY7" fmla="*/ 787 h 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9" h="5122">
                  <a:moveTo>
                    <a:pt x="4510" y="787"/>
                  </a:moveTo>
                  <a:cubicBezTo>
                    <a:pt x="4684" y="590"/>
                    <a:pt x="4665" y="291"/>
                    <a:pt x="4469" y="119"/>
                  </a:cubicBezTo>
                  <a:cubicBezTo>
                    <a:pt x="4272" y="-55"/>
                    <a:pt x="3973" y="-35"/>
                    <a:pt x="3801" y="160"/>
                  </a:cubicBezTo>
                  <a:lnTo>
                    <a:pt x="119" y="4337"/>
                  </a:lnTo>
                  <a:cubicBezTo>
                    <a:pt x="-55" y="4532"/>
                    <a:pt x="-35" y="4831"/>
                    <a:pt x="160" y="5003"/>
                  </a:cubicBezTo>
                  <a:cubicBezTo>
                    <a:pt x="355" y="5177"/>
                    <a:pt x="655" y="5158"/>
                    <a:pt x="829" y="4962"/>
                  </a:cubicBezTo>
                  <a:lnTo>
                    <a:pt x="4510" y="787"/>
                  </a:lnTo>
                  <a:lnTo>
                    <a:pt x="4510" y="787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3" name="Freeform: Shape 2952">
              <a:extLst>
                <a:ext uri="{FF2B5EF4-FFF2-40B4-BE49-F238E27FC236}">
                  <a16:creationId xmlns:a16="http://schemas.microsoft.com/office/drawing/2014/main" id="{C95C7D65-810B-932C-787D-AA7317C24D99}"/>
                </a:ext>
              </a:extLst>
            </p:cNvPr>
            <p:cNvSpPr/>
            <p:nvPr/>
          </p:nvSpPr>
          <p:spPr>
            <a:xfrm>
              <a:off x="9051294" y="3747709"/>
              <a:ext cx="9398" cy="9396"/>
            </a:xfrm>
            <a:custGeom>
              <a:avLst/>
              <a:gdLst>
                <a:gd name="connsiteX0" fmla="*/ 1576 w 9398"/>
                <a:gd name="connsiteY0" fmla="*/ 0 h 9396"/>
                <a:gd name="connsiteX1" fmla="*/ 0 w 9398"/>
                <a:gd name="connsiteY1" fmla="*/ 1576 h 9396"/>
                <a:gd name="connsiteX2" fmla="*/ 0 w 9398"/>
                <a:gd name="connsiteY2" fmla="*/ 7821 h 9396"/>
                <a:gd name="connsiteX3" fmla="*/ 1576 w 9398"/>
                <a:gd name="connsiteY3" fmla="*/ 9396 h 9396"/>
                <a:gd name="connsiteX4" fmla="*/ 7821 w 9398"/>
                <a:gd name="connsiteY4" fmla="*/ 9396 h 9396"/>
                <a:gd name="connsiteX5" fmla="*/ 9398 w 9398"/>
                <a:gd name="connsiteY5" fmla="*/ 7821 h 9396"/>
                <a:gd name="connsiteX6" fmla="*/ 9398 w 9398"/>
                <a:gd name="connsiteY6" fmla="*/ 1576 h 9396"/>
                <a:gd name="connsiteX7" fmla="*/ 7821 w 9398"/>
                <a:gd name="connsiteY7" fmla="*/ 0 h 9396"/>
                <a:gd name="connsiteX8" fmla="*/ 1576 w 9398"/>
                <a:gd name="connsiteY8" fmla="*/ 0 h 9396"/>
                <a:gd name="connsiteX9" fmla="*/ 1576 w 9398"/>
                <a:gd name="connsiteY9" fmla="*/ 647 h 9396"/>
                <a:gd name="connsiteX10" fmla="*/ 7821 w 9398"/>
                <a:gd name="connsiteY10" fmla="*/ 647 h 9396"/>
                <a:gd name="connsiteX11" fmla="*/ 8749 w 9398"/>
                <a:gd name="connsiteY11" fmla="*/ 1576 h 9396"/>
                <a:gd name="connsiteX12" fmla="*/ 8749 w 9398"/>
                <a:gd name="connsiteY12" fmla="*/ 7821 h 9396"/>
                <a:gd name="connsiteX13" fmla="*/ 7821 w 9398"/>
                <a:gd name="connsiteY13" fmla="*/ 8747 h 9396"/>
                <a:gd name="connsiteX14" fmla="*/ 1576 w 9398"/>
                <a:gd name="connsiteY14" fmla="*/ 8747 h 9396"/>
                <a:gd name="connsiteX15" fmla="*/ 647 w 9398"/>
                <a:gd name="connsiteY15" fmla="*/ 7821 h 9396"/>
                <a:gd name="connsiteX16" fmla="*/ 647 w 9398"/>
                <a:gd name="connsiteY16" fmla="*/ 1576 h 9396"/>
                <a:gd name="connsiteX17" fmla="*/ 1576 w 9398"/>
                <a:gd name="connsiteY17" fmla="*/ 647 h 9396"/>
                <a:gd name="connsiteX18" fmla="*/ 1576 w 9398"/>
                <a:gd name="connsiteY18" fmla="*/ 647 h 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398" h="9396">
                  <a:moveTo>
                    <a:pt x="1576" y="0"/>
                  </a:moveTo>
                  <a:cubicBezTo>
                    <a:pt x="706" y="0"/>
                    <a:pt x="0" y="704"/>
                    <a:pt x="0" y="1576"/>
                  </a:cubicBezTo>
                  <a:lnTo>
                    <a:pt x="0" y="7821"/>
                  </a:lnTo>
                  <a:cubicBezTo>
                    <a:pt x="0" y="8690"/>
                    <a:pt x="706" y="9396"/>
                    <a:pt x="1576" y="9396"/>
                  </a:cubicBezTo>
                  <a:lnTo>
                    <a:pt x="7821" y="9396"/>
                  </a:lnTo>
                  <a:cubicBezTo>
                    <a:pt x="8692" y="9396"/>
                    <a:pt x="9398" y="8690"/>
                    <a:pt x="9398" y="7821"/>
                  </a:cubicBezTo>
                  <a:lnTo>
                    <a:pt x="9398" y="1576"/>
                  </a:lnTo>
                  <a:cubicBezTo>
                    <a:pt x="9398" y="704"/>
                    <a:pt x="8692" y="0"/>
                    <a:pt x="7821" y="0"/>
                  </a:cubicBezTo>
                  <a:lnTo>
                    <a:pt x="1576" y="0"/>
                  </a:lnTo>
                  <a:close/>
                  <a:moveTo>
                    <a:pt x="1576" y="647"/>
                  </a:moveTo>
                  <a:lnTo>
                    <a:pt x="7821" y="647"/>
                  </a:lnTo>
                  <a:cubicBezTo>
                    <a:pt x="8333" y="647"/>
                    <a:pt x="8749" y="1063"/>
                    <a:pt x="8749" y="1576"/>
                  </a:cubicBezTo>
                  <a:lnTo>
                    <a:pt x="8749" y="7821"/>
                  </a:lnTo>
                  <a:cubicBezTo>
                    <a:pt x="8749" y="8333"/>
                    <a:pt x="8333" y="8747"/>
                    <a:pt x="7821" y="8747"/>
                  </a:cubicBezTo>
                  <a:lnTo>
                    <a:pt x="1576" y="8747"/>
                  </a:lnTo>
                  <a:cubicBezTo>
                    <a:pt x="1063" y="8747"/>
                    <a:pt x="647" y="8333"/>
                    <a:pt x="647" y="7821"/>
                  </a:cubicBezTo>
                  <a:lnTo>
                    <a:pt x="647" y="1576"/>
                  </a:lnTo>
                  <a:cubicBezTo>
                    <a:pt x="647" y="1063"/>
                    <a:pt x="1063" y="647"/>
                    <a:pt x="1576" y="647"/>
                  </a:cubicBezTo>
                  <a:lnTo>
                    <a:pt x="1576" y="64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4" name="Freeform: Shape 2953">
              <a:extLst>
                <a:ext uri="{FF2B5EF4-FFF2-40B4-BE49-F238E27FC236}">
                  <a16:creationId xmlns:a16="http://schemas.microsoft.com/office/drawing/2014/main" id="{11533631-A1FE-FC06-84CB-D85AC4C2C20E}"/>
                </a:ext>
              </a:extLst>
            </p:cNvPr>
            <p:cNvSpPr/>
            <p:nvPr/>
          </p:nvSpPr>
          <p:spPr>
            <a:xfrm>
              <a:off x="8939518" y="3517504"/>
              <a:ext cx="57419" cy="88479"/>
            </a:xfrm>
            <a:custGeom>
              <a:avLst/>
              <a:gdLst>
                <a:gd name="connsiteX0" fmla="*/ 57420 w 57419"/>
                <a:gd name="connsiteY0" fmla="*/ 15545 h 88479"/>
                <a:gd name="connsiteX1" fmla="*/ 57420 w 57419"/>
                <a:gd name="connsiteY1" fmla="*/ 88480 h 88479"/>
                <a:gd name="connsiteX2" fmla="*/ 0 w 57419"/>
                <a:gd name="connsiteY2" fmla="*/ 88480 h 88479"/>
                <a:gd name="connsiteX3" fmla="*/ 0 w 57419"/>
                <a:gd name="connsiteY3" fmla="*/ 0 h 88479"/>
                <a:gd name="connsiteX4" fmla="*/ 37119 w 57419"/>
                <a:gd name="connsiteY4" fmla="*/ 0 h 8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419" h="88479">
                  <a:moveTo>
                    <a:pt x="57420" y="15545"/>
                  </a:moveTo>
                  <a:lnTo>
                    <a:pt x="57420" y="88480"/>
                  </a:lnTo>
                  <a:lnTo>
                    <a:pt x="0" y="88480"/>
                  </a:lnTo>
                  <a:lnTo>
                    <a:pt x="0" y="0"/>
                  </a:lnTo>
                  <a:lnTo>
                    <a:pt x="37119" y="0"/>
                  </a:lnTo>
                </a:path>
              </a:pathLst>
            </a:custGeom>
            <a:solidFill>
              <a:schemeClr val="accent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5" name="Freeform: Shape 2954">
              <a:extLst>
                <a:ext uri="{FF2B5EF4-FFF2-40B4-BE49-F238E27FC236}">
                  <a16:creationId xmlns:a16="http://schemas.microsoft.com/office/drawing/2014/main" id="{CF8089FF-CB9C-C9A7-67DE-E7FA11B04ECC}"/>
                </a:ext>
              </a:extLst>
            </p:cNvPr>
            <p:cNvSpPr/>
            <p:nvPr/>
          </p:nvSpPr>
          <p:spPr>
            <a:xfrm>
              <a:off x="8976637" y="3517504"/>
              <a:ext cx="20300" cy="15544"/>
            </a:xfrm>
            <a:custGeom>
              <a:avLst/>
              <a:gdLst>
                <a:gd name="connsiteX0" fmla="*/ 20300 w 20300"/>
                <a:gd name="connsiteY0" fmla="*/ 15545 h 15544"/>
                <a:gd name="connsiteX1" fmla="*/ 0 w 20300"/>
                <a:gd name="connsiteY1" fmla="*/ 15545 h 15544"/>
                <a:gd name="connsiteX2" fmla="*/ 0 w 20300"/>
                <a:gd name="connsiteY2" fmla="*/ 0 h 1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00" h="15544">
                  <a:moveTo>
                    <a:pt x="20300" y="15545"/>
                  </a:moveTo>
                  <a:lnTo>
                    <a:pt x="0" y="15545"/>
                  </a:lnTo>
                  <a:lnTo>
                    <a:pt x="0" y="0"/>
                  </a:lnTo>
                </a:path>
              </a:pathLst>
            </a:custGeom>
            <a:solidFill>
              <a:schemeClr val="accent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6" name="Freeform: Shape 2955">
              <a:extLst>
                <a:ext uri="{FF2B5EF4-FFF2-40B4-BE49-F238E27FC236}">
                  <a16:creationId xmlns:a16="http://schemas.microsoft.com/office/drawing/2014/main" id="{5D0308E6-9DF8-8676-6968-B569AE810451}"/>
                </a:ext>
              </a:extLst>
            </p:cNvPr>
            <p:cNvSpPr/>
            <p:nvPr/>
          </p:nvSpPr>
          <p:spPr>
            <a:xfrm>
              <a:off x="8983578" y="3544110"/>
              <a:ext cx="9059" cy="1349"/>
            </a:xfrm>
            <a:custGeom>
              <a:avLst/>
              <a:gdLst>
                <a:gd name="connsiteX0" fmla="*/ 0 w 9059"/>
                <a:gd name="connsiteY0" fmla="*/ 629 h 1349"/>
                <a:gd name="connsiteX1" fmla="*/ 631 w 9059"/>
                <a:gd name="connsiteY1" fmla="*/ 0 h 1349"/>
                <a:gd name="connsiteX2" fmla="*/ 8430 w 9059"/>
                <a:gd name="connsiteY2" fmla="*/ 0 h 1349"/>
                <a:gd name="connsiteX3" fmla="*/ 9059 w 9059"/>
                <a:gd name="connsiteY3" fmla="*/ 629 h 1349"/>
                <a:gd name="connsiteX4" fmla="*/ 9059 w 9059"/>
                <a:gd name="connsiteY4" fmla="*/ 721 h 1349"/>
                <a:gd name="connsiteX5" fmla="*/ 8430 w 9059"/>
                <a:gd name="connsiteY5" fmla="*/ 1350 h 1349"/>
                <a:gd name="connsiteX6" fmla="*/ 631 w 9059"/>
                <a:gd name="connsiteY6" fmla="*/ 1350 h 1349"/>
                <a:gd name="connsiteX7" fmla="*/ 0 w 9059"/>
                <a:gd name="connsiteY7" fmla="*/ 721 h 1349"/>
                <a:gd name="connsiteX8" fmla="*/ 0 w 9059"/>
                <a:gd name="connsiteY8" fmla="*/ 629 h 1349"/>
                <a:gd name="connsiteX9" fmla="*/ 0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0" y="629"/>
                  </a:moveTo>
                  <a:cubicBezTo>
                    <a:pt x="0" y="281"/>
                    <a:pt x="283" y="0"/>
                    <a:pt x="631" y="0"/>
                  </a:cubicBezTo>
                  <a:lnTo>
                    <a:pt x="8430" y="0"/>
                  </a:lnTo>
                  <a:cubicBezTo>
                    <a:pt x="8778" y="0"/>
                    <a:pt x="9059" y="281"/>
                    <a:pt x="9059" y="629"/>
                  </a:cubicBezTo>
                  <a:lnTo>
                    <a:pt x="9059" y="721"/>
                  </a:lnTo>
                  <a:cubicBezTo>
                    <a:pt x="9059" y="1068"/>
                    <a:pt x="8778" y="1350"/>
                    <a:pt x="8430" y="1350"/>
                  </a:cubicBezTo>
                  <a:lnTo>
                    <a:pt x="631" y="1350"/>
                  </a:lnTo>
                  <a:cubicBezTo>
                    <a:pt x="283" y="1350"/>
                    <a:pt x="0" y="1068"/>
                    <a:pt x="0" y="721"/>
                  </a:cubicBezTo>
                  <a:lnTo>
                    <a:pt x="0" y="629"/>
                  </a:lnTo>
                  <a:lnTo>
                    <a:pt x="0" y="629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7" name="Freeform: Shape 2956">
              <a:extLst>
                <a:ext uri="{FF2B5EF4-FFF2-40B4-BE49-F238E27FC236}">
                  <a16:creationId xmlns:a16="http://schemas.microsoft.com/office/drawing/2014/main" id="{04E52449-3DCF-FEB3-C94F-67E0C99B97B2}"/>
                </a:ext>
              </a:extLst>
            </p:cNvPr>
            <p:cNvSpPr/>
            <p:nvPr/>
          </p:nvSpPr>
          <p:spPr>
            <a:xfrm>
              <a:off x="8956242" y="3540516"/>
              <a:ext cx="9059" cy="1349"/>
            </a:xfrm>
            <a:custGeom>
              <a:avLst/>
              <a:gdLst>
                <a:gd name="connsiteX0" fmla="*/ 9059 w 9059"/>
                <a:gd name="connsiteY0" fmla="*/ 629 h 1349"/>
                <a:gd name="connsiteX1" fmla="*/ 8430 w 9059"/>
                <a:gd name="connsiteY1" fmla="*/ 0 h 1349"/>
                <a:gd name="connsiteX2" fmla="*/ 629 w 9059"/>
                <a:gd name="connsiteY2" fmla="*/ 0 h 1349"/>
                <a:gd name="connsiteX3" fmla="*/ 0 w 9059"/>
                <a:gd name="connsiteY3" fmla="*/ 629 h 1349"/>
                <a:gd name="connsiteX4" fmla="*/ 0 w 9059"/>
                <a:gd name="connsiteY4" fmla="*/ 719 h 1349"/>
                <a:gd name="connsiteX5" fmla="*/ 629 w 9059"/>
                <a:gd name="connsiteY5" fmla="*/ 1350 h 1349"/>
                <a:gd name="connsiteX6" fmla="*/ 8430 w 9059"/>
                <a:gd name="connsiteY6" fmla="*/ 1350 h 1349"/>
                <a:gd name="connsiteX7" fmla="*/ 9059 w 9059"/>
                <a:gd name="connsiteY7" fmla="*/ 719 h 1349"/>
                <a:gd name="connsiteX8" fmla="*/ 9059 w 9059"/>
                <a:gd name="connsiteY8" fmla="*/ 629 h 1349"/>
                <a:gd name="connsiteX9" fmla="*/ 9059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9059" y="629"/>
                  </a:moveTo>
                  <a:cubicBezTo>
                    <a:pt x="9059" y="281"/>
                    <a:pt x="8778" y="0"/>
                    <a:pt x="8430" y="0"/>
                  </a:cubicBezTo>
                  <a:lnTo>
                    <a:pt x="629" y="0"/>
                  </a:lnTo>
                  <a:cubicBezTo>
                    <a:pt x="281" y="0"/>
                    <a:pt x="0" y="281"/>
                    <a:pt x="0" y="629"/>
                  </a:cubicBezTo>
                  <a:lnTo>
                    <a:pt x="0" y="719"/>
                  </a:lnTo>
                  <a:cubicBezTo>
                    <a:pt x="0" y="1067"/>
                    <a:pt x="281" y="1350"/>
                    <a:pt x="629" y="1350"/>
                  </a:cubicBezTo>
                  <a:lnTo>
                    <a:pt x="8430" y="1350"/>
                  </a:lnTo>
                  <a:cubicBezTo>
                    <a:pt x="8778" y="1350"/>
                    <a:pt x="9059" y="1067"/>
                    <a:pt x="9059" y="719"/>
                  </a:cubicBezTo>
                  <a:lnTo>
                    <a:pt x="9059" y="629"/>
                  </a:lnTo>
                  <a:lnTo>
                    <a:pt x="9059" y="62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8" name="Freeform: Shape 2957">
              <a:extLst>
                <a:ext uri="{FF2B5EF4-FFF2-40B4-BE49-F238E27FC236}">
                  <a16:creationId xmlns:a16="http://schemas.microsoft.com/office/drawing/2014/main" id="{66C486B9-8E58-22D7-1421-82B4FA2FB559}"/>
                </a:ext>
              </a:extLst>
            </p:cNvPr>
            <p:cNvSpPr/>
            <p:nvPr/>
          </p:nvSpPr>
          <p:spPr>
            <a:xfrm>
              <a:off x="8964871" y="3547591"/>
              <a:ext cx="9059" cy="1349"/>
            </a:xfrm>
            <a:custGeom>
              <a:avLst/>
              <a:gdLst>
                <a:gd name="connsiteX0" fmla="*/ 0 w 9059"/>
                <a:gd name="connsiteY0" fmla="*/ 676 h 1349"/>
                <a:gd name="connsiteX1" fmla="*/ 676 w 9059"/>
                <a:gd name="connsiteY1" fmla="*/ 0 h 1349"/>
                <a:gd name="connsiteX2" fmla="*/ 8384 w 9059"/>
                <a:gd name="connsiteY2" fmla="*/ 0 h 1349"/>
                <a:gd name="connsiteX3" fmla="*/ 9059 w 9059"/>
                <a:gd name="connsiteY3" fmla="*/ 676 h 1349"/>
                <a:gd name="connsiteX4" fmla="*/ 8384 w 9059"/>
                <a:gd name="connsiteY4" fmla="*/ 1350 h 1349"/>
                <a:gd name="connsiteX5" fmla="*/ 676 w 9059"/>
                <a:gd name="connsiteY5" fmla="*/ 1350 h 1349"/>
                <a:gd name="connsiteX6" fmla="*/ 0 w 9059"/>
                <a:gd name="connsiteY6" fmla="*/ 676 h 1349"/>
                <a:gd name="connsiteX7" fmla="*/ 0 w 9059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9" h="1349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8384" y="0"/>
                  </a:lnTo>
                  <a:cubicBezTo>
                    <a:pt x="8756" y="0"/>
                    <a:pt x="9059" y="303"/>
                    <a:pt x="9059" y="676"/>
                  </a:cubicBezTo>
                  <a:cubicBezTo>
                    <a:pt x="9059" y="1049"/>
                    <a:pt x="8756" y="1350"/>
                    <a:pt x="8384" y="1350"/>
                  </a:cubicBezTo>
                  <a:lnTo>
                    <a:pt x="676" y="1350"/>
                  </a:lnTo>
                  <a:cubicBezTo>
                    <a:pt x="303" y="1350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9" name="Freeform: Shape 2958">
              <a:extLst>
                <a:ext uri="{FF2B5EF4-FFF2-40B4-BE49-F238E27FC236}">
                  <a16:creationId xmlns:a16="http://schemas.microsoft.com/office/drawing/2014/main" id="{4583E03C-DAE2-F806-690B-7DFAD5C156FE}"/>
                </a:ext>
              </a:extLst>
            </p:cNvPr>
            <p:cNvSpPr/>
            <p:nvPr/>
          </p:nvSpPr>
          <p:spPr>
            <a:xfrm>
              <a:off x="8977924" y="3544110"/>
              <a:ext cx="5074" cy="1349"/>
            </a:xfrm>
            <a:custGeom>
              <a:avLst/>
              <a:gdLst>
                <a:gd name="connsiteX0" fmla="*/ 0 w 5074"/>
                <a:gd name="connsiteY0" fmla="*/ 617 h 1349"/>
                <a:gd name="connsiteX1" fmla="*/ 617 w 5074"/>
                <a:gd name="connsiteY1" fmla="*/ 0 h 1349"/>
                <a:gd name="connsiteX2" fmla="*/ 4458 w 5074"/>
                <a:gd name="connsiteY2" fmla="*/ 0 h 1349"/>
                <a:gd name="connsiteX3" fmla="*/ 5075 w 5074"/>
                <a:gd name="connsiteY3" fmla="*/ 617 h 1349"/>
                <a:gd name="connsiteX4" fmla="*/ 5075 w 5074"/>
                <a:gd name="connsiteY4" fmla="*/ 733 h 1349"/>
                <a:gd name="connsiteX5" fmla="*/ 4458 w 5074"/>
                <a:gd name="connsiteY5" fmla="*/ 1350 h 1349"/>
                <a:gd name="connsiteX6" fmla="*/ 617 w 5074"/>
                <a:gd name="connsiteY6" fmla="*/ 1350 h 1349"/>
                <a:gd name="connsiteX7" fmla="*/ 0 w 5074"/>
                <a:gd name="connsiteY7" fmla="*/ 733 h 1349"/>
                <a:gd name="connsiteX8" fmla="*/ 0 w 5074"/>
                <a:gd name="connsiteY8" fmla="*/ 617 h 1349"/>
                <a:gd name="connsiteX9" fmla="*/ 0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0" y="617"/>
                  </a:moveTo>
                  <a:cubicBezTo>
                    <a:pt x="0" y="276"/>
                    <a:pt x="276" y="0"/>
                    <a:pt x="617" y="0"/>
                  </a:cubicBezTo>
                  <a:lnTo>
                    <a:pt x="4458" y="0"/>
                  </a:lnTo>
                  <a:cubicBezTo>
                    <a:pt x="4799" y="0"/>
                    <a:pt x="5075" y="276"/>
                    <a:pt x="5075" y="617"/>
                  </a:cubicBezTo>
                  <a:lnTo>
                    <a:pt x="5075" y="733"/>
                  </a:lnTo>
                  <a:cubicBezTo>
                    <a:pt x="5075" y="1074"/>
                    <a:pt x="4799" y="1350"/>
                    <a:pt x="4458" y="1350"/>
                  </a:cubicBezTo>
                  <a:lnTo>
                    <a:pt x="617" y="1350"/>
                  </a:lnTo>
                  <a:cubicBezTo>
                    <a:pt x="276" y="1350"/>
                    <a:pt x="0" y="1074"/>
                    <a:pt x="0" y="733"/>
                  </a:cubicBezTo>
                  <a:lnTo>
                    <a:pt x="0" y="617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0" name="Freeform: Shape 2959">
              <a:extLst>
                <a:ext uri="{FF2B5EF4-FFF2-40B4-BE49-F238E27FC236}">
                  <a16:creationId xmlns:a16="http://schemas.microsoft.com/office/drawing/2014/main" id="{5A5E8B5B-716B-1FEB-A8E4-7D7DE3E35824}"/>
                </a:ext>
              </a:extLst>
            </p:cNvPr>
            <p:cNvSpPr/>
            <p:nvPr/>
          </p:nvSpPr>
          <p:spPr>
            <a:xfrm>
              <a:off x="8965881" y="3540516"/>
              <a:ext cx="5074" cy="1349"/>
            </a:xfrm>
            <a:custGeom>
              <a:avLst/>
              <a:gdLst>
                <a:gd name="connsiteX0" fmla="*/ 5075 w 5074"/>
                <a:gd name="connsiteY0" fmla="*/ 617 h 1349"/>
                <a:gd name="connsiteX1" fmla="*/ 4458 w 5074"/>
                <a:gd name="connsiteY1" fmla="*/ 0 h 1349"/>
                <a:gd name="connsiteX2" fmla="*/ 617 w 5074"/>
                <a:gd name="connsiteY2" fmla="*/ 0 h 1349"/>
                <a:gd name="connsiteX3" fmla="*/ 0 w 5074"/>
                <a:gd name="connsiteY3" fmla="*/ 617 h 1349"/>
                <a:gd name="connsiteX4" fmla="*/ 0 w 5074"/>
                <a:gd name="connsiteY4" fmla="*/ 733 h 1349"/>
                <a:gd name="connsiteX5" fmla="*/ 617 w 5074"/>
                <a:gd name="connsiteY5" fmla="*/ 1350 h 1349"/>
                <a:gd name="connsiteX6" fmla="*/ 4458 w 5074"/>
                <a:gd name="connsiteY6" fmla="*/ 1350 h 1349"/>
                <a:gd name="connsiteX7" fmla="*/ 5075 w 5074"/>
                <a:gd name="connsiteY7" fmla="*/ 733 h 1349"/>
                <a:gd name="connsiteX8" fmla="*/ 5075 w 5074"/>
                <a:gd name="connsiteY8" fmla="*/ 617 h 1349"/>
                <a:gd name="connsiteX9" fmla="*/ 5075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5075" y="617"/>
                  </a:moveTo>
                  <a:cubicBezTo>
                    <a:pt x="5075" y="276"/>
                    <a:pt x="4799" y="0"/>
                    <a:pt x="4458" y="0"/>
                  </a:cubicBezTo>
                  <a:lnTo>
                    <a:pt x="617" y="0"/>
                  </a:lnTo>
                  <a:cubicBezTo>
                    <a:pt x="276" y="0"/>
                    <a:pt x="0" y="276"/>
                    <a:pt x="0" y="617"/>
                  </a:cubicBezTo>
                  <a:lnTo>
                    <a:pt x="0" y="733"/>
                  </a:lnTo>
                  <a:cubicBezTo>
                    <a:pt x="0" y="1074"/>
                    <a:pt x="276" y="1350"/>
                    <a:pt x="617" y="1350"/>
                  </a:cubicBezTo>
                  <a:lnTo>
                    <a:pt x="4458" y="1350"/>
                  </a:lnTo>
                  <a:cubicBezTo>
                    <a:pt x="4799" y="1350"/>
                    <a:pt x="5075" y="1074"/>
                    <a:pt x="5075" y="733"/>
                  </a:cubicBezTo>
                  <a:lnTo>
                    <a:pt x="5075" y="617"/>
                  </a:lnTo>
                  <a:lnTo>
                    <a:pt x="5075" y="61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1" name="Freeform: Shape 2960">
              <a:extLst>
                <a:ext uri="{FF2B5EF4-FFF2-40B4-BE49-F238E27FC236}">
                  <a16:creationId xmlns:a16="http://schemas.microsoft.com/office/drawing/2014/main" id="{CE15115F-D36F-2F7D-AEFA-83A23A022625}"/>
                </a:ext>
              </a:extLst>
            </p:cNvPr>
            <p:cNvSpPr/>
            <p:nvPr/>
          </p:nvSpPr>
          <p:spPr>
            <a:xfrm>
              <a:off x="8959218" y="3547591"/>
              <a:ext cx="5074" cy="1349"/>
            </a:xfrm>
            <a:custGeom>
              <a:avLst/>
              <a:gdLst>
                <a:gd name="connsiteX0" fmla="*/ 0 w 5074"/>
                <a:gd name="connsiteY0" fmla="*/ 676 h 1349"/>
                <a:gd name="connsiteX1" fmla="*/ 674 w 5074"/>
                <a:gd name="connsiteY1" fmla="*/ 0 h 1349"/>
                <a:gd name="connsiteX2" fmla="*/ 4399 w 5074"/>
                <a:gd name="connsiteY2" fmla="*/ 0 h 1349"/>
                <a:gd name="connsiteX3" fmla="*/ 5075 w 5074"/>
                <a:gd name="connsiteY3" fmla="*/ 676 h 1349"/>
                <a:gd name="connsiteX4" fmla="*/ 4399 w 5074"/>
                <a:gd name="connsiteY4" fmla="*/ 1350 h 1349"/>
                <a:gd name="connsiteX5" fmla="*/ 674 w 5074"/>
                <a:gd name="connsiteY5" fmla="*/ 1350 h 1349"/>
                <a:gd name="connsiteX6" fmla="*/ 0 w 5074"/>
                <a:gd name="connsiteY6" fmla="*/ 676 h 1349"/>
                <a:gd name="connsiteX7" fmla="*/ 0 w 5074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0" y="676"/>
                  </a:moveTo>
                  <a:cubicBezTo>
                    <a:pt x="0" y="303"/>
                    <a:pt x="301" y="0"/>
                    <a:pt x="674" y="0"/>
                  </a:cubicBezTo>
                  <a:lnTo>
                    <a:pt x="4399" y="0"/>
                  </a:lnTo>
                  <a:cubicBezTo>
                    <a:pt x="4772" y="0"/>
                    <a:pt x="5075" y="303"/>
                    <a:pt x="5075" y="676"/>
                  </a:cubicBezTo>
                  <a:cubicBezTo>
                    <a:pt x="5075" y="1049"/>
                    <a:pt x="4772" y="1350"/>
                    <a:pt x="4399" y="1350"/>
                  </a:cubicBezTo>
                  <a:lnTo>
                    <a:pt x="674" y="1350"/>
                  </a:lnTo>
                  <a:cubicBezTo>
                    <a:pt x="301" y="1350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2" name="Freeform: Shape 2961">
              <a:extLst>
                <a:ext uri="{FF2B5EF4-FFF2-40B4-BE49-F238E27FC236}">
                  <a16:creationId xmlns:a16="http://schemas.microsoft.com/office/drawing/2014/main" id="{E908BD24-F878-428C-E2B0-01BFF6BB3381}"/>
                </a:ext>
              </a:extLst>
            </p:cNvPr>
            <p:cNvSpPr/>
            <p:nvPr/>
          </p:nvSpPr>
          <p:spPr>
            <a:xfrm>
              <a:off x="8956242" y="3544110"/>
              <a:ext cx="3396" cy="1349"/>
            </a:xfrm>
            <a:custGeom>
              <a:avLst/>
              <a:gdLst>
                <a:gd name="connsiteX0" fmla="*/ 0 w 3396"/>
                <a:gd name="connsiteY0" fmla="*/ 658 h 1349"/>
                <a:gd name="connsiteX1" fmla="*/ 658 w 3396"/>
                <a:gd name="connsiteY1" fmla="*/ 0 h 1349"/>
                <a:gd name="connsiteX2" fmla="*/ 2739 w 3396"/>
                <a:gd name="connsiteY2" fmla="*/ 0 h 1349"/>
                <a:gd name="connsiteX3" fmla="*/ 3397 w 3396"/>
                <a:gd name="connsiteY3" fmla="*/ 658 h 1349"/>
                <a:gd name="connsiteX4" fmla="*/ 3397 w 3396"/>
                <a:gd name="connsiteY4" fmla="*/ 692 h 1349"/>
                <a:gd name="connsiteX5" fmla="*/ 2739 w 3396"/>
                <a:gd name="connsiteY5" fmla="*/ 1350 h 1349"/>
                <a:gd name="connsiteX6" fmla="*/ 658 w 3396"/>
                <a:gd name="connsiteY6" fmla="*/ 1350 h 1349"/>
                <a:gd name="connsiteX7" fmla="*/ 0 w 3396"/>
                <a:gd name="connsiteY7" fmla="*/ 692 h 1349"/>
                <a:gd name="connsiteX8" fmla="*/ 0 w 3396"/>
                <a:gd name="connsiteY8" fmla="*/ 658 h 1349"/>
                <a:gd name="connsiteX9" fmla="*/ 0 w 3396"/>
                <a:gd name="connsiteY9" fmla="*/ 658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6" h="1349">
                  <a:moveTo>
                    <a:pt x="0" y="658"/>
                  </a:moveTo>
                  <a:cubicBezTo>
                    <a:pt x="0" y="294"/>
                    <a:pt x="294" y="0"/>
                    <a:pt x="658" y="0"/>
                  </a:cubicBezTo>
                  <a:lnTo>
                    <a:pt x="2739" y="0"/>
                  </a:lnTo>
                  <a:cubicBezTo>
                    <a:pt x="3103" y="0"/>
                    <a:pt x="3397" y="294"/>
                    <a:pt x="3397" y="658"/>
                  </a:cubicBezTo>
                  <a:lnTo>
                    <a:pt x="3397" y="692"/>
                  </a:lnTo>
                  <a:cubicBezTo>
                    <a:pt x="3397" y="1056"/>
                    <a:pt x="3103" y="1350"/>
                    <a:pt x="2739" y="1350"/>
                  </a:cubicBezTo>
                  <a:lnTo>
                    <a:pt x="658" y="1350"/>
                  </a:lnTo>
                  <a:cubicBezTo>
                    <a:pt x="294" y="1350"/>
                    <a:pt x="0" y="1056"/>
                    <a:pt x="0" y="692"/>
                  </a:cubicBezTo>
                  <a:lnTo>
                    <a:pt x="0" y="658"/>
                  </a:lnTo>
                  <a:lnTo>
                    <a:pt x="0" y="658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3" name="Freeform: Shape 2962">
              <a:extLst>
                <a:ext uri="{FF2B5EF4-FFF2-40B4-BE49-F238E27FC236}">
                  <a16:creationId xmlns:a16="http://schemas.microsoft.com/office/drawing/2014/main" id="{532F0D6D-3BD5-FEED-5BA1-91490C7E8195}"/>
                </a:ext>
              </a:extLst>
            </p:cNvPr>
            <p:cNvSpPr/>
            <p:nvPr/>
          </p:nvSpPr>
          <p:spPr>
            <a:xfrm>
              <a:off x="8974949" y="3544110"/>
              <a:ext cx="2423" cy="1349"/>
            </a:xfrm>
            <a:custGeom>
              <a:avLst/>
              <a:gdLst>
                <a:gd name="connsiteX0" fmla="*/ 0 w 2423"/>
                <a:gd name="connsiteY0" fmla="*/ 600 h 1349"/>
                <a:gd name="connsiteX1" fmla="*/ 602 w 2423"/>
                <a:gd name="connsiteY1" fmla="*/ 0 h 1349"/>
                <a:gd name="connsiteX2" fmla="*/ 1823 w 2423"/>
                <a:gd name="connsiteY2" fmla="*/ 0 h 1349"/>
                <a:gd name="connsiteX3" fmla="*/ 2423 w 2423"/>
                <a:gd name="connsiteY3" fmla="*/ 600 h 1349"/>
                <a:gd name="connsiteX4" fmla="*/ 2423 w 2423"/>
                <a:gd name="connsiteY4" fmla="*/ 749 h 1349"/>
                <a:gd name="connsiteX5" fmla="*/ 1823 w 2423"/>
                <a:gd name="connsiteY5" fmla="*/ 1350 h 1349"/>
                <a:gd name="connsiteX6" fmla="*/ 602 w 2423"/>
                <a:gd name="connsiteY6" fmla="*/ 1350 h 1349"/>
                <a:gd name="connsiteX7" fmla="*/ 0 w 2423"/>
                <a:gd name="connsiteY7" fmla="*/ 749 h 1349"/>
                <a:gd name="connsiteX8" fmla="*/ 0 w 2423"/>
                <a:gd name="connsiteY8" fmla="*/ 600 h 1349"/>
                <a:gd name="connsiteX9" fmla="*/ 0 w 2423"/>
                <a:gd name="connsiteY9" fmla="*/ 60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3" h="1349">
                  <a:moveTo>
                    <a:pt x="0" y="600"/>
                  </a:moveTo>
                  <a:cubicBezTo>
                    <a:pt x="0" y="269"/>
                    <a:pt x="271" y="0"/>
                    <a:pt x="602" y="0"/>
                  </a:cubicBezTo>
                  <a:lnTo>
                    <a:pt x="1823" y="0"/>
                  </a:lnTo>
                  <a:cubicBezTo>
                    <a:pt x="2155" y="0"/>
                    <a:pt x="2423" y="269"/>
                    <a:pt x="2423" y="600"/>
                  </a:cubicBezTo>
                  <a:lnTo>
                    <a:pt x="2423" y="749"/>
                  </a:lnTo>
                  <a:cubicBezTo>
                    <a:pt x="2423" y="1081"/>
                    <a:pt x="2155" y="1350"/>
                    <a:pt x="1823" y="1350"/>
                  </a:cubicBezTo>
                  <a:lnTo>
                    <a:pt x="602" y="1350"/>
                  </a:lnTo>
                  <a:cubicBezTo>
                    <a:pt x="271" y="1350"/>
                    <a:pt x="0" y="1081"/>
                    <a:pt x="0" y="749"/>
                  </a:cubicBezTo>
                  <a:lnTo>
                    <a:pt x="0" y="600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4" name="Freeform: Shape 2963">
              <a:extLst>
                <a:ext uri="{FF2B5EF4-FFF2-40B4-BE49-F238E27FC236}">
                  <a16:creationId xmlns:a16="http://schemas.microsoft.com/office/drawing/2014/main" id="{3C6DD292-0B47-0BC2-656A-BD7F2BD45889}"/>
                </a:ext>
              </a:extLst>
            </p:cNvPr>
            <p:cNvSpPr/>
            <p:nvPr/>
          </p:nvSpPr>
          <p:spPr>
            <a:xfrm>
              <a:off x="8956242" y="3547591"/>
              <a:ext cx="2421" cy="1349"/>
            </a:xfrm>
            <a:custGeom>
              <a:avLst/>
              <a:gdLst>
                <a:gd name="connsiteX0" fmla="*/ 0 w 2421"/>
                <a:gd name="connsiteY0" fmla="*/ 676 h 1349"/>
                <a:gd name="connsiteX1" fmla="*/ 676 w 2421"/>
                <a:gd name="connsiteY1" fmla="*/ 0 h 1349"/>
                <a:gd name="connsiteX2" fmla="*/ 1748 w 2421"/>
                <a:gd name="connsiteY2" fmla="*/ 0 h 1349"/>
                <a:gd name="connsiteX3" fmla="*/ 2422 w 2421"/>
                <a:gd name="connsiteY3" fmla="*/ 676 h 1349"/>
                <a:gd name="connsiteX4" fmla="*/ 1748 w 2421"/>
                <a:gd name="connsiteY4" fmla="*/ 1350 h 1349"/>
                <a:gd name="connsiteX5" fmla="*/ 676 w 2421"/>
                <a:gd name="connsiteY5" fmla="*/ 1350 h 1349"/>
                <a:gd name="connsiteX6" fmla="*/ 0 w 2421"/>
                <a:gd name="connsiteY6" fmla="*/ 676 h 1349"/>
                <a:gd name="connsiteX7" fmla="*/ 0 w 2421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1" h="1349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1748" y="0"/>
                  </a:lnTo>
                  <a:cubicBezTo>
                    <a:pt x="2121" y="0"/>
                    <a:pt x="2422" y="303"/>
                    <a:pt x="2422" y="676"/>
                  </a:cubicBezTo>
                  <a:cubicBezTo>
                    <a:pt x="2422" y="1049"/>
                    <a:pt x="2121" y="1350"/>
                    <a:pt x="1748" y="1350"/>
                  </a:cubicBezTo>
                  <a:lnTo>
                    <a:pt x="676" y="1350"/>
                  </a:lnTo>
                  <a:cubicBezTo>
                    <a:pt x="303" y="1350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5" name="Freeform: Shape 2964">
              <a:extLst>
                <a:ext uri="{FF2B5EF4-FFF2-40B4-BE49-F238E27FC236}">
                  <a16:creationId xmlns:a16="http://schemas.microsoft.com/office/drawing/2014/main" id="{759028E7-7878-23B4-F267-A30D297E5349}"/>
                </a:ext>
              </a:extLst>
            </p:cNvPr>
            <p:cNvSpPr/>
            <p:nvPr/>
          </p:nvSpPr>
          <p:spPr>
            <a:xfrm>
              <a:off x="8960603" y="3544110"/>
              <a:ext cx="2785" cy="1349"/>
            </a:xfrm>
            <a:custGeom>
              <a:avLst/>
              <a:gdLst>
                <a:gd name="connsiteX0" fmla="*/ 0 w 2785"/>
                <a:gd name="connsiteY0" fmla="*/ 635 h 1349"/>
                <a:gd name="connsiteX1" fmla="*/ 636 w 2785"/>
                <a:gd name="connsiteY1" fmla="*/ 0 h 1349"/>
                <a:gd name="connsiteX2" fmla="*/ 2149 w 2785"/>
                <a:gd name="connsiteY2" fmla="*/ 0 h 1349"/>
                <a:gd name="connsiteX3" fmla="*/ 2786 w 2785"/>
                <a:gd name="connsiteY3" fmla="*/ 635 h 1349"/>
                <a:gd name="connsiteX4" fmla="*/ 2786 w 2785"/>
                <a:gd name="connsiteY4" fmla="*/ 715 h 1349"/>
                <a:gd name="connsiteX5" fmla="*/ 2149 w 2785"/>
                <a:gd name="connsiteY5" fmla="*/ 1350 h 1349"/>
                <a:gd name="connsiteX6" fmla="*/ 636 w 2785"/>
                <a:gd name="connsiteY6" fmla="*/ 1350 h 1349"/>
                <a:gd name="connsiteX7" fmla="*/ 0 w 2785"/>
                <a:gd name="connsiteY7" fmla="*/ 715 h 1349"/>
                <a:gd name="connsiteX8" fmla="*/ 0 w 2785"/>
                <a:gd name="connsiteY8" fmla="*/ 635 h 1349"/>
                <a:gd name="connsiteX9" fmla="*/ 0 w 2785"/>
                <a:gd name="connsiteY9" fmla="*/ 635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5" h="1349">
                  <a:moveTo>
                    <a:pt x="0" y="635"/>
                  </a:moveTo>
                  <a:cubicBezTo>
                    <a:pt x="0" y="285"/>
                    <a:pt x="285" y="0"/>
                    <a:pt x="636" y="0"/>
                  </a:cubicBezTo>
                  <a:lnTo>
                    <a:pt x="2149" y="0"/>
                  </a:lnTo>
                  <a:cubicBezTo>
                    <a:pt x="2501" y="0"/>
                    <a:pt x="2786" y="285"/>
                    <a:pt x="2786" y="635"/>
                  </a:cubicBezTo>
                  <a:lnTo>
                    <a:pt x="2786" y="715"/>
                  </a:lnTo>
                  <a:cubicBezTo>
                    <a:pt x="2786" y="1065"/>
                    <a:pt x="2501" y="1350"/>
                    <a:pt x="2149" y="1350"/>
                  </a:cubicBezTo>
                  <a:lnTo>
                    <a:pt x="636" y="1350"/>
                  </a:lnTo>
                  <a:cubicBezTo>
                    <a:pt x="285" y="1350"/>
                    <a:pt x="0" y="1065"/>
                    <a:pt x="0" y="715"/>
                  </a:cubicBezTo>
                  <a:lnTo>
                    <a:pt x="0" y="635"/>
                  </a:lnTo>
                  <a:lnTo>
                    <a:pt x="0" y="635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6" name="Freeform: Shape 2965">
              <a:extLst>
                <a:ext uri="{FF2B5EF4-FFF2-40B4-BE49-F238E27FC236}">
                  <a16:creationId xmlns:a16="http://schemas.microsoft.com/office/drawing/2014/main" id="{1580A934-4162-B403-7078-059A98E6A9CF}"/>
                </a:ext>
              </a:extLst>
            </p:cNvPr>
            <p:cNvSpPr/>
            <p:nvPr/>
          </p:nvSpPr>
          <p:spPr>
            <a:xfrm>
              <a:off x="8963893" y="3544110"/>
              <a:ext cx="2168" cy="1349"/>
            </a:xfrm>
            <a:custGeom>
              <a:avLst/>
              <a:gdLst>
                <a:gd name="connsiteX0" fmla="*/ 0 w 2168"/>
                <a:gd name="connsiteY0" fmla="*/ 627 h 1349"/>
                <a:gd name="connsiteX1" fmla="*/ 627 w 2168"/>
                <a:gd name="connsiteY1" fmla="*/ 0 h 1349"/>
                <a:gd name="connsiteX2" fmla="*/ 1543 w 2168"/>
                <a:gd name="connsiteY2" fmla="*/ 0 h 1349"/>
                <a:gd name="connsiteX3" fmla="*/ 2169 w 2168"/>
                <a:gd name="connsiteY3" fmla="*/ 627 h 1349"/>
                <a:gd name="connsiteX4" fmla="*/ 2169 w 2168"/>
                <a:gd name="connsiteY4" fmla="*/ 722 h 1349"/>
                <a:gd name="connsiteX5" fmla="*/ 1543 w 2168"/>
                <a:gd name="connsiteY5" fmla="*/ 1350 h 1349"/>
                <a:gd name="connsiteX6" fmla="*/ 627 w 2168"/>
                <a:gd name="connsiteY6" fmla="*/ 1350 h 1349"/>
                <a:gd name="connsiteX7" fmla="*/ 0 w 2168"/>
                <a:gd name="connsiteY7" fmla="*/ 722 h 1349"/>
                <a:gd name="connsiteX8" fmla="*/ 0 w 2168"/>
                <a:gd name="connsiteY8" fmla="*/ 627 h 1349"/>
                <a:gd name="connsiteX9" fmla="*/ 0 w 2168"/>
                <a:gd name="connsiteY9" fmla="*/ 62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8" h="1349">
                  <a:moveTo>
                    <a:pt x="0" y="627"/>
                  </a:moveTo>
                  <a:cubicBezTo>
                    <a:pt x="0" y="281"/>
                    <a:pt x="281" y="0"/>
                    <a:pt x="627" y="0"/>
                  </a:cubicBezTo>
                  <a:lnTo>
                    <a:pt x="1543" y="0"/>
                  </a:lnTo>
                  <a:cubicBezTo>
                    <a:pt x="1889" y="0"/>
                    <a:pt x="2169" y="281"/>
                    <a:pt x="2169" y="627"/>
                  </a:cubicBezTo>
                  <a:lnTo>
                    <a:pt x="2169" y="722"/>
                  </a:lnTo>
                  <a:cubicBezTo>
                    <a:pt x="2169" y="1068"/>
                    <a:pt x="1889" y="1350"/>
                    <a:pt x="1543" y="1350"/>
                  </a:cubicBezTo>
                  <a:lnTo>
                    <a:pt x="627" y="1350"/>
                  </a:lnTo>
                  <a:cubicBezTo>
                    <a:pt x="281" y="1350"/>
                    <a:pt x="0" y="1068"/>
                    <a:pt x="0" y="722"/>
                  </a:cubicBezTo>
                  <a:lnTo>
                    <a:pt x="0" y="627"/>
                  </a:lnTo>
                  <a:lnTo>
                    <a:pt x="0" y="62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7" name="Freeform: Shape 2966">
              <a:extLst>
                <a:ext uri="{FF2B5EF4-FFF2-40B4-BE49-F238E27FC236}">
                  <a16:creationId xmlns:a16="http://schemas.microsoft.com/office/drawing/2014/main" id="{D9A4D938-212D-3339-9F88-07BCDF0E5089}"/>
                </a:ext>
              </a:extLst>
            </p:cNvPr>
            <p:cNvSpPr/>
            <p:nvPr/>
          </p:nvSpPr>
          <p:spPr>
            <a:xfrm>
              <a:off x="8966497" y="3544110"/>
              <a:ext cx="7433" cy="1349"/>
            </a:xfrm>
            <a:custGeom>
              <a:avLst/>
              <a:gdLst>
                <a:gd name="connsiteX0" fmla="*/ 0 w 7433"/>
                <a:gd name="connsiteY0" fmla="*/ 660 h 1349"/>
                <a:gd name="connsiteX1" fmla="*/ 661 w 7433"/>
                <a:gd name="connsiteY1" fmla="*/ 0 h 1349"/>
                <a:gd name="connsiteX2" fmla="*/ 6774 w 7433"/>
                <a:gd name="connsiteY2" fmla="*/ 0 h 1349"/>
                <a:gd name="connsiteX3" fmla="*/ 7434 w 7433"/>
                <a:gd name="connsiteY3" fmla="*/ 660 h 1349"/>
                <a:gd name="connsiteX4" fmla="*/ 7434 w 7433"/>
                <a:gd name="connsiteY4" fmla="*/ 690 h 1349"/>
                <a:gd name="connsiteX5" fmla="*/ 6774 w 7433"/>
                <a:gd name="connsiteY5" fmla="*/ 1350 h 1349"/>
                <a:gd name="connsiteX6" fmla="*/ 661 w 7433"/>
                <a:gd name="connsiteY6" fmla="*/ 1350 h 1349"/>
                <a:gd name="connsiteX7" fmla="*/ 0 w 7433"/>
                <a:gd name="connsiteY7" fmla="*/ 690 h 1349"/>
                <a:gd name="connsiteX8" fmla="*/ 0 w 7433"/>
                <a:gd name="connsiteY8" fmla="*/ 660 h 1349"/>
                <a:gd name="connsiteX9" fmla="*/ 0 w 7433"/>
                <a:gd name="connsiteY9" fmla="*/ 66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3" h="1349">
                  <a:moveTo>
                    <a:pt x="0" y="660"/>
                  </a:moveTo>
                  <a:cubicBezTo>
                    <a:pt x="0" y="296"/>
                    <a:pt x="296" y="0"/>
                    <a:pt x="661" y="0"/>
                  </a:cubicBezTo>
                  <a:lnTo>
                    <a:pt x="6774" y="0"/>
                  </a:lnTo>
                  <a:cubicBezTo>
                    <a:pt x="7138" y="0"/>
                    <a:pt x="7434" y="296"/>
                    <a:pt x="7434" y="660"/>
                  </a:cubicBezTo>
                  <a:lnTo>
                    <a:pt x="7434" y="690"/>
                  </a:lnTo>
                  <a:cubicBezTo>
                    <a:pt x="7434" y="1054"/>
                    <a:pt x="7138" y="1350"/>
                    <a:pt x="6774" y="1350"/>
                  </a:cubicBezTo>
                  <a:lnTo>
                    <a:pt x="661" y="1350"/>
                  </a:lnTo>
                  <a:cubicBezTo>
                    <a:pt x="296" y="1350"/>
                    <a:pt x="0" y="1054"/>
                    <a:pt x="0" y="690"/>
                  </a:cubicBezTo>
                  <a:lnTo>
                    <a:pt x="0" y="660"/>
                  </a:lnTo>
                  <a:lnTo>
                    <a:pt x="0" y="66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8" name="Freeform: Shape 2967">
              <a:extLst>
                <a:ext uri="{FF2B5EF4-FFF2-40B4-BE49-F238E27FC236}">
                  <a16:creationId xmlns:a16="http://schemas.microsoft.com/office/drawing/2014/main" id="{4B26F8C6-A23A-7CEB-9E18-7E642717CCBB}"/>
                </a:ext>
              </a:extLst>
            </p:cNvPr>
            <p:cNvSpPr/>
            <p:nvPr/>
          </p:nvSpPr>
          <p:spPr>
            <a:xfrm>
              <a:off x="8983578" y="3559682"/>
              <a:ext cx="9059" cy="1351"/>
            </a:xfrm>
            <a:custGeom>
              <a:avLst/>
              <a:gdLst>
                <a:gd name="connsiteX0" fmla="*/ 0 w 9059"/>
                <a:gd name="connsiteY0" fmla="*/ 631 h 1351"/>
                <a:gd name="connsiteX1" fmla="*/ 631 w 9059"/>
                <a:gd name="connsiteY1" fmla="*/ 0 h 1351"/>
                <a:gd name="connsiteX2" fmla="*/ 8430 w 9059"/>
                <a:gd name="connsiteY2" fmla="*/ 0 h 1351"/>
                <a:gd name="connsiteX3" fmla="*/ 9059 w 9059"/>
                <a:gd name="connsiteY3" fmla="*/ 631 h 1351"/>
                <a:gd name="connsiteX4" fmla="*/ 9059 w 9059"/>
                <a:gd name="connsiteY4" fmla="*/ 721 h 1351"/>
                <a:gd name="connsiteX5" fmla="*/ 8430 w 9059"/>
                <a:gd name="connsiteY5" fmla="*/ 1352 h 1351"/>
                <a:gd name="connsiteX6" fmla="*/ 631 w 9059"/>
                <a:gd name="connsiteY6" fmla="*/ 1352 h 1351"/>
                <a:gd name="connsiteX7" fmla="*/ 0 w 9059"/>
                <a:gd name="connsiteY7" fmla="*/ 721 h 1351"/>
                <a:gd name="connsiteX8" fmla="*/ 0 w 9059"/>
                <a:gd name="connsiteY8" fmla="*/ 631 h 1351"/>
                <a:gd name="connsiteX9" fmla="*/ 0 w 9059"/>
                <a:gd name="connsiteY9" fmla="*/ 631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51">
                  <a:moveTo>
                    <a:pt x="0" y="631"/>
                  </a:moveTo>
                  <a:cubicBezTo>
                    <a:pt x="0" y="283"/>
                    <a:pt x="283" y="0"/>
                    <a:pt x="631" y="0"/>
                  </a:cubicBezTo>
                  <a:lnTo>
                    <a:pt x="8430" y="0"/>
                  </a:lnTo>
                  <a:cubicBezTo>
                    <a:pt x="8778" y="0"/>
                    <a:pt x="9059" y="283"/>
                    <a:pt x="9059" y="631"/>
                  </a:cubicBezTo>
                  <a:lnTo>
                    <a:pt x="9059" y="721"/>
                  </a:lnTo>
                  <a:cubicBezTo>
                    <a:pt x="9059" y="1068"/>
                    <a:pt x="8778" y="1352"/>
                    <a:pt x="8430" y="1352"/>
                  </a:cubicBezTo>
                  <a:lnTo>
                    <a:pt x="631" y="1352"/>
                  </a:lnTo>
                  <a:cubicBezTo>
                    <a:pt x="283" y="1352"/>
                    <a:pt x="0" y="1068"/>
                    <a:pt x="0" y="721"/>
                  </a:cubicBezTo>
                  <a:lnTo>
                    <a:pt x="0" y="631"/>
                  </a:lnTo>
                  <a:lnTo>
                    <a:pt x="0" y="631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9" name="Freeform: Shape 2968">
              <a:extLst>
                <a:ext uri="{FF2B5EF4-FFF2-40B4-BE49-F238E27FC236}">
                  <a16:creationId xmlns:a16="http://schemas.microsoft.com/office/drawing/2014/main" id="{A8E9E0C7-8D6B-8351-5A6F-A92F8A65001A}"/>
                </a:ext>
              </a:extLst>
            </p:cNvPr>
            <p:cNvSpPr/>
            <p:nvPr/>
          </p:nvSpPr>
          <p:spPr>
            <a:xfrm>
              <a:off x="8956242" y="3556161"/>
              <a:ext cx="9059" cy="1349"/>
            </a:xfrm>
            <a:custGeom>
              <a:avLst/>
              <a:gdLst>
                <a:gd name="connsiteX0" fmla="*/ 9059 w 9059"/>
                <a:gd name="connsiteY0" fmla="*/ 629 h 1349"/>
                <a:gd name="connsiteX1" fmla="*/ 8430 w 9059"/>
                <a:gd name="connsiteY1" fmla="*/ 0 h 1349"/>
                <a:gd name="connsiteX2" fmla="*/ 629 w 9059"/>
                <a:gd name="connsiteY2" fmla="*/ 0 h 1349"/>
                <a:gd name="connsiteX3" fmla="*/ 0 w 9059"/>
                <a:gd name="connsiteY3" fmla="*/ 629 h 1349"/>
                <a:gd name="connsiteX4" fmla="*/ 0 w 9059"/>
                <a:gd name="connsiteY4" fmla="*/ 719 h 1349"/>
                <a:gd name="connsiteX5" fmla="*/ 629 w 9059"/>
                <a:gd name="connsiteY5" fmla="*/ 1350 h 1349"/>
                <a:gd name="connsiteX6" fmla="*/ 8430 w 9059"/>
                <a:gd name="connsiteY6" fmla="*/ 1350 h 1349"/>
                <a:gd name="connsiteX7" fmla="*/ 9059 w 9059"/>
                <a:gd name="connsiteY7" fmla="*/ 719 h 1349"/>
                <a:gd name="connsiteX8" fmla="*/ 9059 w 9059"/>
                <a:gd name="connsiteY8" fmla="*/ 629 h 1349"/>
                <a:gd name="connsiteX9" fmla="*/ 9059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9059" y="629"/>
                  </a:moveTo>
                  <a:cubicBezTo>
                    <a:pt x="9059" y="281"/>
                    <a:pt x="8778" y="0"/>
                    <a:pt x="8430" y="0"/>
                  </a:cubicBezTo>
                  <a:lnTo>
                    <a:pt x="629" y="0"/>
                  </a:lnTo>
                  <a:cubicBezTo>
                    <a:pt x="281" y="0"/>
                    <a:pt x="0" y="281"/>
                    <a:pt x="0" y="629"/>
                  </a:cubicBezTo>
                  <a:lnTo>
                    <a:pt x="0" y="719"/>
                  </a:lnTo>
                  <a:cubicBezTo>
                    <a:pt x="0" y="1067"/>
                    <a:pt x="281" y="1350"/>
                    <a:pt x="629" y="1350"/>
                  </a:cubicBezTo>
                  <a:lnTo>
                    <a:pt x="8430" y="1350"/>
                  </a:lnTo>
                  <a:cubicBezTo>
                    <a:pt x="8778" y="1350"/>
                    <a:pt x="9059" y="1067"/>
                    <a:pt x="9059" y="719"/>
                  </a:cubicBezTo>
                  <a:lnTo>
                    <a:pt x="9059" y="629"/>
                  </a:lnTo>
                  <a:lnTo>
                    <a:pt x="9059" y="62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0" name="Freeform: Shape 2969">
              <a:extLst>
                <a:ext uri="{FF2B5EF4-FFF2-40B4-BE49-F238E27FC236}">
                  <a16:creationId xmlns:a16="http://schemas.microsoft.com/office/drawing/2014/main" id="{A84CA940-4061-BEDB-4D90-A9697CEFE6F1}"/>
                </a:ext>
              </a:extLst>
            </p:cNvPr>
            <p:cNvSpPr/>
            <p:nvPr/>
          </p:nvSpPr>
          <p:spPr>
            <a:xfrm>
              <a:off x="8964871" y="3563165"/>
              <a:ext cx="9059" cy="1349"/>
            </a:xfrm>
            <a:custGeom>
              <a:avLst/>
              <a:gdLst>
                <a:gd name="connsiteX0" fmla="*/ 0 w 9059"/>
                <a:gd name="connsiteY0" fmla="*/ 674 h 1349"/>
                <a:gd name="connsiteX1" fmla="*/ 676 w 9059"/>
                <a:gd name="connsiteY1" fmla="*/ 0 h 1349"/>
                <a:gd name="connsiteX2" fmla="*/ 8384 w 9059"/>
                <a:gd name="connsiteY2" fmla="*/ 0 h 1349"/>
                <a:gd name="connsiteX3" fmla="*/ 9059 w 9059"/>
                <a:gd name="connsiteY3" fmla="*/ 674 h 1349"/>
                <a:gd name="connsiteX4" fmla="*/ 8384 w 9059"/>
                <a:gd name="connsiteY4" fmla="*/ 1350 h 1349"/>
                <a:gd name="connsiteX5" fmla="*/ 676 w 9059"/>
                <a:gd name="connsiteY5" fmla="*/ 1350 h 1349"/>
                <a:gd name="connsiteX6" fmla="*/ 0 w 9059"/>
                <a:gd name="connsiteY6" fmla="*/ 674 h 1349"/>
                <a:gd name="connsiteX7" fmla="*/ 0 w 9059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9" h="1349">
                  <a:moveTo>
                    <a:pt x="0" y="674"/>
                  </a:moveTo>
                  <a:cubicBezTo>
                    <a:pt x="0" y="301"/>
                    <a:pt x="303" y="0"/>
                    <a:pt x="676" y="0"/>
                  </a:cubicBezTo>
                  <a:lnTo>
                    <a:pt x="8384" y="0"/>
                  </a:lnTo>
                  <a:cubicBezTo>
                    <a:pt x="8756" y="0"/>
                    <a:pt x="9059" y="301"/>
                    <a:pt x="9059" y="674"/>
                  </a:cubicBezTo>
                  <a:cubicBezTo>
                    <a:pt x="9059" y="1047"/>
                    <a:pt x="8756" y="1350"/>
                    <a:pt x="8384" y="1350"/>
                  </a:cubicBezTo>
                  <a:lnTo>
                    <a:pt x="676" y="1350"/>
                  </a:lnTo>
                  <a:cubicBezTo>
                    <a:pt x="303" y="1350"/>
                    <a:pt x="0" y="1047"/>
                    <a:pt x="0" y="674"/>
                  </a:cubicBezTo>
                  <a:lnTo>
                    <a:pt x="0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1" name="Freeform: Shape 2970">
              <a:extLst>
                <a:ext uri="{FF2B5EF4-FFF2-40B4-BE49-F238E27FC236}">
                  <a16:creationId xmlns:a16="http://schemas.microsoft.com/office/drawing/2014/main" id="{173CE75D-6114-B062-3800-1A2411D2BD36}"/>
                </a:ext>
              </a:extLst>
            </p:cNvPr>
            <p:cNvSpPr/>
            <p:nvPr/>
          </p:nvSpPr>
          <p:spPr>
            <a:xfrm>
              <a:off x="8977924" y="3559682"/>
              <a:ext cx="5074" cy="1351"/>
            </a:xfrm>
            <a:custGeom>
              <a:avLst/>
              <a:gdLst>
                <a:gd name="connsiteX0" fmla="*/ 0 w 5074"/>
                <a:gd name="connsiteY0" fmla="*/ 617 h 1351"/>
                <a:gd name="connsiteX1" fmla="*/ 617 w 5074"/>
                <a:gd name="connsiteY1" fmla="*/ 0 h 1351"/>
                <a:gd name="connsiteX2" fmla="*/ 4458 w 5074"/>
                <a:gd name="connsiteY2" fmla="*/ 0 h 1351"/>
                <a:gd name="connsiteX3" fmla="*/ 5075 w 5074"/>
                <a:gd name="connsiteY3" fmla="*/ 617 h 1351"/>
                <a:gd name="connsiteX4" fmla="*/ 5075 w 5074"/>
                <a:gd name="connsiteY4" fmla="*/ 735 h 1351"/>
                <a:gd name="connsiteX5" fmla="*/ 4458 w 5074"/>
                <a:gd name="connsiteY5" fmla="*/ 1352 h 1351"/>
                <a:gd name="connsiteX6" fmla="*/ 617 w 5074"/>
                <a:gd name="connsiteY6" fmla="*/ 1352 h 1351"/>
                <a:gd name="connsiteX7" fmla="*/ 0 w 5074"/>
                <a:gd name="connsiteY7" fmla="*/ 735 h 1351"/>
                <a:gd name="connsiteX8" fmla="*/ 0 w 5074"/>
                <a:gd name="connsiteY8" fmla="*/ 617 h 1351"/>
                <a:gd name="connsiteX9" fmla="*/ 0 w 5074"/>
                <a:gd name="connsiteY9" fmla="*/ 617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51">
                  <a:moveTo>
                    <a:pt x="0" y="617"/>
                  </a:moveTo>
                  <a:cubicBezTo>
                    <a:pt x="0" y="276"/>
                    <a:pt x="276" y="0"/>
                    <a:pt x="617" y="0"/>
                  </a:cubicBezTo>
                  <a:lnTo>
                    <a:pt x="4458" y="0"/>
                  </a:lnTo>
                  <a:cubicBezTo>
                    <a:pt x="4799" y="0"/>
                    <a:pt x="5075" y="276"/>
                    <a:pt x="5075" y="617"/>
                  </a:cubicBezTo>
                  <a:lnTo>
                    <a:pt x="5075" y="735"/>
                  </a:lnTo>
                  <a:cubicBezTo>
                    <a:pt x="5075" y="1074"/>
                    <a:pt x="4799" y="1352"/>
                    <a:pt x="4458" y="1352"/>
                  </a:cubicBezTo>
                  <a:lnTo>
                    <a:pt x="617" y="1352"/>
                  </a:lnTo>
                  <a:cubicBezTo>
                    <a:pt x="276" y="1352"/>
                    <a:pt x="0" y="1074"/>
                    <a:pt x="0" y="735"/>
                  </a:cubicBezTo>
                  <a:lnTo>
                    <a:pt x="0" y="617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2" name="Freeform: Shape 2971">
              <a:extLst>
                <a:ext uri="{FF2B5EF4-FFF2-40B4-BE49-F238E27FC236}">
                  <a16:creationId xmlns:a16="http://schemas.microsoft.com/office/drawing/2014/main" id="{CC211E9E-E4DF-1758-43B0-11F0E89F1446}"/>
                </a:ext>
              </a:extLst>
            </p:cNvPr>
            <p:cNvSpPr/>
            <p:nvPr/>
          </p:nvSpPr>
          <p:spPr>
            <a:xfrm>
              <a:off x="8965881" y="3556161"/>
              <a:ext cx="5074" cy="1349"/>
            </a:xfrm>
            <a:custGeom>
              <a:avLst/>
              <a:gdLst>
                <a:gd name="connsiteX0" fmla="*/ 5075 w 5074"/>
                <a:gd name="connsiteY0" fmla="*/ 617 h 1349"/>
                <a:gd name="connsiteX1" fmla="*/ 4458 w 5074"/>
                <a:gd name="connsiteY1" fmla="*/ 0 h 1349"/>
                <a:gd name="connsiteX2" fmla="*/ 617 w 5074"/>
                <a:gd name="connsiteY2" fmla="*/ 0 h 1349"/>
                <a:gd name="connsiteX3" fmla="*/ 0 w 5074"/>
                <a:gd name="connsiteY3" fmla="*/ 617 h 1349"/>
                <a:gd name="connsiteX4" fmla="*/ 0 w 5074"/>
                <a:gd name="connsiteY4" fmla="*/ 733 h 1349"/>
                <a:gd name="connsiteX5" fmla="*/ 617 w 5074"/>
                <a:gd name="connsiteY5" fmla="*/ 1350 h 1349"/>
                <a:gd name="connsiteX6" fmla="*/ 4458 w 5074"/>
                <a:gd name="connsiteY6" fmla="*/ 1350 h 1349"/>
                <a:gd name="connsiteX7" fmla="*/ 5075 w 5074"/>
                <a:gd name="connsiteY7" fmla="*/ 733 h 1349"/>
                <a:gd name="connsiteX8" fmla="*/ 5075 w 5074"/>
                <a:gd name="connsiteY8" fmla="*/ 617 h 1349"/>
                <a:gd name="connsiteX9" fmla="*/ 5075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5075" y="617"/>
                  </a:moveTo>
                  <a:cubicBezTo>
                    <a:pt x="5075" y="276"/>
                    <a:pt x="4799" y="0"/>
                    <a:pt x="4458" y="0"/>
                  </a:cubicBezTo>
                  <a:lnTo>
                    <a:pt x="617" y="0"/>
                  </a:lnTo>
                  <a:cubicBezTo>
                    <a:pt x="276" y="0"/>
                    <a:pt x="0" y="276"/>
                    <a:pt x="0" y="617"/>
                  </a:cubicBezTo>
                  <a:lnTo>
                    <a:pt x="0" y="733"/>
                  </a:lnTo>
                  <a:cubicBezTo>
                    <a:pt x="0" y="1074"/>
                    <a:pt x="276" y="1350"/>
                    <a:pt x="617" y="1350"/>
                  </a:cubicBezTo>
                  <a:lnTo>
                    <a:pt x="4458" y="1350"/>
                  </a:lnTo>
                  <a:cubicBezTo>
                    <a:pt x="4799" y="1350"/>
                    <a:pt x="5075" y="1074"/>
                    <a:pt x="5075" y="733"/>
                  </a:cubicBezTo>
                  <a:lnTo>
                    <a:pt x="5075" y="617"/>
                  </a:lnTo>
                  <a:lnTo>
                    <a:pt x="5075" y="61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3" name="Freeform: Shape 2972">
              <a:extLst>
                <a:ext uri="{FF2B5EF4-FFF2-40B4-BE49-F238E27FC236}">
                  <a16:creationId xmlns:a16="http://schemas.microsoft.com/office/drawing/2014/main" id="{BCAC607A-3EE7-E3D5-8A47-AC221689C4CF}"/>
                </a:ext>
              </a:extLst>
            </p:cNvPr>
            <p:cNvSpPr/>
            <p:nvPr/>
          </p:nvSpPr>
          <p:spPr>
            <a:xfrm>
              <a:off x="8959218" y="3563165"/>
              <a:ext cx="5074" cy="1349"/>
            </a:xfrm>
            <a:custGeom>
              <a:avLst/>
              <a:gdLst>
                <a:gd name="connsiteX0" fmla="*/ 0 w 5074"/>
                <a:gd name="connsiteY0" fmla="*/ 674 h 1349"/>
                <a:gd name="connsiteX1" fmla="*/ 674 w 5074"/>
                <a:gd name="connsiteY1" fmla="*/ 0 h 1349"/>
                <a:gd name="connsiteX2" fmla="*/ 4399 w 5074"/>
                <a:gd name="connsiteY2" fmla="*/ 0 h 1349"/>
                <a:gd name="connsiteX3" fmla="*/ 5075 w 5074"/>
                <a:gd name="connsiteY3" fmla="*/ 674 h 1349"/>
                <a:gd name="connsiteX4" fmla="*/ 4399 w 5074"/>
                <a:gd name="connsiteY4" fmla="*/ 1350 h 1349"/>
                <a:gd name="connsiteX5" fmla="*/ 674 w 5074"/>
                <a:gd name="connsiteY5" fmla="*/ 1350 h 1349"/>
                <a:gd name="connsiteX6" fmla="*/ 0 w 5074"/>
                <a:gd name="connsiteY6" fmla="*/ 674 h 1349"/>
                <a:gd name="connsiteX7" fmla="*/ 0 w 5074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0" y="674"/>
                  </a:moveTo>
                  <a:cubicBezTo>
                    <a:pt x="0" y="301"/>
                    <a:pt x="301" y="0"/>
                    <a:pt x="674" y="0"/>
                  </a:cubicBezTo>
                  <a:lnTo>
                    <a:pt x="4399" y="0"/>
                  </a:lnTo>
                  <a:cubicBezTo>
                    <a:pt x="4772" y="0"/>
                    <a:pt x="5075" y="301"/>
                    <a:pt x="5075" y="674"/>
                  </a:cubicBezTo>
                  <a:cubicBezTo>
                    <a:pt x="5075" y="1047"/>
                    <a:pt x="4772" y="1350"/>
                    <a:pt x="4399" y="1350"/>
                  </a:cubicBezTo>
                  <a:lnTo>
                    <a:pt x="674" y="1350"/>
                  </a:lnTo>
                  <a:cubicBezTo>
                    <a:pt x="301" y="1350"/>
                    <a:pt x="0" y="1047"/>
                    <a:pt x="0" y="674"/>
                  </a:cubicBezTo>
                  <a:lnTo>
                    <a:pt x="0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4" name="Freeform: Shape 2973">
              <a:extLst>
                <a:ext uri="{FF2B5EF4-FFF2-40B4-BE49-F238E27FC236}">
                  <a16:creationId xmlns:a16="http://schemas.microsoft.com/office/drawing/2014/main" id="{F3F2E8F4-63EB-0D88-90BC-37F38AA032D9}"/>
                </a:ext>
              </a:extLst>
            </p:cNvPr>
            <p:cNvSpPr/>
            <p:nvPr/>
          </p:nvSpPr>
          <p:spPr>
            <a:xfrm>
              <a:off x="8975257" y="3563165"/>
              <a:ext cx="5074" cy="1349"/>
            </a:xfrm>
            <a:custGeom>
              <a:avLst/>
              <a:gdLst>
                <a:gd name="connsiteX0" fmla="*/ 0 w 5074"/>
                <a:gd name="connsiteY0" fmla="*/ 674 h 1349"/>
                <a:gd name="connsiteX1" fmla="*/ 676 w 5074"/>
                <a:gd name="connsiteY1" fmla="*/ 0 h 1349"/>
                <a:gd name="connsiteX2" fmla="*/ 4399 w 5074"/>
                <a:gd name="connsiteY2" fmla="*/ 0 h 1349"/>
                <a:gd name="connsiteX3" fmla="*/ 5075 w 5074"/>
                <a:gd name="connsiteY3" fmla="*/ 674 h 1349"/>
                <a:gd name="connsiteX4" fmla="*/ 4399 w 5074"/>
                <a:gd name="connsiteY4" fmla="*/ 1350 h 1349"/>
                <a:gd name="connsiteX5" fmla="*/ 676 w 5074"/>
                <a:gd name="connsiteY5" fmla="*/ 1350 h 1349"/>
                <a:gd name="connsiteX6" fmla="*/ 0 w 5074"/>
                <a:gd name="connsiteY6" fmla="*/ 674 h 1349"/>
                <a:gd name="connsiteX7" fmla="*/ 0 w 5074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0" y="674"/>
                  </a:moveTo>
                  <a:cubicBezTo>
                    <a:pt x="0" y="301"/>
                    <a:pt x="303" y="0"/>
                    <a:pt x="676" y="0"/>
                  </a:cubicBezTo>
                  <a:lnTo>
                    <a:pt x="4399" y="0"/>
                  </a:lnTo>
                  <a:cubicBezTo>
                    <a:pt x="4772" y="0"/>
                    <a:pt x="5075" y="301"/>
                    <a:pt x="5075" y="674"/>
                  </a:cubicBezTo>
                  <a:cubicBezTo>
                    <a:pt x="5075" y="1047"/>
                    <a:pt x="4772" y="1350"/>
                    <a:pt x="4399" y="1350"/>
                  </a:cubicBezTo>
                  <a:lnTo>
                    <a:pt x="676" y="1350"/>
                  </a:lnTo>
                  <a:cubicBezTo>
                    <a:pt x="303" y="1350"/>
                    <a:pt x="0" y="1047"/>
                    <a:pt x="0" y="674"/>
                  </a:cubicBezTo>
                  <a:lnTo>
                    <a:pt x="0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5" name="Freeform: Shape 2974">
              <a:extLst>
                <a:ext uri="{FF2B5EF4-FFF2-40B4-BE49-F238E27FC236}">
                  <a16:creationId xmlns:a16="http://schemas.microsoft.com/office/drawing/2014/main" id="{A116CA4C-0CA5-88D1-A000-55DA58D0D2C2}"/>
                </a:ext>
              </a:extLst>
            </p:cNvPr>
            <p:cNvSpPr/>
            <p:nvPr/>
          </p:nvSpPr>
          <p:spPr>
            <a:xfrm>
              <a:off x="8956242" y="3559682"/>
              <a:ext cx="3396" cy="1351"/>
            </a:xfrm>
            <a:custGeom>
              <a:avLst/>
              <a:gdLst>
                <a:gd name="connsiteX0" fmla="*/ 0 w 3396"/>
                <a:gd name="connsiteY0" fmla="*/ 658 h 1351"/>
                <a:gd name="connsiteX1" fmla="*/ 658 w 3396"/>
                <a:gd name="connsiteY1" fmla="*/ 0 h 1351"/>
                <a:gd name="connsiteX2" fmla="*/ 2739 w 3396"/>
                <a:gd name="connsiteY2" fmla="*/ 0 h 1351"/>
                <a:gd name="connsiteX3" fmla="*/ 3397 w 3396"/>
                <a:gd name="connsiteY3" fmla="*/ 658 h 1351"/>
                <a:gd name="connsiteX4" fmla="*/ 3397 w 3396"/>
                <a:gd name="connsiteY4" fmla="*/ 694 h 1351"/>
                <a:gd name="connsiteX5" fmla="*/ 2739 w 3396"/>
                <a:gd name="connsiteY5" fmla="*/ 1352 h 1351"/>
                <a:gd name="connsiteX6" fmla="*/ 658 w 3396"/>
                <a:gd name="connsiteY6" fmla="*/ 1352 h 1351"/>
                <a:gd name="connsiteX7" fmla="*/ 0 w 3396"/>
                <a:gd name="connsiteY7" fmla="*/ 694 h 1351"/>
                <a:gd name="connsiteX8" fmla="*/ 0 w 3396"/>
                <a:gd name="connsiteY8" fmla="*/ 658 h 1351"/>
                <a:gd name="connsiteX9" fmla="*/ 0 w 3396"/>
                <a:gd name="connsiteY9" fmla="*/ 658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6" h="1351">
                  <a:moveTo>
                    <a:pt x="0" y="658"/>
                  </a:moveTo>
                  <a:cubicBezTo>
                    <a:pt x="0" y="296"/>
                    <a:pt x="294" y="0"/>
                    <a:pt x="658" y="0"/>
                  </a:cubicBezTo>
                  <a:lnTo>
                    <a:pt x="2739" y="0"/>
                  </a:lnTo>
                  <a:cubicBezTo>
                    <a:pt x="3103" y="0"/>
                    <a:pt x="3397" y="296"/>
                    <a:pt x="3397" y="658"/>
                  </a:cubicBezTo>
                  <a:lnTo>
                    <a:pt x="3397" y="694"/>
                  </a:lnTo>
                  <a:cubicBezTo>
                    <a:pt x="3397" y="1056"/>
                    <a:pt x="3103" y="1352"/>
                    <a:pt x="2739" y="1352"/>
                  </a:cubicBezTo>
                  <a:lnTo>
                    <a:pt x="658" y="1352"/>
                  </a:lnTo>
                  <a:cubicBezTo>
                    <a:pt x="294" y="1352"/>
                    <a:pt x="0" y="1056"/>
                    <a:pt x="0" y="694"/>
                  </a:cubicBezTo>
                  <a:lnTo>
                    <a:pt x="0" y="658"/>
                  </a:lnTo>
                  <a:lnTo>
                    <a:pt x="0" y="658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6" name="Freeform: Shape 2975">
              <a:extLst>
                <a:ext uri="{FF2B5EF4-FFF2-40B4-BE49-F238E27FC236}">
                  <a16:creationId xmlns:a16="http://schemas.microsoft.com/office/drawing/2014/main" id="{0DB69E04-CCC3-BC7F-0581-328E3EA4E113}"/>
                </a:ext>
              </a:extLst>
            </p:cNvPr>
            <p:cNvSpPr/>
            <p:nvPr/>
          </p:nvSpPr>
          <p:spPr>
            <a:xfrm>
              <a:off x="8974949" y="3559682"/>
              <a:ext cx="2423" cy="1351"/>
            </a:xfrm>
            <a:custGeom>
              <a:avLst/>
              <a:gdLst>
                <a:gd name="connsiteX0" fmla="*/ 0 w 2423"/>
                <a:gd name="connsiteY0" fmla="*/ 602 h 1351"/>
                <a:gd name="connsiteX1" fmla="*/ 602 w 2423"/>
                <a:gd name="connsiteY1" fmla="*/ 0 h 1351"/>
                <a:gd name="connsiteX2" fmla="*/ 1823 w 2423"/>
                <a:gd name="connsiteY2" fmla="*/ 0 h 1351"/>
                <a:gd name="connsiteX3" fmla="*/ 2423 w 2423"/>
                <a:gd name="connsiteY3" fmla="*/ 602 h 1351"/>
                <a:gd name="connsiteX4" fmla="*/ 2423 w 2423"/>
                <a:gd name="connsiteY4" fmla="*/ 749 h 1351"/>
                <a:gd name="connsiteX5" fmla="*/ 1823 w 2423"/>
                <a:gd name="connsiteY5" fmla="*/ 1352 h 1351"/>
                <a:gd name="connsiteX6" fmla="*/ 602 w 2423"/>
                <a:gd name="connsiteY6" fmla="*/ 1352 h 1351"/>
                <a:gd name="connsiteX7" fmla="*/ 0 w 2423"/>
                <a:gd name="connsiteY7" fmla="*/ 749 h 1351"/>
                <a:gd name="connsiteX8" fmla="*/ 0 w 2423"/>
                <a:gd name="connsiteY8" fmla="*/ 602 h 1351"/>
                <a:gd name="connsiteX9" fmla="*/ 0 w 2423"/>
                <a:gd name="connsiteY9" fmla="*/ 602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3" h="1351">
                  <a:moveTo>
                    <a:pt x="0" y="602"/>
                  </a:moveTo>
                  <a:cubicBezTo>
                    <a:pt x="0" y="271"/>
                    <a:pt x="271" y="0"/>
                    <a:pt x="602" y="0"/>
                  </a:cubicBezTo>
                  <a:lnTo>
                    <a:pt x="1823" y="0"/>
                  </a:lnTo>
                  <a:cubicBezTo>
                    <a:pt x="2155" y="0"/>
                    <a:pt x="2423" y="271"/>
                    <a:pt x="2423" y="602"/>
                  </a:cubicBezTo>
                  <a:lnTo>
                    <a:pt x="2423" y="749"/>
                  </a:lnTo>
                  <a:cubicBezTo>
                    <a:pt x="2423" y="1081"/>
                    <a:pt x="2155" y="1352"/>
                    <a:pt x="1823" y="1352"/>
                  </a:cubicBezTo>
                  <a:lnTo>
                    <a:pt x="602" y="1352"/>
                  </a:lnTo>
                  <a:cubicBezTo>
                    <a:pt x="271" y="1352"/>
                    <a:pt x="0" y="1081"/>
                    <a:pt x="0" y="749"/>
                  </a:cubicBezTo>
                  <a:lnTo>
                    <a:pt x="0" y="602"/>
                  </a:lnTo>
                  <a:lnTo>
                    <a:pt x="0" y="602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7" name="Freeform: Shape 2976">
              <a:extLst>
                <a:ext uri="{FF2B5EF4-FFF2-40B4-BE49-F238E27FC236}">
                  <a16:creationId xmlns:a16="http://schemas.microsoft.com/office/drawing/2014/main" id="{4B9A3DF2-94C5-CA54-4714-0A4C9B0C00D3}"/>
                </a:ext>
              </a:extLst>
            </p:cNvPr>
            <p:cNvSpPr/>
            <p:nvPr/>
          </p:nvSpPr>
          <p:spPr>
            <a:xfrm>
              <a:off x="8971507" y="3556161"/>
              <a:ext cx="2423" cy="1349"/>
            </a:xfrm>
            <a:custGeom>
              <a:avLst/>
              <a:gdLst>
                <a:gd name="connsiteX0" fmla="*/ 2423 w 2423"/>
                <a:gd name="connsiteY0" fmla="*/ 600 h 1349"/>
                <a:gd name="connsiteX1" fmla="*/ 1823 w 2423"/>
                <a:gd name="connsiteY1" fmla="*/ 0 h 1349"/>
                <a:gd name="connsiteX2" fmla="*/ 602 w 2423"/>
                <a:gd name="connsiteY2" fmla="*/ 0 h 1349"/>
                <a:gd name="connsiteX3" fmla="*/ 0 w 2423"/>
                <a:gd name="connsiteY3" fmla="*/ 600 h 1349"/>
                <a:gd name="connsiteX4" fmla="*/ 0 w 2423"/>
                <a:gd name="connsiteY4" fmla="*/ 747 h 1349"/>
                <a:gd name="connsiteX5" fmla="*/ 602 w 2423"/>
                <a:gd name="connsiteY5" fmla="*/ 1350 h 1349"/>
                <a:gd name="connsiteX6" fmla="*/ 1823 w 2423"/>
                <a:gd name="connsiteY6" fmla="*/ 1350 h 1349"/>
                <a:gd name="connsiteX7" fmla="*/ 2423 w 2423"/>
                <a:gd name="connsiteY7" fmla="*/ 747 h 1349"/>
                <a:gd name="connsiteX8" fmla="*/ 2423 w 2423"/>
                <a:gd name="connsiteY8" fmla="*/ 600 h 1349"/>
                <a:gd name="connsiteX9" fmla="*/ 2423 w 2423"/>
                <a:gd name="connsiteY9" fmla="*/ 60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3" h="1349">
                  <a:moveTo>
                    <a:pt x="2423" y="600"/>
                  </a:moveTo>
                  <a:cubicBezTo>
                    <a:pt x="2423" y="269"/>
                    <a:pt x="2155" y="0"/>
                    <a:pt x="1823" y="0"/>
                  </a:cubicBezTo>
                  <a:lnTo>
                    <a:pt x="602" y="0"/>
                  </a:lnTo>
                  <a:cubicBezTo>
                    <a:pt x="271" y="0"/>
                    <a:pt x="0" y="269"/>
                    <a:pt x="0" y="600"/>
                  </a:cubicBezTo>
                  <a:lnTo>
                    <a:pt x="0" y="747"/>
                  </a:lnTo>
                  <a:cubicBezTo>
                    <a:pt x="0" y="1081"/>
                    <a:pt x="271" y="1350"/>
                    <a:pt x="602" y="1350"/>
                  </a:cubicBezTo>
                  <a:lnTo>
                    <a:pt x="1823" y="1350"/>
                  </a:lnTo>
                  <a:cubicBezTo>
                    <a:pt x="2155" y="1350"/>
                    <a:pt x="2423" y="1081"/>
                    <a:pt x="2423" y="747"/>
                  </a:cubicBezTo>
                  <a:lnTo>
                    <a:pt x="2423" y="600"/>
                  </a:lnTo>
                  <a:lnTo>
                    <a:pt x="2423" y="600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8" name="Freeform: Shape 2977">
              <a:extLst>
                <a:ext uri="{FF2B5EF4-FFF2-40B4-BE49-F238E27FC236}">
                  <a16:creationId xmlns:a16="http://schemas.microsoft.com/office/drawing/2014/main" id="{BA44A6A7-2E7C-C9CF-FB8D-D08BE10C0201}"/>
                </a:ext>
              </a:extLst>
            </p:cNvPr>
            <p:cNvSpPr/>
            <p:nvPr/>
          </p:nvSpPr>
          <p:spPr>
            <a:xfrm>
              <a:off x="8956242" y="3563165"/>
              <a:ext cx="2421" cy="1349"/>
            </a:xfrm>
            <a:custGeom>
              <a:avLst/>
              <a:gdLst>
                <a:gd name="connsiteX0" fmla="*/ 0 w 2421"/>
                <a:gd name="connsiteY0" fmla="*/ 674 h 1349"/>
                <a:gd name="connsiteX1" fmla="*/ 676 w 2421"/>
                <a:gd name="connsiteY1" fmla="*/ 0 h 1349"/>
                <a:gd name="connsiteX2" fmla="*/ 1748 w 2421"/>
                <a:gd name="connsiteY2" fmla="*/ 0 h 1349"/>
                <a:gd name="connsiteX3" fmla="*/ 2422 w 2421"/>
                <a:gd name="connsiteY3" fmla="*/ 674 h 1349"/>
                <a:gd name="connsiteX4" fmla="*/ 1748 w 2421"/>
                <a:gd name="connsiteY4" fmla="*/ 1350 h 1349"/>
                <a:gd name="connsiteX5" fmla="*/ 676 w 2421"/>
                <a:gd name="connsiteY5" fmla="*/ 1350 h 1349"/>
                <a:gd name="connsiteX6" fmla="*/ 0 w 2421"/>
                <a:gd name="connsiteY6" fmla="*/ 674 h 1349"/>
                <a:gd name="connsiteX7" fmla="*/ 0 w 2421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1" h="1349">
                  <a:moveTo>
                    <a:pt x="0" y="674"/>
                  </a:moveTo>
                  <a:cubicBezTo>
                    <a:pt x="0" y="301"/>
                    <a:pt x="303" y="0"/>
                    <a:pt x="676" y="0"/>
                  </a:cubicBezTo>
                  <a:lnTo>
                    <a:pt x="1748" y="0"/>
                  </a:lnTo>
                  <a:cubicBezTo>
                    <a:pt x="2121" y="0"/>
                    <a:pt x="2422" y="301"/>
                    <a:pt x="2422" y="674"/>
                  </a:cubicBezTo>
                  <a:cubicBezTo>
                    <a:pt x="2422" y="1047"/>
                    <a:pt x="2121" y="1350"/>
                    <a:pt x="1748" y="1350"/>
                  </a:cubicBezTo>
                  <a:lnTo>
                    <a:pt x="676" y="1350"/>
                  </a:lnTo>
                  <a:cubicBezTo>
                    <a:pt x="303" y="1350"/>
                    <a:pt x="0" y="1047"/>
                    <a:pt x="0" y="674"/>
                  </a:cubicBezTo>
                  <a:lnTo>
                    <a:pt x="0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9" name="Freeform: Shape 2978">
              <a:extLst>
                <a:ext uri="{FF2B5EF4-FFF2-40B4-BE49-F238E27FC236}">
                  <a16:creationId xmlns:a16="http://schemas.microsoft.com/office/drawing/2014/main" id="{69B29572-F3E4-C46C-3680-9553EB1467C0}"/>
                </a:ext>
              </a:extLst>
            </p:cNvPr>
            <p:cNvSpPr/>
            <p:nvPr/>
          </p:nvSpPr>
          <p:spPr>
            <a:xfrm>
              <a:off x="8960603" y="3559682"/>
              <a:ext cx="2785" cy="1351"/>
            </a:xfrm>
            <a:custGeom>
              <a:avLst/>
              <a:gdLst>
                <a:gd name="connsiteX0" fmla="*/ 0 w 2785"/>
                <a:gd name="connsiteY0" fmla="*/ 636 h 1351"/>
                <a:gd name="connsiteX1" fmla="*/ 636 w 2785"/>
                <a:gd name="connsiteY1" fmla="*/ 0 h 1351"/>
                <a:gd name="connsiteX2" fmla="*/ 2149 w 2785"/>
                <a:gd name="connsiteY2" fmla="*/ 0 h 1351"/>
                <a:gd name="connsiteX3" fmla="*/ 2786 w 2785"/>
                <a:gd name="connsiteY3" fmla="*/ 636 h 1351"/>
                <a:gd name="connsiteX4" fmla="*/ 2786 w 2785"/>
                <a:gd name="connsiteY4" fmla="*/ 715 h 1351"/>
                <a:gd name="connsiteX5" fmla="*/ 2149 w 2785"/>
                <a:gd name="connsiteY5" fmla="*/ 1352 h 1351"/>
                <a:gd name="connsiteX6" fmla="*/ 636 w 2785"/>
                <a:gd name="connsiteY6" fmla="*/ 1352 h 1351"/>
                <a:gd name="connsiteX7" fmla="*/ 0 w 2785"/>
                <a:gd name="connsiteY7" fmla="*/ 715 h 1351"/>
                <a:gd name="connsiteX8" fmla="*/ 0 w 2785"/>
                <a:gd name="connsiteY8" fmla="*/ 636 h 1351"/>
                <a:gd name="connsiteX9" fmla="*/ 0 w 2785"/>
                <a:gd name="connsiteY9" fmla="*/ 636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5" h="1351">
                  <a:moveTo>
                    <a:pt x="0" y="636"/>
                  </a:moveTo>
                  <a:cubicBezTo>
                    <a:pt x="0" y="285"/>
                    <a:pt x="285" y="0"/>
                    <a:pt x="636" y="0"/>
                  </a:cubicBezTo>
                  <a:lnTo>
                    <a:pt x="2149" y="0"/>
                  </a:lnTo>
                  <a:cubicBezTo>
                    <a:pt x="2501" y="0"/>
                    <a:pt x="2786" y="285"/>
                    <a:pt x="2786" y="636"/>
                  </a:cubicBezTo>
                  <a:lnTo>
                    <a:pt x="2786" y="715"/>
                  </a:lnTo>
                  <a:cubicBezTo>
                    <a:pt x="2786" y="1067"/>
                    <a:pt x="2501" y="1352"/>
                    <a:pt x="2149" y="1352"/>
                  </a:cubicBezTo>
                  <a:lnTo>
                    <a:pt x="636" y="1352"/>
                  </a:lnTo>
                  <a:cubicBezTo>
                    <a:pt x="285" y="1352"/>
                    <a:pt x="0" y="1067"/>
                    <a:pt x="0" y="715"/>
                  </a:cubicBezTo>
                  <a:lnTo>
                    <a:pt x="0" y="636"/>
                  </a:lnTo>
                  <a:lnTo>
                    <a:pt x="0" y="63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0" name="Freeform: Shape 2979">
              <a:extLst>
                <a:ext uri="{FF2B5EF4-FFF2-40B4-BE49-F238E27FC236}">
                  <a16:creationId xmlns:a16="http://schemas.microsoft.com/office/drawing/2014/main" id="{8B32C8F3-2C78-7DC4-4BDC-6517F7E3A1E7}"/>
                </a:ext>
              </a:extLst>
            </p:cNvPr>
            <p:cNvSpPr/>
            <p:nvPr/>
          </p:nvSpPr>
          <p:spPr>
            <a:xfrm>
              <a:off x="8963893" y="3559682"/>
              <a:ext cx="2168" cy="1351"/>
            </a:xfrm>
            <a:custGeom>
              <a:avLst/>
              <a:gdLst>
                <a:gd name="connsiteX0" fmla="*/ 0 w 2168"/>
                <a:gd name="connsiteY0" fmla="*/ 627 h 1351"/>
                <a:gd name="connsiteX1" fmla="*/ 627 w 2168"/>
                <a:gd name="connsiteY1" fmla="*/ 0 h 1351"/>
                <a:gd name="connsiteX2" fmla="*/ 1543 w 2168"/>
                <a:gd name="connsiteY2" fmla="*/ 0 h 1351"/>
                <a:gd name="connsiteX3" fmla="*/ 2169 w 2168"/>
                <a:gd name="connsiteY3" fmla="*/ 627 h 1351"/>
                <a:gd name="connsiteX4" fmla="*/ 2169 w 2168"/>
                <a:gd name="connsiteY4" fmla="*/ 724 h 1351"/>
                <a:gd name="connsiteX5" fmla="*/ 1543 w 2168"/>
                <a:gd name="connsiteY5" fmla="*/ 1352 h 1351"/>
                <a:gd name="connsiteX6" fmla="*/ 627 w 2168"/>
                <a:gd name="connsiteY6" fmla="*/ 1352 h 1351"/>
                <a:gd name="connsiteX7" fmla="*/ 0 w 2168"/>
                <a:gd name="connsiteY7" fmla="*/ 724 h 1351"/>
                <a:gd name="connsiteX8" fmla="*/ 0 w 2168"/>
                <a:gd name="connsiteY8" fmla="*/ 627 h 1351"/>
                <a:gd name="connsiteX9" fmla="*/ 0 w 2168"/>
                <a:gd name="connsiteY9" fmla="*/ 627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8" h="1351">
                  <a:moveTo>
                    <a:pt x="0" y="627"/>
                  </a:moveTo>
                  <a:cubicBezTo>
                    <a:pt x="0" y="281"/>
                    <a:pt x="281" y="0"/>
                    <a:pt x="627" y="0"/>
                  </a:cubicBezTo>
                  <a:lnTo>
                    <a:pt x="1543" y="0"/>
                  </a:lnTo>
                  <a:cubicBezTo>
                    <a:pt x="1889" y="0"/>
                    <a:pt x="2169" y="281"/>
                    <a:pt x="2169" y="627"/>
                  </a:cubicBezTo>
                  <a:lnTo>
                    <a:pt x="2169" y="724"/>
                  </a:lnTo>
                  <a:cubicBezTo>
                    <a:pt x="2169" y="1070"/>
                    <a:pt x="1889" y="1352"/>
                    <a:pt x="1543" y="1352"/>
                  </a:cubicBezTo>
                  <a:lnTo>
                    <a:pt x="627" y="1352"/>
                  </a:lnTo>
                  <a:cubicBezTo>
                    <a:pt x="281" y="1352"/>
                    <a:pt x="0" y="1070"/>
                    <a:pt x="0" y="724"/>
                  </a:cubicBezTo>
                  <a:lnTo>
                    <a:pt x="0" y="627"/>
                  </a:lnTo>
                  <a:lnTo>
                    <a:pt x="0" y="62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1" name="Freeform: Shape 2980">
              <a:extLst>
                <a:ext uri="{FF2B5EF4-FFF2-40B4-BE49-F238E27FC236}">
                  <a16:creationId xmlns:a16="http://schemas.microsoft.com/office/drawing/2014/main" id="{F2096D65-C124-43F3-6C30-3E67B3B89DC5}"/>
                </a:ext>
              </a:extLst>
            </p:cNvPr>
            <p:cNvSpPr/>
            <p:nvPr/>
          </p:nvSpPr>
          <p:spPr>
            <a:xfrm>
              <a:off x="8966497" y="3559682"/>
              <a:ext cx="7433" cy="1351"/>
            </a:xfrm>
            <a:custGeom>
              <a:avLst/>
              <a:gdLst>
                <a:gd name="connsiteX0" fmla="*/ 0 w 7433"/>
                <a:gd name="connsiteY0" fmla="*/ 661 h 1351"/>
                <a:gd name="connsiteX1" fmla="*/ 661 w 7433"/>
                <a:gd name="connsiteY1" fmla="*/ 0 h 1351"/>
                <a:gd name="connsiteX2" fmla="*/ 6774 w 7433"/>
                <a:gd name="connsiteY2" fmla="*/ 0 h 1351"/>
                <a:gd name="connsiteX3" fmla="*/ 7434 w 7433"/>
                <a:gd name="connsiteY3" fmla="*/ 661 h 1351"/>
                <a:gd name="connsiteX4" fmla="*/ 7434 w 7433"/>
                <a:gd name="connsiteY4" fmla="*/ 690 h 1351"/>
                <a:gd name="connsiteX5" fmla="*/ 6774 w 7433"/>
                <a:gd name="connsiteY5" fmla="*/ 1352 h 1351"/>
                <a:gd name="connsiteX6" fmla="*/ 661 w 7433"/>
                <a:gd name="connsiteY6" fmla="*/ 1352 h 1351"/>
                <a:gd name="connsiteX7" fmla="*/ 0 w 7433"/>
                <a:gd name="connsiteY7" fmla="*/ 690 h 1351"/>
                <a:gd name="connsiteX8" fmla="*/ 0 w 7433"/>
                <a:gd name="connsiteY8" fmla="*/ 661 h 1351"/>
                <a:gd name="connsiteX9" fmla="*/ 0 w 7433"/>
                <a:gd name="connsiteY9" fmla="*/ 661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3" h="1351">
                  <a:moveTo>
                    <a:pt x="0" y="661"/>
                  </a:moveTo>
                  <a:cubicBezTo>
                    <a:pt x="0" y="296"/>
                    <a:pt x="296" y="0"/>
                    <a:pt x="661" y="0"/>
                  </a:cubicBezTo>
                  <a:lnTo>
                    <a:pt x="6774" y="0"/>
                  </a:lnTo>
                  <a:cubicBezTo>
                    <a:pt x="7138" y="0"/>
                    <a:pt x="7434" y="296"/>
                    <a:pt x="7434" y="661"/>
                  </a:cubicBezTo>
                  <a:lnTo>
                    <a:pt x="7434" y="690"/>
                  </a:lnTo>
                  <a:cubicBezTo>
                    <a:pt x="7434" y="1056"/>
                    <a:pt x="7138" y="1352"/>
                    <a:pt x="6774" y="1352"/>
                  </a:cubicBezTo>
                  <a:lnTo>
                    <a:pt x="661" y="1352"/>
                  </a:lnTo>
                  <a:cubicBezTo>
                    <a:pt x="296" y="1352"/>
                    <a:pt x="0" y="1056"/>
                    <a:pt x="0" y="690"/>
                  </a:cubicBezTo>
                  <a:lnTo>
                    <a:pt x="0" y="661"/>
                  </a:lnTo>
                  <a:lnTo>
                    <a:pt x="0" y="661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2" name="Freeform: Shape 2981">
              <a:extLst>
                <a:ext uri="{FF2B5EF4-FFF2-40B4-BE49-F238E27FC236}">
                  <a16:creationId xmlns:a16="http://schemas.microsoft.com/office/drawing/2014/main" id="{0296822A-A456-9854-0124-CD22ABF41417}"/>
                </a:ext>
              </a:extLst>
            </p:cNvPr>
            <p:cNvSpPr/>
            <p:nvPr/>
          </p:nvSpPr>
          <p:spPr>
            <a:xfrm>
              <a:off x="8983578" y="3574477"/>
              <a:ext cx="9059" cy="1349"/>
            </a:xfrm>
            <a:custGeom>
              <a:avLst/>
              <a:gdLst>
                <a:gd name="connsiteX0" fmla="*/ 0 w 9059"/>
                <a:gd name="connsiteY0" fmla="*/ 629 h 1349"/>
                <a:gd name="connsiteX1" fmla="*/ 631 w 9059"/>
                <a:gd name="connsiteY1" fmla="*/ 0 h 1349"/>
                <a:gd name="connsiteX2" fmla="*/ 8430 w 9059"/>
                <a:gd name="connsiteY2" fmla="*/ 0 h 1349"/>
                <a:gd name="connsiteX3" fmla="*/ 9059 w 9059"/>
                <a:gd name="connsiteY3" fmla="*/ 629 h 1349"/>
                <a:gd name="connsiteX4" fmla="*/ 9059 w 9059"/>
                <a:gd name="connsiteY4" fmla="*/ 721 h 1349"/>
                <a:gd name="connsiteX5" fmla="*/ 8430 w 9059"/>
                <a:gd name="connsiteY5" fmla="*/ 1350 h 1349"/>
                <a:gd name="connsiteX6" fmla="*/ 631 w 9059"/>
                <a:gd name="connsiteY6" fmla="*/ 1350 h 1349"/>
                <a:gd name="connsiteX7" fmla="*/ 0 w 9059"/>
                <a:gd name="connsiteY7" fmla="*/ 721 h 1349"/>
                <a:gd name="connsiteX8" fmla="*/ 0 w 9059"/>
                <a:gd name="connsiteY8" fmla="*/ 629 h 1349"/>
                <a:gd name="connsiteX9" fmla="*/ 0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0" y="629"/>
                  </a:moveTo>
                  <a:cubicBezTo>
                    <a:pt x="0" y="281"/>
                    <a:pt x="283" y="0"/>
                    <a:pt x="631" y="0"/>
                  </a:cubicBezTo>
                  <a:lnTo>
                    <a:pt x="8430" y="0"/>
                  </a:lnTo>
                  <a:cubicBezTo>
                    <a:pt x="8778" y="0"/>
                    <a:pt x="9059" y="281"/>
                    <a:pt x="9059" y="629"/>
                  </a:cubicBezTo>
                  <a:lnTo>
                    <a:pt x="9059" y="721"/>
                  </a:lnTo>
                  <a:cubicBezTo>
                    <a:pt x="9059" y="1068"/>
                    <a:pt x="8778" y="1350"/>
                    <a:pt x="8430" y="1350"/>
                  </a:cubicBezTo>
                  <a:lnTo>
                    <a:pt x="631" y="1350"/>
                  </a:lnTo>
                  <a:cubicBezTo>
                    <a:pt x="283" y="1350"/>
                    <a:pt x="0" y="1068"/>
                    <a:pt x="0" y="721"/>
                  </a:cubicBezTo>
                  <a:lnTo>
                    <a:pt x="0" y="629"/>
                  </a:lnTo>
                  <a:lnTo>
                    <a:pt x="0" y="629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3" name="Freeform: Shape 2982">
              <a:extLst>
                <a:ext uri="{FF2B5EF4-FFF2-40B4-BE49-F238E27FC236}">
                  <a16:creationId xmlns:a16="http://schemas.microsoft.com/office/drawing/2014/main" id="{F3C1F5DA-4B65-940C-7FCA-76B8E1EA3BF1}"/>
                </a:ext>
              </a:extLst>
            </p:cNvPr>
            <p:cNvSpPr/>
            <p:nvPr/>
          </p:nvSpPr>
          <p:spPr>
            <a:xfrm>
              <a:off x="8956242" y="3570955"/>
              <a:ext cx="9059" cy="1349"/>
            </a:xfrm>
            <a:custGeom>
              <a:avLst/>
              <a:gdLst>
                <a:gd name="connsiteX0" fmla="*/ 9059 w 9059"/>
                <a:gd name="connsiteY0" fmla="*/ 629 h 1349"/>
                <a:gd name="connsiteX1" fmla="*/ 8430 w 9059"/>
                <a:gd name="connsiteY1" fmla="*/ 0 h 1349"/>
                <a:gd name="connsiteX2" fmla="*/ 629 w 9059"/>
                <a:gd name="connsiteY2" fmla="*/ 0 h 1349"/>
                <a:gd name="connsiteX3" fmla="*/ 0 w 9059"/>
                <a:gd name="connsiteY3" fmla="*/ 629 h 1349"/>
                <a:gd name="connsiteX4" fmla="*/ 0 w 9059"/>
                <a:gd name="connsiteY4" fmla="*/ 721 h 1349"/>
                <a:gd name="connsiteX5" fmla="*/ 629 w 9059"/>
                <a:gd name="connsiteY5" fmla="*/ 1350 h 1349"/>
                <a:gd name="connsiteX6" fmla="*/ 8430 w 9059"/>
                <a:gd name="connsiteY6" fmla="*/ 1350 h 1349"/>
                <a:gd name="connsiteX7" fmla="*/ 9059 w 9059"/>
                <a:gd name="connsiteY7" fmla="*/ 721 h 1349"/>
                <a:gd name="connsiteX8" fmla="*/ 9059 w 9059"/>
                <a:gd name="connsiteY8" fmla="*/ 629 h 1349"/>
                <a:gd name="connsiteX9" fmla="*/ 9059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9059" y="629"/>
                  </a:moveTo>
                  <a:cubicBezTo>
                    <a:pt x="9059" y="281"/>
                    <a:pt x="8778" y="0"/>
                    <a:pt x="8430" y="0"/>
                  </a:cubicBezTo>
                  <a:lnTo>
                    <a:pt x="629" y="0"/>
                  </a:lnTo>
                  <a:cubicBezTo>
                    <a:pt x="281" y="0"/>
                    <a:pt x="0" y="281"/>
                    <a:pt x="0" y="629"/>
                  </a:cubicBezTo>
                  <a:lnTo>
                    <a:pt x="0" y="721"/>
                  </a:lnTo>
                  <a:cubicBezTo>
                    <a:pt x="0" y="1068"/>
                    <a:pt x="281" y="1350"/>
                    <a:pt x="629" y="1350"/>
                  </a:cubicBezTo>
                  <a:lnTo>
                    <a:pt x="8430" y="1350"/>
                  </a:lnTo>
                  <a:cubicBezTo>
                    <a:pt x="8778" y="1350"/>
                    <a:pt x="9059" y="1068"/>
                    <a:pt x="9059" y="721"/>
                  </a:cubicBezTo>
                  <a:lnTo>
                    <a:pt x="9059" y="629"/>
                  </a:lnTo>
                  <a:lnTo>
                    <a:pt x="9059" y="62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4" name="Freeform: Shape 2983">
              <a:extLst>
                <a:ext uri="{FF2B5EF4-FFF2-40B4-BE49-F238E27FC236}">
                  <a16:creationId xmlns:a16="http://schemas.microsoft.com/office/drawing/2014/main" id="{940139DD-4B0D-4703-6A75-FD6950105E3E}"/>
                </a:ext>
              </a:extLst>
            </p:cNvPr>
            <p:cNvSpPr/>
            <p:nvPr/>
          </p:nvSpPr>
          <p:spPr>
            <a:xfrm>
              <a:off x="8964871" y="3577958"/>
              <a:ext cx="9059" cy="1349"/>
            </a:xfrm>
            <a:custGeom>
              <a:avLst/>
              <a:gdLst>
                <a:gd name="connsiteX0" fmla="*/ 0 w 9059"/>
                <a:gd name="connsiteY0" fmla="*/ 676 h 1349"/>
                <a:gd name="connsiteX1" fmla="*/ 676 w 9059"/>
                <a:gd name="connsiteY1" fmla="*/ 0 h 1349"/>
                <a:gd name="connsiteX2" fmla="*/ 8384 w 9059"/>
                <a:gd name="connsiteY2" fmla="*/ 0 h 1349"/>
                <a:gd name="connsiteX3" fmla="*/ 9059 w 9059"/>
                <a:gd name="connsiteY3" fmla="*/ 676 h 1349"/>
                <a:gd name="connsiteX4" fmla="*/ 8384 w 9059"/>
                <a:gd name="connsiteY4" fmla="*/ 1350 h 1349"/>
                <a:gd name="connsiteX5" fmla="*/ 676 w 9059"/>
                <a:gd name="connsiteY5" fmla="*/ 1350 h 1349"/>
                <a:gd name="connsiteX6" fmla="*/ 0 w 9059"/>
                <a:gd name="connsiteY6" fmla="*/ 676 h 1349"/>
                <a:gd name="connsiteX7" fmla="*/ 0 w 9059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9" h="1349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8384" y="0"/>
                  </a:lnTo>
                  <a:cubicBezTo>
                    <a:pt x="8756" y="0"/>
                    <a:pt x="9059" y="303"/>
                    <a:pt x="9059" y="676"/>
                  </a:cubicBezTo>
                  <a:cubicBezTo>
                    <a:pt x="9059" y="1049"/>
                    <a:pt x="8756" y="1350"/>
                    <a:pt x="8384" y="1350"/>
                  </a:cubicBezTo>
                  <a:lnTo>
                    <a:pt x="676" y="1350"/>
                  </a:lnTo>
                  <a:cubicBezTo>
                    <a:pt x="303" y="1350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5" name="Freeform: Shape 2984">
              <a:extLst>
                <a:ext uri="{FF2B5EF4-FFF2-40B4-BE49-F238E27FC236}">
                  <a16:creationId xmlns:a16="http://schemas.microsoft.com/office/drawing/2014/main" id="{9395FAF4-08E0-93D6-AAE6-7362E12AEA6D}"/>
                </a:ext>
              </a:extLst>
            </p:cNvPr>
            <p:cNvSpPr/>
            <p:nvPr/>
          </p:nvSpPr>
          <p:spPr>
            <a:xfrm>
              <a:off x="8977924" y="3574477"/>
              <a:ext cx="5074" cy="1349"/>
            </a:xfrm>
            <a:custGeom>
              <a:avLst/>
              <a:gdLst>
                <a:gd name="connsiteX0" fmla="*/ 0 w 5074"/>
                <a:gd name="connsiteY0" fmla="*/ 617 h 1349"/>
                <a:gd name="connsiteX1" fmla="*/ 617 w 5074"/>
                <a:gd name="connsiteY1" fmla="*/ 0 h 1349"/>
                <a:gd name="connsiteX2" fmla="*/ 4458 w 5074"/>
                <a:gd name="connsiteY2" fmla="*/ 0 h 1349"/>
                <a:gd name="connsiteX3" fmla="*/ 5075 w 5074"/>
                <a:gd name="connsiteY3" fmla="*/ 617 h 1349"/>
                <a:gd name="connsiteX4" fmla="*/ 5075 w 5074"/>
                <a:gd name="connsiteY4" fmla="*/ 733 h 1349"/>
                <a:gd name="connsiteX5" fmla="*/ 4458 w 5074"/>
                <a:gd name="connsiteY5" fmla="*/ 1350 h 1349"/>
                <a:gd name="connsiteX6" fmla="*/ 617 w 5074"/>
                <a:gd name="connsiteY6" fmla="*/ 1350 h 1349"/>
                <a:gd name="connsiteX7" fmla="*/ 0 w 5074"/>
                <a:gd name="connsiteY7" fmla="*/ 733 h 1349"/>
                <a:gd name="connsiteX8" fmla="*/ 0 w 5074"/>
                <a:gd name="connsiteY8" fmla="*/ 617 h 1349"/>
                <a:gd name="connsiteX9" fmla="*/ 0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0" y="617"/>
                  </a:moveTo>
                  <a:cubicBezTo>
                    <a:pt x="0" y="276"/>
                    <a:pt x="276" y="0"/>
                    <a:pt x="617" y="0"/>
                  </a:cubicBezTo>
                  <a:lnTo>
                    <a:pt x="4458" y="0"/>
                  </a:lnTo>
                  <a:cubicBezTo>
                    <a:pt x="4799" y="0"/>
                    <a:pt x="5075" y="276"/>
                    <a:pt x="5075" y="617"/>
                  </a:cubicBezTo>
                  <a:lnTo>
                    <a:pt x="5075" y="733"/>
                  </a:lnTo>
                  <a:cubicBezTo>
                    <a:pt x="5075" y="1074"/>
                    <a:pt x="4799" y="1350"/>
                    <a:pt x="4458" y="1350"/>
                  </a:cubicBezTo>
                  <a:lnTo>
                    <a:pt x="617" y="1350"/>
                  </a:lnTo>
                  <a:cubicBezTo>
                    <a:pt x="276" y="1350"/>
                    <a:pt x="0" y="1074"/>
                    <a:pt x="0" y="733"/>
                  </a:cubicBezTo>
                  <a:lnTo>
                    <a:pt x="0" y="617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6" name="Freeform: Shape 2985">
              <a:extLst>
                <a:ext uri="{FF2B5EF4-FFF2-40B4-BE49-F238E27FC236}">
                  <a16:creationId xmlns:a16="http://schemas.microsoft.com/office/drawing/2014/main" id="{EB99BC15-D1DB-1E38-F851-C33B87B5F86F}"/>
                </a:ext>
              </a:extLst>
            </p:cNvPr>
            <p:cNvSpPr/>
            <p:nvPr/>
          </p:nvSpPr>
          <p:spPr>
            <a:xfrm>
              <a:off x="8965881" y="3570955"/>
              <a:ext cx="5074" cy="1349"/>
            </a:xfrm>
            <a:custGeom>
              <a:avLst/>
              <a:gdLst>
                <a:gd name="connsiteX0" fmla="*/ 5075 w 5074"/>
                <a:gd name="connsiteY0" fmla="*/ 617 h 1349"/>
                <a:gd name="connsiteX1" fmla="*/ 4458 w 5074"/>
                <a:gd name="connsiteY1" fmla="*/ 0 h 1349"/>
                <a:gd name="connsiteX2" fmla="*/ 617 w 5074"/>
                <a:gd name="connsiteY2" fmla="*/ 0 h 1349"/>
                <a:gd name="connsiteX3" fmla="*/ 0 w 5074"/>
                <a:gd name="connsiteY3" fmla="*/ 617 h 1349"/>
                <a:gd name="connsiteX4" fmla="*/ 0 w 5074"/>
                <a:gd name="connsiteY4" fmla="*/ 733 h 1349"/>
                <a:gd name="connsiteX5" fmla="*/ 617 w 5074"/>
                <a:gd name="connsiteY5" fmla="*/ 1350 h 1349"/>
                <a:gd name="connsiteX6" fmla="*/ 4458 w 5074"/>
                <a:gd name="connsiteY6" fmla="*/ 1350 h 1349"/>
                <a:gd name="connsiteX7" fmla="*/ 5075 w 5074"/>
                <a:gd name="connsiteY7" fmla="*/ 733 h 1349"/>
                <a:gd name="connsiteX8" fmla="*/ 5075 w 5074"/>
                <a:gd name="connsiteY8" fmla="*/ 617 h 1349"/>
                <a:gd name="connsiteX9" fmla="*/ 5075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5075" y="617"/>
                  </a:moveTo>
                  <a:cubicBezTo>
                    <a:pt x="5075" y="276"/>
                    <a:pt x="4799" y="0"/>
                    <a:pt x="4458" y="0"/>
                  </a:cubicBezTo>
                  <a:lnTo>
                    <a:pt x="617" y="0"/>
                  </a:lnTo>
                  <a:cubicBezTo>
                    <a:pt x="276" y="0"/>
                    <a:pt x="0" y="276"/>
                    <a:pt x="0" y="617"/>
                  </a:cubicBezTo>
                  <a:lnTo>
                    <a:pt x="0" y="733"/>
                  </a:lnTo>
                  <a:cubicBezTo>
                    <a:pt x="0" y="1074"/>
                    <a:pt x="276" y="1350"/>
                    <a:pt x="617" y="1350"/>
                  </a:cubicBezTo>
                  <a:lnTo>
                    <a:pt x="4458" y="1350"/>
                  </a:lnTo>
                  <a:cubicBezTo>
                    <a:pt x="4799" y="1350"/>
                    <a:pt x="5075" y="1074"/>
                    <a:pt x="5075" y="733"/>
                  </a:cubicBezTo>
                  <a:lnTo>
                    <a:pt x="5075" y="617"/>
                  </a:lnTo>
                  <a:lnTo>
                    <a:pt x="5075" y="61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7" name="Freeform: Shape 2986">
              <a:extLst>
                <a:ext uri="{FF2B5EF4-FFF2-40B4-BE49-F238E27FC236}">
                  <a16:creationId xmlns:a16="http://schemas.microsoft.com/office/drawing/2014/main" id="{294C0EEF-DE5D-CF21-A62B-0828F88A688B}"/>
                </a:ext>
              </a:extLst>
            </p:cNvPr>
            <p:cNvSpPr/>
            <p:nvPr/>
          </p:nvSpPr>
          <p:spPr>
            <a:xfrm>
              <a:off x="8959218" y="3577958"/>
              <a:ext cx="5074" cy="1349"/>
            </a:xfrm>
            <a:custGeom>
              <a:avLst/>
              <a:gdLst>
                <a:gd name="connsiteX0" fmla="*/ 0 w 5074"/>
                <a:gd name="connsiteY0" fmla="*/ 676 h 1349"/>
                <a:gd name="connsiteX1" fmla="*/ 674 w 5074"/>
                <a:gd name="connsiteY1" fmla="*/ 0 h 1349"/>
                <a:gd name="connsiteX2" fmla="*/ 4399 w 5074"/>
                <a:gd name="connsiteY2" fmla="*/ 0 h 1349"/>
                <a:gd name="connsiteX3" fmla="*/ 5075 w 5074"/>
                <a:gd name="connsiteY3" fmla="*/ 676 h 1349"/>
                <a:gd name="connsiteX4" fmla="*/ 4399 w 5074"/>
                <a:gd name="connsiteY4" fmla="*/ 1350 h 1349"/>
                <a:gd name="connsiteX5" fmla="*/ 674 w 5074"/>
                <a:gd name="connsiteY5" fmla="*/ 1350 h 1349"/>
                <a:gd name="connsiteX6" fmla="*/ 0 w 5074"/>
                <a:gd name="connsiteY6" fmla="*/ 676 h 1349"/>
                <a:gd name="connsiteX7" fmla="*/ 0 w 5074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0" y="676"/>
                  </a:moveTo>
                  <a:cubicBezTo>
                    <a:pt x="0" y="303"/>
                    <a:pt x="301" y="0"/>
                    <a:pt x="674" y="0"/>
                  </a:cubicBezTo>
                  <a:lnTo>
                    <a:pt x="4399" y="0"/>
                  </a:lnTo>
                  <a:cubicBezTo>
                    <a:pt x="4772" y="0"/>
                    <a:pt x="5075" y="303"/>
                    <a:pt x="5075" y="676"/>
                  </a:cubicBezTo>
                  <a:cubicBezTo>
                    <a:pt x="5075" y="1049"/>
                    <a:pt x="4772" y="1350"/>
                    <a:pt x="4399" y="1350"/>
                  </a:cubicBezTo>
                  <a:lnTo>
                    <a:pt x="674" y="1350"/>
                  </a:lnTo>
                  <a:cubicBezTo>
                    <a:pt x="301" y="1350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8" name="Freeform: Shape 2987">
              <a:extLst>
                <a:ext uri="{FF2B5EF4-FFF2-40B4-BE49-F238E27FC236}">
                  <a16:creationId xmlns:a16="http://schemas.microsoft.com/office/drawing/2014/main" id="{5DED8EDA-9791-0DCC-6B18-21D28059988D}"/>
                </a:ext>
              </a:extLst>
            </p:cNvPr>
            <p:cNvSpPr/>
            <p:nvPr/>
          </p:nvSpPr>
          <p:spPr>
            <a:xfrm>
              <a:off x="8975257" y="3577958"/>
              <a:ext cx="5074" cy="1349"/>
            </a:xfrm>
            <a:custGeom>
              <a:avLst/>
              <a:gdLst>
                <a:gd name="connsiteX0" fmla="*/ 0 w 5074"/>
                <a:gd name="connsiteY0" fmla="*/ 676 h 1349"/>
                <a:gd name="connsiteX1" fmla="*/ 676 w 5074"/>
                <a:gd name="connsiteY1" fmla="*/ 0 h 1349"/>
                <a:gd name="connsiteX2" fmla="*/ 4399 w 5074"/>
                <a:gd name="connsiteY2" fmla="*/ 0 h 1349"/>
                <a:gd name="connsiteX3" fmla="*/ 5075 w 5074"/>
                <a:gd name="connsiteY3" fmla="*/ 676 h 1349"/>
                <a:gd name="connsiteX4" fmla="*/ 4399 w 5074"/>
                <a:gd name="connsiteY4" fmla="*/ 1350 h 1349"/>
                <a:gd name="connsiteX5" fmla="*/ 676 w 5074"/>
                <a:gd name="connsiteY5" fmla="*/ 1350 h 1349"/>
                <a:gd name="connsiteX6" fmla="*/ 0 w 5074"/>
                <a:gd name="connsiteY6" fmla="*/ 676 h 1349"/>
                <a:gd name="connsiteX7" fmla="*/ 0 w 5074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4399" y="0"/>
                  </a:lnTo>
                  <a:cubicBezTo>
                    <a:pt x="4772" y="0"/>
                    <a:pt x="5075" y="303"/>
                    <a:pt x="5075" y="676"/>
                  </a:cubicBezTo>
                  <a:cubicBezTo>
                    <a:pt x="5075" y="1049"/>
                    <a:pt x="4772" y="1350"/>
                    <a:pt x="4399" y="1350"/>
                  </a:cubicBezTo>
                  <a:lnTo>
                    <a:pt x="676" y="1350"/>
                  </a:lnTo>
                  <a:cubicBezTo>
                    <a:pt x="303" y="1350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9" name="Freeform: Shape 2988">
              <a:extLst>
                <a:ext uri="{FF2B5EF4-FFF2-40B4-BE49-F238E27FC236}">
                  <a16:creationId xmlns:a16="http://schemas.microsoft.com/office/drawing/2014/main" id="{6E0F2A49-D15D-962F-A9F6-C841DA40C0C0}"/>
                </a:ext>
              </a:extLst>
            </p:cNvPr>
            <p:cNvSpPr/>
            <p:nvPr/>
          </p:nvSpPr>
          <p:spPr>
            <a:xfrm>
              <a:off x="8956242" y="3574477"/>
              <a:ext cx="3396" cy="1349"/>
            </a:xfrm>
            <a:custGeom>
              <a:avLst/>
              <a:gdLst>
                <a:gd name="connsiteX0" fmla="*/ 0 w 3396"/>
                <a:gd name="connsiteY0" fmla="*/ 658 h 1349"/>
                <a:gd name="connsiteX1" fmla="*/ 658 w 3396"/>
                <a:gd name="connsiteY1" fmla="*/ 0 h 1349"/>
                <a:gd name="connsiteX2" fmla="*/ 2739 w 3396"/>
                <a:gd name="connsiteY2" fmla="*/ 0 h 1349"/>
                <a:gd name="connsiteX3" fmla="*/ 3397 w 3396"/>
                <a:gd name="connsiteY3" fmla="*/ 658 h 1349"/>
                <a:gd name="connsiteX4" fmla="*/ 3397 w 3396"/>
                <a:gd name="connsiteY4" fmla="*/ 692 h 1349"/>
                <a:gd name="connsiteX5" fmla="*/ 2739 w 3396"/>
                <a:gd name="connsiteY5" fmla="*/ 1350 h 1349"/>
                <a:gd name="connsiteX6" fmla="*/ 658 w 3396"/>
                <a:gd name="connsiteY6" fmla="*/ 1350 h 1349"/>
                <a:gd name="connsiteX7" fmla="*/ 0 w 3396"/>
                <a:gd name="connsiteY7" fmla="*/ 692 h 1349"/>
                <a:gd name="connsiteX8" fmla="*/ 0 w 3396"/>
                <a:gd name="connsiteY8" fmla="*/ 658 h 1349"/>
                <a:gd name="connsiteX9" fmla="*/ 0 w 3396"/>
                <a:gd name="connsiteY9" fmla="*/ 658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6" h="1349">
                  <a:moveTo>
                    <a:pt x="0" y="658"/>
                  </a:moveTo>
                  <a:cubicBezTo>
                    <a:pt x="0" y="294"/>
                    <a:pt x="294" y="0"/>
                    <a:pt x="658" y="0"/>
                  </a:cubicBezTo>
                  <a:lnTo>
                    <a:pt x="2739" y="0"/>
                  </a:lnTo>
                  <a:cubicBezTo>
                    <a:pt x="3103" y="0"/>
                    <a:pt x="3397" y="294"/>
                    <a:pt x="3397" y="658"/>
                  </a:cubicBezTo>
                  <a:lnTo>
                    <a:pt x="3397" y="692"/>
                  </a:lnTo>
                  <a:cubicBezTo>
                    <a:pt x="3397" y="1056"/>
                    <a:pt x="3103" y="1350"/>
                    <a:pt x="2739" y="1350"/>
                  </a:cubicBezTo>
                  <a:lnTo>
                    <a:pt x="658" y="1350"/>
                  </a:lnTo>
                  <a:cubicBezTo>
                    <a:pt x="294" y="1350"/>
                    <a:pt x="0" y="1056"/>
                    <a:pt x="0" y="692"/>
                  </a:cubicBezTo>
                  <a:lnTo>
                    <a:pt x="0" y="658"/>
                  </a:lnTo>
                  <a:lnTo>
                    <a:pt x="0" y="658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0" name="Freeform: Shape 2989">
              <a:extLst>
                <a:ext uri="{FF2B5EF4-FFF2-40B4-BE49-F238E27FC236}">
                  <a16:creationId xmlns:a16="http://schemas.microsoft.com/office/drawing/2014/main" id="{3DAE17FB-E39F-56AF-5E2B-8AF1105150CD}"/>
                </a:ext>
              </a:extLst>
            </p:cNvPr>
            <p:cNvSpPr/>
            <p:nvPr/>
          </p:nvSpPr>
          <p:spPr>
            <a:xfrm>
              <a:off x="8974949" y="3574477"/>
              <a:ext cx="2423" cy="1349"/>
            </a:xfrm>
            <a:custGeom>
              <a:avLst/>
              <a:gdLst>
                <a:gd name="connsiteX0" fmla="*/ 0 w 2423"/>
                <a:gd name="connsiteY0" fmla="*/ 600 h 1349"/>
                <a:gd name="connsiteX1" fmla="*/ 602 w 2423"/>
                <a:gd name="connsiteY1" fmla="*/ 0 h 1349"/>
                <a:gd name="connsiteX2" fmla="*/ 1823 w 2423"/>
                <a:gd name="connsiteY2" fmla="*/ 0 h 1349"/>
                <a:gd name="connsiteX3" fmla="*/ 2423 w 2423"/>
                <a:gd name="connsiteY3" fmla="*/ 600 h 1349"/>
                <a:gd name="connsiteX4" fmla="*/ 2423 w 2423"/>
                <a:gd name="connsiteY4" fmla="*/ 749 h 1349"/>
                <a:gd name="connsiteX5" fmla="*/ 1823 w 2423"/>
                <a:gd name="connsiteY5" fmla="*/ 1350 h 1349"/>
                <a:gd name="connsiteX6" fmla="*/ 602 w 2423"/>
                <a:gd name="connsiteY6" fmla="*/ 1350 h 1349"/>
                <a:gd name="connsiteX7" fmla="*/ 0 w 2423"/>
                <a:gd name="connsiteY7" fmla="*/ 749 h 1349"/>
                <a:gd name="connsiteX8" fmla="*/ 0 w 2423"/>
                <a:gd name="connsiteY8" fmla="*/ 600 h 1349"/>
                <a:gd name="connsiteX9" fmla="*/ 0 w 2423"/>
                <a:gd name="connsiteY9" fmla="*/ 60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3" h="1349">
                  <a:moveTo>
                    <a:pt x="0" y="600"/>
                  </a:moveTo>
                  <a:cubicBezTo>
                    <a:pt x="0" y="269"/>
                    <a:pt x="271" y="0"/>
                    <a:pt x="602" y="0"/>
                  </a:cubicBezTo>
                  <a:lnTo>
                    <a:pt x="1823" y="0"/>
                  </a:lnTo>
                  <a:cubicBezTo>
                    <a:pt x="2155" y="0"/>
                    <a:pt x="2423" y="269"/>
                    <a:pt x="2423" y="600"/>
                  </a:cubicBezTo>
                  <a:lnTo>
                    <a:pt x="2423" y="749"/>
                  </a:lnTo>
                  <a:cubicBezTo>
                    <a:pt x="2423" y="1081"/>
                    <a:pt x="2155" y="1350"/>
                    <a:pt x="1823" y="1350"/>
                  </a:cubicBezTo>
                  <a:lnTo>
                    <a:pt x="602" y="1350"/>
                  </a:lnTo>
                  <a:cubicBezTo>
                    <a:pt x="271" y="1350"/>
                    <a:pt x="0" y="1081"/>
                    <a:pt x="0" y="749"/>
                  </a:cubicBezTo>
                  <a:lnTo>
                    <a:pt x="0" y="600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1" name="Freeform: Shape 2990">
              <a:extLst>
                <a:ext uri="{FF2B5EF4-FFF2-40B4-BE49-F238E27FC236}">
                  <a16:creationId xmlns:a16="http://schemas.microsoft.com/office/drawing/2014/main" id="{60493D0C-472A-B65E-8FB7-7AEE78065F0E}"/>
                </a:ext>
              </a:extLst>
            </p:cNvPr>
            <p:cNvSpPr/>
            <p:nvPr/>
          </p:nvSpPr>
          <p:spPr>
            <a:xfrm>
              <a:off x="8971507" y="3570955"/>
              <a:ext cx="2423" cy="1349"/>
            </a:xfrm>
            <a:custGeom>
              <a:avLst/>
              <a:gdLst>
                <a:gd name="connsiteX0" fmla="*/ 2423 w 2423"/>
                <a:gd name="connsiteY0" fmla="*/ 600 h 1349"/>
                <a:gd name="connsiteX1" fmla="*/ 1823 w 2423"/>
                <a:gd name="connsiteY1" fmla="*/ 0 h 1349"/>
                <a:gd name="connsiteX2" fmla="*/ 602 w 2423"/>
                <a:gd name="connsiteY2" fmla="*/ 0 h 1349"/>
                <a:gd name="connsiteX3" fmla="*/ 0 w 2423"/>
                <a:gd name="connsiteY3" fmla="*/ 600 h 1349"/>
                <a:gd name="connsiteX4" fmla="*/ 0 w 2423"/>
                <a:gd name="connsiteY4" fmla="*/ 749 h 1349"/>
                <a:gd name="connsiteX5" fmla="*/ 602 w 2423"/>
                <a:gd name="connsiteY5" fmla="*/ 1350 h 1349"/>
                <a:gd name="connsiteX6" fmla="*/ 1823 w 2423"/>
                <a:gd name="connsiteY6" fmla="*/ 1350 h 1349"/>
                <a:gd name="connsiteX7" fmla="*/ 2423 w 2423"/>
                <a:gd name="connsiteY7" fmla="*/ 749 h 1349"/>
                <a:gd name="connsiteX8" fmla="*/ 2423 w 2423"/>
                <a:gd name="connsiteY8" fmla="*/ 600 h 1349"/>
                <a:gd name="connsiteX9" fmla="*/ 2423 w 2423"/>
                <a:gd name="connsiteY9" fmla="*/ 60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3" h="1349">
                  <a:moveTo>
                    <a:pt x="2423" y="600"/>
                  </a:moveTo>
                  <a:cubicBezTo>
                    <a:pt x="2423" y="269"/>
                    <a:pt x="2155" y="0"/>
                    <a:pt x="1823" y="0"/>
                  </a:cubicBezTo>
                  <a:lnTo>
                    <a:pt x="602" y="0"/>
                  </a:lnTo>
                  <a:cubicBezTo>
                    <a:pt x="271" y="0"/>
                    <a:pt x="0" y="269"/>
                    <a:pt x="0" y="600"/>
                  </a:cubicBezTo>
                  <a:lnTo>
                    <a:pt x="0" y="749"/>
                  </a:lnTo>
                  <a:cubicBezTo>
                    <a:pt x="0" y="1081"/>
                    <a:pt x="271" y="1350"/>
                    <a:pt x="602" y="1350"/>
                  </a:cubicBezTo>
                  <a:lnTo>
                    <a:pt x="1823" y="1350"/>
                  </a:lnTo>
                  <a:cubicBezTo>
                    <a:pt x="2155" y="1350"/>
                    <a:pt x="2423" y="1081"/>
                    <a:pt x="2423" y="749"/>
                  </a:cubicBezTo>
                  <a:lnTo>
                    <a:pt x="2423" y="600"/>
                  </a:lnTo>
                  <a:lnTo>
                    <a:pt x="2423" y="600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2" name="Freeform: Shape 2991">
              <a:extLst>
                <a:ext uri="{FF2B5EF4-FFF2-40B4-BE49-F238E27FC236}">
                  <a16:creationId xmlns:a16="http://schemas.microsoft.com/office/drawing/2014/main" id="{F940E22D-6F41-24E4-0217-A0F92AB63AF0}"/>
                </a:ext>
              </a:extLst>
            </p:cNvPr>
            <p:cNvSpPr/>
            <p:nvPr/>
          </p:nvSpPr>
          <p:spPr>
            <a:xfrm>
              <a:off x="8956242" y="3577958"/>
              <a:ext cx="2421" cy="1349"/>
            </a:xfrm>
            <a:custGeom>
              <a:avLst/>
              <a:gdLst>
                <a:gd name="connsiteX0" fmla="*/ 0 w 2421"/>
                <a:gd name="connsiteY0" fmla="*/ 676 h 1349"/>
                <a:gd name="connsiteX1" fmla="*/ 676 w 2421"/>
                <a:gd name="connsiteY1" fmla="*/ 0 h 1349"/>
                <a:gd name="connsiteX2" fmla="*/ 1748 w 2421"/>
                <a:gd name="connsiteY2" fmla="*/ 0 h 1349"/>
                <a:gd name="connsiteX3" fmla="*/ 2422 w 2421"/>
                <a:gd name="connsiteY3" fmla="*/ 676 h 1349"/>
                <a:gd name="connsiteX4" fmla="*/ 1748 w 2421"/>
                <a:gd name="connsiteY4" fmla="*/ 1350 h 1349"/>
                <a:gd name="connsiteX5" fmla="*/ 676 w 2421"/>
                <a:gd name="connsiteY5" fmla="*/ 1350 h 1349"/>
                <a:gd name="connsiteX6" fmla="*/ 0 w 2421"/>
                <a:gd name="connsiteY6" fmla="*/ 676 h 1349"/>
                <a:gd name="connsiteX7" fmla="*/ 0 w 2421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1" h="1349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1748" y="0"/>
                  </a:lnTo>
                  <a:cubicBezTo>
                    <a:pt x="2121" y="0"/>
                    <a:pt x="2422" y="303"/>
                    <a:pt x="2422" y="676"/>
                  </a:cubicBezTo>
                  <a:cubicBezTo>
                    <a:pt x="2422" y="1049"/>
                    <a:pt x="2121" y="1350"/>
                    <a:pt x="1748" y="1350"/>
                  </a:cubicBezTo>
                  <a:lnTo>
                    <a:pt x="676" y="1350"/>
                  </a:lnTo>
                  <a:cubicBezTo>
                    <a:pt x="303" y="1350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3" name="Freeform: Shape 2992">
              <a:extLst>
                <a:ext uri="{FF2B5EF4-FFF2-40B4-BE49-F238E27FC236}">
                  <a16:creationId xmlns:a16="http://schemas.microsoft.com/office/drawing/2014/main" id="{B4986A6F-A633-9D8F-B958-7D9A71F2A510}"/>
                </a:ext>
              </a:extLst>
            </p:cNvPr>
            <p:cNvSpPr/>
            <p:nvPr/>
          </p:nvSpPr>
          <p:spPr>
            <a:xfrm>
              <a:off x="8980884" y="3577958"/>
              <a:ext cx="2423" cy="1349"/>
            </a:xfrm>
            <a:custGeom>
              <a:avLst/>
              <a:gdLst>
                <a:gd name="connsiteX0" fmla="*/ 0 w 2423"/>
                <a:gd name="connsiteY0" fmla="*/ 676 h 1349"/>
                <a:gd name="connsiteX1" fmla="*/ 676 w 2423"/>
                <a:gd name="connsiteY1" fmla="*/ 0 h 1349"/>
                <a:gd name="connsiteX2" fmla="*/ 1748 w 2423"/>
                <a:gd name="connsiteY2" fmla="*/ 0 h 1349"/>
                <a:gd name="connsiteX3" fmla="*/ 2423 w 2423"/>
                <a:gd name="connsiteY3" fmla="*/ 676 h 1349"/>
                <a:gd name="connsiteX4" fmla="*/ 1748 w 2423"/>
                <a:gd name="connsiteY4" fmla="*/ 1350 h 1349"/>
                <a:gd name="connsiteX5" fmla="*/ 676 w 2423"/>
                <a:gd name="connsiteY5" fmla="*/ 1350 h 1349"/>
                <a:gd name="connsiteX6" fmla="*/ 0 w 2423"/>
                <a:gd name="connsiteY6" fmla="*/ 676 h 1349"/>
                <a:gd name="connsiteX7" fmla="*/ 0 w 2423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3" h="1349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1748" y="0"/>
                  </a:lnTo>
                  <a:cubicBezTo>
                    <a:pt x="2121" y="0"/>
                    <a:pt x="2423" y="303"/>
                    <a:pt x="2423" y="676"/>
                  </a:cubicBezTo>
                  <a:cubicBezTo>
                    <a:pt x="2423" y="1049"/>
                    <a:pt x="2121" y="1350"/>
                    <a:pt x="1748" y="1350"/>
                  </a:cubicBezTo>
                  <a:lnTo>
                    <a:pt x="676" y="1350"/>
                  </a:lnTo>
                  <a:cubicBezTo>
                    <a:pt x="303" y="1350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4" name="Freeform: Shape 2993">
              <a:extLst>
                <a:ext uri="{FF2B5EF4-FFF2-40B4-BE49-F238E27FC236}">
                  <a16:creationId xmlns:a16="http://schemas.microsoft.com/office/drawing/2014/main" id="{F4A8BB3F-0EE7-A8C7-D76D-8DD678B43CD9}"/>
                </a:ext>
              </a:extLst>
            </p:cNvPr>
            <p:cNvSpPr/>
            <p:nvPr/>
          </p:nvSpPr>
          <p:spPr>
            <a:xfrm>
              <a:off x="8960603" y="3574477"/>
              <a:ext cx="2785" cy="1349"/>
            </a:xfrm>
            <a:custGeom>
              <a:avLst/>
              <a:gdLst>
                <a:gd name="connsiteX0" fmla="*/ 0 w 2785"/>
                <a:gd name="connsiteY0" fmla="*/ 635 h 1349"/>
                <a:gd name="connsiteX1" fmla="*/ 636 w 2785"/>
                <a:gd name="connsiteY1" fmla="*/ 0 h 1349"/>
                <a:gd name="connsiteX2" fmla="*/ 2149 w 2785"/>
                <a:gd name="connsiteY2" fmla="*/ 0 h 1349"/>
                <a:gd name="connsiteX3" fmla="*/ 2786 w 2785"/>
                <a:gd name="connsiteY3" fmla="*/ 635 h 1349"/>
                <a:gd name="connsiteX4" fmla="*/ 2786 w 2785"/>
                <a:gd name="connsiteY4" fmla="*/ 715 h 1349"/>
                <a:gd name="connsiteX5" fmla="*/ 2149 w 2785"/>
                <a:gd name="connsiteY5" fmla="*/ 1350 h 1349"/>
                <a:gd name="connsiteX6" fmla="*/ 636 w 2785"/>
                <a:gd name="connsiteY6" fmla="*/ 1350 h 1349"/>
                <a:gd name="connsiteX7" fmla="*/ 0 w 2785"/>
                <a:gd name="connsiteY7" fmla="*/ 715 h 1349"/>
                <a:gd name="connsiteX8" fmla="*/ 0 w 2785"/>
                <a:gd name="connsiteY8" fmla="*/ 635 h 1349"/>
                <a:gd name="connsiteX9" fmla="*/ 0 w 2785"/>
                <a:gd name="connsiteY9" fmla="*/ 635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5" h="1349">
                  <a:moveTo>
                    <a:pt x="0" y="635"/>
                  </a:moveTo>
                  <a:cubicBezTo>
                    <a:pt x="0" y="285"/>
                    <a:pt x="285" y="0"/>
                    <a:pt x="636" y="0"/>
                  </a:cubicBezTo>
                  <a:lnTo>
                    <a:pt x="2149" y="0"/>
                  </a:lnTo>
                  <a:cubicBezTo>
                    <a:pt x="2501" y="0"/>
                    <a:pt x="2786" y="285"/>
                    <a:pt x="2786" y="635"/>
                  </a:cubicBezTo>
                  <a:lnTo>
                    <a:pt x="2786" y="715"/>
                  </a:lnTo>
                  <a:cubicBezTo>
                    <a:pt x="2786" y="1065"/>
                    <a:pt x="2501" y="1350"/>
                    <a:pt x="2149" y="1350"/>
                  </a:cubicBezTo>
                  <a:lnTo>
                    <a:pt x="636" y="1350"/>
                  </a:lnTo>
                  <a:cubicBezTo>
                    <a:pt x="285" y="1350"/>
                    <a:pt x="0" y="1065"/>
                    <a:pt x="0" y="715"/>
                  </a:cubicBezTo>
                  <a:lnTo>
                    <a:pt x="0" y="635"/>
                  </a:lnTo>
                  <a:lnTo>
                    <a:pt x="0" y="635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5" name="Freeform: Shape 2994">
              <a:extLst>
                <a:ext uri="{FF2B5EF4-FFF2-40B4-BE49-F238E27FC236}">
                  <a16:creationId xmlns:a16="http://schemas.microsoft.com/office/drawing/2014/main" id="{17F97759-61AB-3557-17F6-5BC85E3545B6}"/>
                </a:ext>
              </a:extLst>
            </p:cNvPr>
            <p:cNvSpPr/>
            <p:nvPr/>
          </p:nvSpPr>
          <p:spPr>
            <a:xfrm>
              <a:off x="8983994" y="3577958"/>
              <a:ext cx="2421" cy="1349"/>
            </a:xfrm>
            <a:custGeom>
              <a:avLst/>
              <a:gdLst>
                <a:gd name="connsiteX0" fmla="*/ 0 w 2421"/>
                <a:gd name="connsiteY0" fmla="*/ 676 h 1349"/>
                <a:gd name="connsiteX1" fmla="*/ 676 w 2421"/>
                <a:gd name="connsiteY1" fmla="*/ 0 h 1349"/>
                <a:gd name="connsiteX2" fmla="*/ 1748 w 2421"/>
                <a:gd name="connsiteY2" fmla="*/ 0 h 1349"/>
                <a:gd name="connsiteX3" fmla="*/ 2422 w 2421"/>
                <a:gd name="connsiteY3" fmla="*/ 676 h 1349"/>
                <a:gd name="connsiteX4" fmla="*/ 1748 w 2421"/>
                <a:gd name="connsiteY4" fmla="*/ 1350 h 1349"/>
                <a:gd name="connsiteX5" fmla="*/ 676 w 2421"/>
                <a:gd name="connsiteY5" fmla="*/ 1350 h 1349"/>
                <a:gd name="connsiteX6" fmla="*/ 0 w 2421"/>
                <a:gd name="connsiteY6" fmla="*/ 676 h 1349"/>
                <a:gd name="connsiteX7" fmla="*/ 0 w 2421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1" h="1349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1748" y="0"/>
                  </a:lnTo>
                  <a:cubicBezTo>
                    <a:pt x="2121" y="0"/>
                    <a:pt x="2422" y="303"/>
                    <a:pt x="2422" y="676"/>
                  </a:cubicBezTo>
                  <a:cubicBezTo>
                    <a:pt x="2422" y="1049"/>
                    <a:pt x="2121" y="1350"/>
                    <a:pt x="1748" y="1350"/>
                  </a:cubicBezTo>
                  <a:lnTo>
                    <a:pt x="676" y="1350"/>
                  </a:lnTo>
                  <a:cubicBezTo>
                    <a:pt x="303" y="1350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6" name="Freeform: Shape 2995">
              <a:extLst>
                <a:ext uri="{FF2B5EF4-FFF2-40B4-BE49-F238E27FC236}">
                  <a16:creationId xmlns:a16="http://schemas.microsoft.com/office/drawing/2014/main" id="{7BCB1399-5789-15AE-BBEE-EB2FD3BBD107}"/>
                </a:ext>
              </a:extLst>
            </p:cNvPr>
            <p:cNvSpPr/>
            <p:nvPr/>
          </p:nvSpPr>
          <p:spPr>
            <a:xfrm>
              <a:off x="8963893" y="3574477"/>
              <a:ext cx="2168" cy="1349"/>
            </a:xfrm>
            <a:custGeom>
              <a:avLst/>
              <a:gdLst>
                <a:gd name="connsiteX0" fmla="*/ 0 w 2168"/>
                <a:gd name="connsiteY0" fmla="*/ 627 h 1349"/>
                <a:gd name="connsiteX1" fmla="*/ 627 w 2168"/>
                <a:gd name="connsiteY1" fmla="*/ 0 h 1349"/>
                <a:gd name="connsiteX2" fmla="*/ 1543 w 2168"/>
                <a:gd name="connsiteY2" fmla="*/ 0 h 1349"/>
                <a:gd name="connsiteX3" fmla="*/ 2169 w 2168"/>
                <a:gd name="connsiteY3" fmla="*/ 627 h 1349"/>
                <a:gd name="connsiteX4" fmla="*/ 2169 w 2168"/>
                <a:gd name="connsiteY4" fmla="*/ 722 h 1349"/>
                <a:gd name="connsiteX5" fmla="*/ 1543 w 2168"/>
                <a:gd name="connsiteY5" fmla="*/ 1350 h 1349"/>
                <a:gd name="connsiteX6" fmla="*/ 627 w 2168"/>
                <a:gd name="connsiteY6" fmla="*/ 1350 h 1349"/>
                <a:gd name="connsiteX7" fmla="*/ 0 w 2168"/>
                <a:gd name="connsiteY7" fmla="*/ 722 h 1349"/>
                <a:gd name="connsiteX8" fmla="*/ 0 w 2168"/>
                <a:gd name="connsiteY8" fmla="*/ 627 h 1349"/>
                <a:gd name="connsiteX9" fmla="*/ 0 w 2168"/>
                <a:gd name="connsiteY9" fmla="*/ 62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8" h="1349">
                  <a:moveTo>
                    <a:pt x="0" y="627"/>
                  </a:moveTo>
                  <a:cubicBezTo>
                    <a:pt x="0" y="281"/>
                    <a:pt x="281" y="0"/>
                    <a:pt x="627" y="0"/>
                  </a:cubicBezTo>
                  <a:lnTo>
                    <a:pt x="1543" y="0"/>
                  </a:lnTo>
                  <a:cubicBezTo>
                    <a:pt x="1889" y="0"/>
                    <a:pt x="2169" y="281"/>
                    <a:pt x="2169" y="627"/>
                  </a:cubicBezTo>
                  <a:lnTo>
                    <a:pt x="2169" y="722"/>
                  </a:lnTo>
                  <a:cubicBezTo>
                    <a:pt x="2169" y="1068"/>
                    <a:pt x="1889" y="1350"/>
                    <a:pt x="1543" y="1350"/>
                  </a:cubicBezTo>
                  <a:lnTo>
                    <a:pt x="627" y="1350"/>
                  </a:lnTo>
                  <a:cubicBezTo>
                    <a:pt x="281" y="1350"/>
                    <a:pt x="0" y="1068"/>
                    <a:pt x="0" y="722"/>
                  </a:cubicBezTo>
                  <a:lnTo>
                    <a:pt x="0" y="627"/>
                  </a:lnTo>
                  <a:lnTo>
                    <a:pt x="0" y="62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7" name="Freeform: Shape 2996">
              <a:extLst>
                <a:ext uri="{FF2B5EF4-FFF2-40B4-BE49-F238E27FC236}">
                  <a16:creationId xmlns:a16="http://schemas.microsoft.com/office/drawing/2014/main" id="{CC0EE7B8-FA79-6B3F-B932-33CB59EECEBF}"/>
                </a:ext>
              </a:extLst>
            </p:cNvPr>
            <p:cNvSpPr/>
            <p:nvPr/>
          </p:nvSpPr>
          <p:spPr>
            <a:xfrm>
              <a:off x="8966497" y="3574477"/>
              <a:ext cx="7433" cy="1349"/>
            </a:xfrm>
            <a:custGeom>
              <a:avLst/>
              <a:gdLst>
                <a:gd name="connsiteX0" fmla="*/ 0 w 7433"/>
                <a:gd name="connsiteY0" fmla="*/ 660 h 1349"/>
                <a:gd name="connsiteX1" fmla="*/ 661 w 7433"/>
                <a:gd name="connsiteY1" fmla="*/ 0 h 1349"/>
                <a:gd name="connsiteX2" fmla="*/ 6774 w 7433"/>
                <a:gd name="connsiteY2" fmla="*/ 0 h 1349"/>
                <a:gd name="connsiteX3" fmla="*/ 7434 w 7433"/>
                <a:gd name="connsiteY3" fmla="*/ 660 h 1349"/>
                <a:gd name="connsiteX4" fmla="*/ 7434 w 7433"/>
                <a:gd name="connsiteY4" fmla="*/ 690 h 1349"/>
                <a:gd name="connsiteX5" fmla="*/ 6774 w 7433"/>
                <a:gd name="connsiteY5" fmla="*/ 1350 h 1349"/>
                <a:gd name="connsiteX6" fmla="*/ 661 w 7433"/>
                <a:gd name="connsiteY6" fmla="*/ 1350 h 1349"/>
                <a:gd name="connsiteX7" fmla="*/ 0 w 7433"/>
                <a:gd name="connsiteY7" fmla="*/ 690 h 1349"/>
                <a:gd name="connsiteX8" fmla="*/ 0 w 7433"/>
                <a:gd name="connsiteY8" fmla="*/ 660 h 1349"/>
                <a:gd name="connsiteX9" fmla="*/ 0 w 7433"/>
                <a:gd name="connsiteY9" fmla="*/ 66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3" h="1349">
                  <a:moveTo>
                    <a:pt x="0" y="660"/>
                  </a:moveTo>
                  <a:cubicBezTo>
                    <a:pt x="0" y="296"/>
                    <a:pt x="296" y="0"/>
                    <a:pt x="661" y="0"/>
                  </a:cubicBezTo>
                  <a:lnTo>
                    <a:pt x="6774" y="0"/>
                  </a:lnTo>
                  <a:cubicBezTo>
                    <a:pt x="7138" y="0"/>
                    <a:pt x="7434" y="296"/>
                    <a:pt x="7434" y="660"/>
                  </a:cubicBezTo>
                  <a:lnTo>
                    <a:pt x="7434" y="690"/>
                  </a:lnTo>
                  <a:cubicBezTo>
                    <a:pt x="7434" y="1054"/>
                    <a:pt x="7138" y="1350"/>
                    <a:pt x="6774" y="1350"/>
                  </a:cubicBezTo>
                  <a:lnTo>
                    <a:pt x="661" y="1350"/>
                  </a:lnTo>
                  <a:cubicBezTo>
                    <a:pt x="296" y="1350"/>
                    <a:pt x="0" y="1054"/>
                    <a:pt x="0" y="690"/>
                  </a:cubicBezTo>
                  <a:lnTo>
                    <a:pt x="0" y="660"/>
                  </a:lnTo>
                  <a:lnTo>
                    <a:pt x="0" y="66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8" name="Freeform: Shape 2997">
              <a:extLst>
                <a:ext uri="{FF2B5EF4-FFF2-40B4-BE49-F238E27FC236}">
                  <a16:creationId xmlns:a16="http://schemas.microsoft.com/office/drawing/2014/main" id="{AAE69CB9-BCD8-AB98-01FC-4FB9C83FAE93}"/>
                </a:ext>
              </a:extLst>
            </p:cNvPr>
            <p:cNvSpPr/>
            <p:nvPr/>
          </p:nvSpPr>
          <p:spPr>
            <a:xfrm>
              <a:off x="8983578" y="3590841"/>
              <a:ext cx="9059" cy="1349"/>
            </a:xfrm>
            <a:custGeom>
              <a:avLst/>
              <a:gdLst>
                <a:gd name="connsiteX0" fmla="*/ 0 w 9059"/>
                <a:gd name="connsiteY0" fmla="*/ 631 h 1349"/>
                <a:gd name="connsiteX1" fmla="*/ 631 w 9059"/>
                <a:gd name="connsiteY1" fmla="*/ 0 h 1349"/>
                <a:gd name="connsiteX2" fmla="*/ 8430 w 9059"/>
                <a:gd name="connsiteY2" fmla="*/ 0 h 1349"/>
                <a:gd name="connsiteX3" fmla="*/ 9059 w 9059"/>
                <a:gd name="connsiteY3" fmla="*/ 631 h 1349"/>
                <a:gd name="connsiteX4" fmla="*/ 9059 w 9059"/>
                <a:gd name="connsiteY4" fmla="*/ 721 h 1349"/>
                <a:gd name="connsiteX5" fmla="*/ 8430 w 9059"/>
                <a:gd name="connsiteY5" fmla="*/ 1350 h 1349"/>
                <a:gd name="connsiteX6" fmla="*/ 631 w 9059"/>
                <a:gd name="connsiteY6" fmla="*/ 1350 h 1349"/>
                <a:gd name="connsiteX7" fmla="*/ 0 w 9059"/>
                <a:gd name="connsiteY7" fmla="*/ 721 h 1349"/>
                <a:gd name="connsiteX8" fmla="*/ 0 w 9059"/>
                <a:gd name="connsiteY8" fmla="*/ 631 h 1349"/>
                <a:gd name="connsiteX9" fmla="*/ 0 w 9059"/>
                <a:gd name="connsiteY9" fmla="*/ 631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0" y="631"/>
                  </a:moveTo>
                  <a:cubicBezTo>
                    <a:pt x="0" y="283"/>
                    <a:pt x="283" y="0"/>
                    <a:pt x="631" y="0"/>
                  </a:cubicBezTo>
                  <a:lnTo>
                    <a:pt x="8430" y="0"/>
                  </a:lnTo>
                  <a:cubicBezTo>
                    <a:pt x="8778" y="0"/>
                    <a:pt x="9059" y="283"/>
                    <a:pt x="9059" y="631"/>
                  </a:cubicBezTo>
                  <a:lnTo>
                    <a:pt x="9059" y="721"/>
                  </a:lnTo>
                  <a:cubicBezTo>
                    <a:pt x="9059" y="1068"/>
                    <a:pt x="8778" y="1350"/>
                    <a:pt x="8430" y="1350"/>
                  </a:cubicBezTo>
                  <a:lnTo>
                    <a:pt x="631" y="1350"/>
                  </a:lnTo>
                  <a:cubicBezTo>
                    <a:pt x="283" y="1350"/>
                    <a:pt x="0" y="1068"/>
                    <a:pt x="0" y="721"/>
                  </a:cubicBezTo>
                  <a:lnTo>
                    <a:pt x="0" y="631"/>
                  </a:lnTo>
                  <a:lnTo>
                    <a:pt x="0" y="631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9" name="Freeform: Shape 2998">
              <a:extLst>
                <a:ext uri="{FF2B5EF4-FFF2-40B4-BE49-F238E27FC236}">
                  <a16:creationId xmlns:a16="http://schemas.microsoft.com/office/drawing/2014/main" id="{6EAC5A66-E132-49B3-C0CF-5137619EFEEA}"/>
                </a:ext>
              </a:extLst>
            </p:cNvPr>
            <p:cNvSpPr/>
            <p:nvPr/>
          </p:nvSpPr>
          <p:spPr>
            <a:xfrm>
              <a:off x="8956242" y="3587319"/>
              <a:ext cx="9059" cy="1349"/>
            </a:xfrm>
            <a:custGeom>
              <a:avLst/>
              <a:gdLst>
                <a:gd name="connsiteX0" fmla="*/ 9059 w 9059"/>
                <a:gd name="connsiteY0" fmla="*/ 631 h 1349"/>
                <a:gd name="connsiteX1" fmla="*/ 8430 w 9059"/>
                <a:gd name="connsiteY1" fmla="*/ 0 h 1349"/>
                <a:gd name="connsiteX2" fmla="*/ 629 w 9059"/>
                <a:gd name="connsiteY2" fmla="*/ 0 h 1349"/>
                <a:gd name="connsiteX3" fmla="*/ 0 w 9059"/>
                <a:gd name="connsiteY3" fmla="*/ 631 h 1349"/>
                <a:gd name="connsiteX4" fmla="*/ 0 w 9059"/>
                <a:gd name="connsiteY4" fmla="*/ 721 h 1349"/>
                <a:gd name="connsiteX5" fmla="*/ 629 w 9059"/>
                <a:gd name="connsiteY5" fmla="*/ 1350 h 1349"/>
                <a:gd name="connsiteX6" fmla="*/ 8430 w 9059"/>
                <a:gd name="connsiteY6" fmla="*/ 1350 h 1349"/>
                <a:gd name="connsiteX7" fmla="*/ 9059 w 9059"/>
                <a:gd name="connsiteY7" fmla="*/ 721 h 1349"/>
                <a:gd name="connsiteX8" fmla="*/ 9059 w 9059"/>
                <a:gd name="connsiteY8" fmla="*/ 631 h 1349"/>
                <a:gd name="connsiteX9" fmla="*/ 9059 w 9059"/>
                <a:gd name="connsiteY9" fmla="*/ 631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9059" y="631"/>
                  </a:moveTo>
                  <a:cubicBezTo>
                    <a:pt x="9059" y="283"/>
                    <a:pt x="8778" y="0"/>
                    <a:pt x="8430" y="0"/>
                  </a:cubicBezTo>
                  <a:lnTo>
                    <a:pt x="629" y="0"/>
                  </a:lnTo>
                  <a:cubicBezTo>
                    <a:pt x="281" y="0"/>
                    <a:pt x="0" y="283"/>
                    <a:pt x="0" y="631"/>
                  </a:cubicBezTo>
                  <a:lnTo>
                    <a:pt x="0" y="721"/>
                  </a:lnTo>
                  <a:cubicBezTo>
                    <a:pt x="0" y="1068"/>
                    <a:pt x="281" y="1350"/>
                    <a:pt x="629" y="1350"/>
                  </a:cubicBezTo>
                  <a:lnTo>
                    <a:pt x="8430" y="1350"/>
                  </a:lnTo>
                  <a:cubicBezTo>
                    <a:pt x="8778" y="1350"/>
                    <a:pt x="9059" y="1068"/>
                    <a:pt x="9059" y="721"/>
                  </a:cubicBezTo>
                  <a:lnTo>
                    <a:pt x="9059" y="631"/>
                  </a:lnTo>
                  <a:lnTo>
                    <a:pt x="9059" y="631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0" name="Freeform: Shape 2999">
              <a:extLst>
                <a:ext uri="{FF2B5EF4-FFF2-40B4-BE49-F238E27FC236}">
                  <a16:creationId xmlns:a16="http://schemas.microsoft.com/office/drawing/2014/main" id="{833FE270-9BCC-C04C-7A97-A1FAF8EF6358}"/>
                </a:ext>
              </a:extLst>
            </p:cNvPr>
            <p:cNvSpPr/>
            <p:nvPr/>
          </p:nvSpPr>
          <p:spPr>
            <a:xfrm>
              <a:off x="8977924" y="3590841"/>
              <a:ext cx="5074" cy="1349"/>
            </a:xfrm>
            <a:custGeom>
              <a:avLst/>
              <a:gdLst>
                <a:gd name="connsiteX0" fmla="*/ 0 w 5074"/>
                <a:gd name="connsiteY0" fmla="*/ 617 h 1349"/>
                <a:gd name="connsiteX1" fmla="*/ 617 w 5074"/>
                <a:gd name="connsiteY1" fmla="*/ 0 h 1349"/>
                <a:gd name="connsiteX2" fmla="*/ 4458 w 5074"/>
                <a:gd name="connsiteY2" fmla="*/ 0 h 1349"/>
                <a:gd name="connsiteX3" fmla="*/ 5075 w 5074"/>
                <a:gd name="connsiteY3" fmla="*/ 617 h 1349"/>
                <a:gd name="connsiteX4" fmla="*/ 5075 w 5074"/>
                <a:gd name="connsiteY4" fmla="*/ 733 h 1349"/>
                <a:gd name="connsiteX5" fmla="*/ 4458 w 5074"/>
                <a:gd name="connsiteY5" fmla="*/ 1350 h 1349"/>
                <a:gd name="connsiteX6" fmla="*/ 617 w 5074"/>
                <a:gd name="connsiteY6" fmla="*/ 1350 h 1349"/>
                <a:gd name="connsiteX7" fmla="*/ 0 w 5074"/>
                <a:gd name="connsiteY7" fmla="*/ 733 h 1349"/>
                <a:gd name="connsiteX8" fmla="*/ 0 w 5074"/>
                <a:gd name="connsiteY8" fmla="*/ 617 h 1349"/>
                <a:gd name="connsiteX9" fmla="*/ 0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0" y="617"/>
                  </a:moveTo>
                  <a:cubicBezTo>
                    <a:pt x="0" y="276"/>
                    <a:pt x="276" y="0"/>
                    <a:pt x="617" y="0"/>
                  </a:cubicBezTo>
                  <a:lnTo>
                    <a:pt x="4458" y="0"/>
                  </a:lnTo>
                  <a:cubicBezTo>
                    <a:pt x="4799" y="0"/>
                    <a:pt x="5075" y="276"/>
                    <a:pt x="5075" y="617"/>
                  </a:cubicBezTo>
                  <a:lnTo>
                    <a:pt x="5075" y="733"/>
                  </a:lnTo>
                  <a:cubicBezTo>
                    <a:pt x="5075" y="1074"/>
                    <a:pt x="4799" y="1350"/>
                    <a:pt x="4458" y="1350"/>
                  </a:cubicBezTo>
                  <a:lnTo>
                    <a:pt x="617" y="1350"/>
                  </a:lnTo>
                  <a:cubicBezTo>
                    <a:pt x="276" y="1350"/>
                    <a:pt x="0" y="1074"/>
                    <a:pt x="0" y="733"/>
                  </a:cubicBezTo>
                  <a:lnTo>
                    <a:pt x="0" y="617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1" name="Freeform: Shape 3000">
              <a:extLst>
                <a:ext uri="{FF2B5EF4-FFF2-40B4-BE49-F238E27FC236}">
                  <a16:creationId xmlns:a16="http://schemas.microsoft.com/office/drawing/2014/main" id="{FDF0B04D-A9CB-5F90-8A43-9D8F68B738D6}"/>
                </a:ext>
              </a:extLst>
            </p:cNvPr>
            <p:cNvSpPr/>
            <p:nvPr/>
          </p:nvSpPr>
          <p:spPr>
            <a:xfrm>
              <a:off x="8965881" y="3587319"/>
              <a:ext cx="5074" cy="1349"/>
            </a:xfrm>
            <a:custGeom>
              <a:avLst/>
              <a:gdLst>
                <a:gd name="connsiteX0" fmla="*/ 5075 w 5074"/>
                <a:gd name="connsiteY0" fmla="*/ 617 h 1349"/>
                <a:gd name="connsiteX1" fmla="*/ 4458 w 5074"/>
                <a:gd name="connsiteY1" fmla="*/ 0 h 1349"/>
                <a:gd name="connsiteX2" fmla="*/ 617 w 5074"/>
                <a:gd name="connsiteY2" fmla="*/ 0 h 1349"/>
                <a:gd name="connsiteX3" fmla="*/ 0 w 5074"/>
                <a:gd name="connsiteY3" fmla="*/ 617 h 1349"/>
                <a:gd name="connsiteX4" fmla="*/ 0 w 5074"/>
                <a:gd name="connsiteY4" fmla="*/ 733 h 1349"/>
                <a:gd name="connsiteX5" fmla="*/ 617 w 5074"/>
                <a:gd name="connsiteY5" fmla="*/ 1350 h 1349"/>
                <a:gd name="connsiteX6" fmla="*/ 4458 w 5074"/>
                <a:gd name="connsiteY6" fmla="*/ 1350 h 1349"/>
                <a:gd name="connsiteX7" fmla="*/ 5075 w 5074"/>
                <a:gd name="connsiteY7" fmla="*/ 733 h 1349"/>
                <a:gd name="connsiteX8" fmla="*/ 5075 w 5074"/>
                <a:gd name="connsiteY8" fmla="*/ 617 h 1349"/>
                <a:gd name="connsiteX9" fmla="*/ 5075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5075" y="617"/>
                  </a:moveTo>
                  <a:cubicBezTo>
                    <a:pt x="5075" y="276"/>
                    <a:pt x="4799" y="0"/>
                    <a:pt x="4458" y="0"/>
                  </a:cubicBezTo>
                  <a:lnTo>
                    <a:pt x="617" y="0"/>
                  </a:lnTo>
                  <a:cubicBezTo>
                    <a:pt x="276" y="0"/>
                    <a:pt x="0" y="276"/>
                    <a:pt x="0" y="617"/>
                  </a:cubicBezTo>
                  <a:lnTo>
                    <a:pt x="0" y="733"/>
                  </a:lnTo>
                  <a:cubicBezTo>
                    <a:pt x="0" y="1074"/>
                    <a:pt x="276" y="1350"/>
                    <a:pt x="617" y="1350"/>
                  </a:cubicBezTo>
                  <a:lnTo>
                    <a:pt x="4458" y="1350"/>
                  </a:lnTo>
                  <a:cubicBezTo>
                    <a:pt x="4799" y="1350"/>
                    <a:pt x="5075" y="1074"/>
                    <a:pt x="5075" y="733"/>
                  </a:cubicBezTo>
                  <a:lnTo>
                    <a:pt x="5075" y="617"/>
                  </a:lnTo>
                  <a:lnTo>
                    <a:pt x="5075" y="61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2" name="Freeform: Shape 3001">
              <a:extLst>
                <a:ext uri="{FF2B5EF4-FFF2-40B4-BE49-F238E27FC236}">
                  <a16:creationId xmlns:a16="http://schemas.microsoft.com/office/drawing/2014/main" id="{747CBE5D-2DE0-7FA2-ABFA-A91B8BBFF3A1}"/>
                </a:ext>
              </a:extLst>
            </p:cNvPr>
            <p:cNvSpPr/>
            <p:nvPr/>
          </p:nvSpPr>
          <p:spPr>
            <a:xfrm>
              <a:off x="8959218" y="3594322"/>
              <a:ext cx="5074" cy="1349"/>
            </a:xfrm>
            <a:custGeom>
              <a:avLst/>
              <a:gdLst>
                <a:gd name="connsiteX0" fmla="*/ 0 w 5074"/>
                <a:gd name="connsiteY0" fmla="*/ 676 h 1349"/>
                <a:gd name="connsiteX1" fmla="*/ 674 w 5074"/>
                <a:gd name="connsiteY1" fmla="*/ 0 h 1349"/>
                <a:gd name="connsiteX2" fmla="*/ 4399 w 5074"/>
                <a:gd name="connsiteY2" fmla="*/ 0 h 1349"/>
                <a:gd name="connsiteX3" fmla="*/ 5075 w 5074"/>
                <a:gd name="connsiteY3" fmla="*/ 676 h 1349"/>
                <a:gd name="connsiteX4" fmla="*/ 4399 w 5074"/>
                <a:gd name="connsiteY4" fmla="*/ 1350 h 1349"/>
                <a:gd name="connsiteX5" fmla="*/ 674 w 5074"/>
                <a:gd name="connsiteY5" fmla="*/ 1350 h 1349"/>
                <a:gd name="connsiteX6" fmla="*/ 0 w 5074"/>
                <a:gd name="connsiteY6" fmla="*/ 676 h 1349"/>
                <a:gd name="connsiteX7" fmla="*/ 0 w 5074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0" y="676"/>
                  </a:moveTo>
                  <a:cubicBezTo>
                    <a:pt x="0" y="303"/>
                    <a:pt x="301" y="0"/>
                    <a:pt x="674" y="0"/>
                  </a:cubicBezTo>
                  <a:lnTo>
                    <a:pt x="4399" y="0"/>
                  </a:lnTo>
                  <a:cubicBezTo>
                    <a:pt x="4772" y="0"/>
                    <a:pt x="5075" y="303"/>
                    <a:pt x="5075" y="676"/>
                  </a:cubicBezTo>
                  <a:cubicBezTo>
                    <a:pt x="5075" y="1049"/>
                    <a:pt x="4772" y="1350"/>
                    <a:pt x="4399" y="1350"/>
                  </a:cubicBezTo>
                  <a:lnTo>
                    <a:pt x="674" y="1350"/>
                  </a:lnTo>
                  <a:cubicBezTo>
                    <a:pt x="301" y="1350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3" name="Freeform: Shape 3002">
              <a:extLst>
                <a:ext uri="{FF2B5EF4-FFF2-40B4-BE49-F238E27FC236}">
                  <a16:creationId xmlns:a16="http://schemas.microsoft.com/office/drawing/2014/main" id="{20E7E311-E932-ADE9-CA80-ECFC1ACC213A}"/>
                </a:ext>
              </a:extLst>
            </p:cNvPr>
            <p:cNvSpPr/>
            <p:nvPr/>
          </p:nvSpPr>
          <p:spPr>
            <a:xfrm>
              <a:off x="8956242" y="3590841"/>
              <a:ext cx="3396" cy="1349"/>
            </a:xfrm>
            <a:custGeom>
              <a:avLst/>
              <a:gdLst>
                <a:gd name="connsiteX0" fmla="*/ 0 w 3396"/>
                <a:gd name="connsiteY0" fmla="*/ 658 h 1349"/>
                <a:gd name="connsiteX1" fmla="*/ 658 w 3396"/>
                <a:gd name="connsiteY1" fmla="*/ 0 h 1349"/>
                <a:gd name="connsiteX2" fmla="*/ 2739 w 3396"/>
                <a:gd name="connsiteY2" fmla="*/ 0 h 1349"/>
                <a:gd name="connsiteX3" fmla="*/ 3397 w 3396"/>
                <a:gd name="connsiteY3" fmla="*/ 658 h 1349"/>
                <a:gd name="connsiteX4" fmla="*/ 3397 w 3396"/>
                <a:gd name="connsiteY4" fmla="*/ 694 h 1349"/>
                <a:gd name="connsiteX5" fmla="*/ 2739 w 3396"/>
                <a:gd name="connsiteY5" fmla="*/ 1350 h 1349"/>
                <a:gd name="connsiteX6" fmla="*/ 658 w 3396"/>
                <a:gd name="connsiteY6" fmla="*/ 1350 h 1349"/>
                <a:gd name="connsiteX7" fmla="*/ 0 w 3396"/>
                <a:gd name="connsiteY7" fmla="*/ 694 h 1349"/>
                <a:gd name="connsiteX8" fmla="*/ 0 w 3396"/>
                <a:gd name="connsiteY8" fmla="*/ 658 h 1349"/>
                <a:gd name="connsiteX9" fmla="*/ 0 w 3396"/>
                <a:gd name="connsiteY9" fmla="*/ 658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6" h="1349">
                  <a:moveTo>
                    <a:pt x="0" y="658"/>
                  </a:moveTo>
                  <a:cubicBezTo>
                    <a:pt x="0" y="294"/>
                    <a:pt x="294" y="0"/>
                    <a:pt x="658" y="0"/>
                  </a:cubicBezTo>
                  <a:lnTo>
                    <a:pt x="2739" y="0"/>
                  </a:lnTo>
                  <a:cubicBezTo>
                    <a:pt x="3103" y="0"/>
                    <a:pt x="3397" y="294"/>
                    <a:pt x="3397" y="658"/>
                  </a:cubicBezTo>
                  <a:lnTo>
                    <a:pt x="3397" y="694"/>
                  </a:lnTo>
                  <a:cubicBezTo>
                    <a:pt x="3397" y="1056"/>
                    <a:pt x="3103" y="1350"/>
                    <a:pt x="2739" y="1350"/>
                  </a:cubicBezTo>
                  <a:lnTo>
                    <a:pt x="658" y="1350"/>
                  </a:lnTo>
                  <a:cubicBezTo>
                    <a:pt x="294" y="1350"/>
                    <a:pt x="0" y="1056"/>
                    <a:pt x="0" y="694"/>
                  </a:cubicBezTo>
                  <a:lnTo>
                    <a:pt x="0" y="658"/>
                  </a:lnTo>
                  <a:lnTo>
                    <a:pt x="0" y="658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4" name="Freeform: Shape 3003">
              <a:extLst>
                <a:ext uri="{FF2B5EF4-FFF2-40B4-BE49-F238E27FC236}">
                  <a16:creationId xmlns:a16="http://schemas.microsoft.com/office/drawing/2014/main" id="{F2629DA7-8184-3EA1-44C4-75A9781D86BE}"/>
                </a:ext>
              </a:extLst>
            </p:cNvPr>
            <p:cNvSpPr/>
            <p:nvPr/>
          </p:nvSpPr>
          <p:spPr>
            <a:xfrm>
              <a:off x="8974949" y="3590841"/>
              <a:ext cx="2423" cy="1349"/>
            </a:xfrm>
            <a:custGeom>
              <a:avLst/>
              <a:gdLst>
                <a:gd name="connsiteX0" fmla="*/ 0 w 2423"/>
                <a:gd name="connsiteY0" fmla="*/ 600 h 1349"/>
                <a:gd name="connsiteX1" fmla="*/ 602 w 2423"/>
                <a:gd name="connsiteY1" fmla="*/ 0 h 1349"/>
                <a:gd name="connsiteX2" fmla="*/ 1823 w 2423"/>
                <a:gd name="connsiteY2" fmla="*/ 0 h 1349"/>
                <a:gd name="connsiteX3" fmla="*/ 2423 w 2423"/>
                <a:gd name="connsiteY3" fmla="*/ 600 h 1349"/>
                <a:gd name="connsiteX4" fmla="*/ 2423 w 2423"/>
                <a:gd name="connsiteY4" fmla="*/ 749 h 1349"/>
                <a:gd name="connsiteX5" fmla="*/ 1823 w 2423"/>
                <a:gd name="connsiteY5" fmla="*/ 1350 h 1349"/>
                <a:gd name="connsiteX6" fmla="*/ 602 w 2423"/>
                <a:gd name="connsiteY6" fmla="*/ 1350 h 1349"/>
                <a:gd name="connsiteX7" fmla="*/ 0 w 2423"/>
                <a:gd name="connsiteY7" fmla="*/ 749 h 1349"/>
                <a:gd name="connsiteX8" fmla="*/ 0 w 2423"/>
                <a:gd name="connsiteY8" fmla="*/ 600 h 1349"/>
                <a:gd name="connsiteX9" fmla="*/ 0 w 2423"/>
                <a:gd name="connsiteY9" fmla="*/ 60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3" h="1349">
                  <a:moveTo>
                    <a:pt x="0" y="600"/>
                  </a:moveTo>
                  <a:cubicBezTo>
                    <a:pt x="0" y="269"/>
                    <a:pt x="271" y="0"/>
                    <a:pt x="602" y="0"/>
                  </a:cubicBezTo>
                  <a:lnTo>
                    <a:pt x="1823" y="0"/>
                  </a:lnTo>
                  <a:cubicBezTo>
                    <a:pt x="2155" y="0"/>
                    <a:pt x="2423" y="269"/>
                    <a:pt x="2423" y="600"/>
                  </a:cubicBezTo>
                  <a:lnTo>
                    <a:pt x="2423" y="749"/>
                  </a:lnTo>
                  <a:cubicBezTo>
                    <a:pt x="2423" y="1081"/>
                    <a:pt x="2155" y="1350"/>
                    <a:pt x="1823" y="1350"/>
                  </a:cubicBezTo>
                  <a:lnTo>
                    <a:pt x="602" y="1350"/>
                  </a:lnTo>
                  <a:cubicBezTo>
                    <a:pt x="271" y="1350"/>
                    <a:pt x="0" y="1081"/>
                    <a:pt x="0" y="749"/>
                  </a:cubicBezTo>
                  <a:lnTo>
                    <a:pt x="0" y="600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5" name="Freeform: Shape 3004">
              <a:extLst>
                <a:ext uri="{FF2B5EF4-FFF2-40B4-BE49-F238E27FC236}">
                  <a16:creationId xmlns:a16="http://schemas.microsoft.com/office/drawing/2014/main" id="{24A44C59-3F4D-A032-F01D-E0256C5AC138}"/>
                </a:ext>
              </a:extLst>
            </p:cNvPr>
            <p:cNvSpPr/>
            <p:nvPr/>
          </p:nvSpPr>
          <p:spPr>
            <a:xfrm>
              <a:off x="8971507" y="3587319"/>
              <a:ext cx="2423" cy="1349"/>
            </a:xfrm>
            <a:custGeom>
              <a:avLst/>
              <a:gdLst>
                <a:gd name="connsiteX0" fmla="*/ 2423 w 2423"/>
                <a:gd name="connsiteY0" fmla="*/ 602 h 1349"/>
                <a:gd name="connsiteX1" fmla="*/ 1823 w 2423"/>
                <a:gd name="connsiteY1" fmla="*/ 0 h 1349"/>
                <a:gd name="connsiteX2" fmla="*/ 602 w 2423"/>
                <a:gd name="connsiteY2" fmla="*/ 0 h 1349"/>
                <a:gd name="connsiteX3" fmla="*/ 0 w 2423"/>
                <a:gd name="connsiteY3" fmla="*/ 602 h 1349"/>
                <a:gd name="connsiteX4" fmla="*/ 0 w 2423"/>
                <a:gd name="connsiteY4" fmla="*/ 749 h 1349"/>
                <a:gd name="connsiteX5" fmla="*/ 602 w 2423"/>
                <a:gd name="connsiteY5" fmla="*/ 1350 h 1349"/>
                <a:gd name="connsiteX6" fmla="*/ 1823 w 2423"/>
                <a:gd name="connsiteY6" fmla="*/ 1350 h 1349"/>
                <a:gd name="connsiteX7" fmla="*/ 2423 w 2423"/>
                <a:gd name="connsiteY7" fmla="*/ 749 h 1349"/>
                <a:gd name="connsiteX8" fmla="*/ 2423 w 2423"/>
                <a:gd name="connsiteY8" fmla="*/ 602 h 1349"/>
                <a:gd name="connsiteX9" fmla="*/ 2423 w 2423"/>
                <a:gd name="connsiteY9" fmla="*/ 602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3" h="1349">
                  <a:moveTo>
                    <a:pt x="2423" y="602"/>
                  </a:moveTo>
                  <a:cubicBezTo>
                    <a:pt x="2423" y="271"/>
                    <a:pt x="2155" y="0"/>
                    <a:pt x="1823" y="0"/>
                  </a:cubicBezTo>
                  <a:lnTo>
                    <a:pt x="602" y="0"/>
                  </a:lnTo>
                  <a:cubicBezTo>
                    <a:pt x="271" y="0"/>
                    <a:pt x="0" y="271"/>
                    <a:pt x="0" y="602"/>
                  </a:cubicBezTo>
                  <a:lnTo>
                    <a:pt x="0" y="749"/>
                  </a:lnTo>
                  <a:cubicBezTo>
                    <a:pt x="0" y="1081"/>
                    <a:pt x="271" y="1350"/>
                    <a:pt x="602" y="1350"/>
                  </a:cubicBezTo>
                  <a:lnTo>
                    <a:pt x="1823" y="1350"/>
                  </a:lnTo>
                  <a:cubicBezTo>
                    <a:pt x="2155" y="1350"/>
                    <a:pt x="2423" y="1081"/>
                    <a:pt x="2423" y="749"/>
                  </a:cubicBezTo>
                  <a:lnTo>
                    <a:pt x="2423" y="602"/>
                  </a:lnTo>
                  <a:lnTo>
                    <a:pt x="2423" y="602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6" name="Freeform: Shape 3005">
              <a:extLst>
                <a:ext uri="{FF2B5EF4-FFF2-40B4-BE49-F238E27FC236}">
                  <a16:creationId xmlns:a16="http://schemas.microsoft.com/office/drawing/2014/main" id="{CB2DBCDA-B31E-3037-2097-00C43DD6FB8B}"/>
                </a:ext>
              </a:extLst>
            </p:cNvPr>
            <p:cNvSpPr/>
            <p:nvPr/>
          </p:nvSpPr>
          <p:spPr>
            <a:xfrm>
              <a:off x="8956242" y="3594322"/>
              <a:ext cx="2421" cy="1349"/>
            </a:xfrm>
            <a:custGeom>
              <a:avLst/>
              <a:gdLst>
                <a:gd name="connsiteX0" fmla="*/ 0 w 2421"/>
                <a:gd name="connsiteY0" fmla="*/ 676 h 1349"/>
                <a:gd name="connsiteX1" fmla="*/ 676 w 2421"/>
                <a:gd name="connsiteY1" fmla="*/ 0 h 1349"/>
                <a:gd name="connsiteX2" fmla="*/ 1748 w 2421"/>
                <a:gd name="connsiteY2" fmla="*/ 0 h 1349"/>
                <a:gd name="connsiteX3" fmla="*/ 2422 w 2421"/>
                <a:gd name="connsiteY3" fmla="*/ 676 h 1349"/>
                <a:gd name="connsiteX4" fmla="*/ 1748 w 2421"/>
                <a:gd name="connsiteY4" fmla="*/ 1350 h 1349"/>
                <a:gd name="connsiteX5" fmla="*/ 676 w 2421"/>
                <a:gd name="connsiteY5" fmla="*/ 1350 h 1349"/>
                <a:gd name="connsiteX6" fmla="*/ 0 w 2421"/>
                <a:gd name="connsiteY6" fmla="*/ 676 h 1349"/>
                <a:gd name="connsiteX7" fmla="*/ 0 w 2421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1" h="1349">
                  <a:moveTo>
                    <a:pt x="0" y="676"/>
                  </a:moveTo>
                  <a:cubicBezTo>
                    <a:pt x="0" y="303"/>
                    <a:pt x="303" y="0"/>
                    <a:pt x="676" y="0"/>
                  </a:cubicBezTo>
                  <a:lnTo>
                    <a:pt x="1748" y="0"/>
                  </a:lnTo>
                  <a:cubicBezTo>
                    <a:pt x="2121" y="0"/>
                    <a:pt x="2422" y="303"/>
                    <a:pt x="2422" y="676"/>
                  </a:cubicBezTo>
                  <a:cubicBezTo>
                    <a:pt x="2422" y="1049"/>
                    <a:pt x="2121" y="1350"/>
                    <a:pt x="1748" y="1350"/>
                  </a:cubicBezTo>
                  <a:lnTo>
                    <a:pt x="676" y="1350"/>
                  </a:lnTo>
                  <a:cubicBezTo>
                    <a:pt x="303" y="1350"/>
                    <a:pt x="0" y="1049"/>
                    <a:pt x="0" y="676"/>
                  </a:cubicBezTo>
                  <a:lnTo>
                    <a:pt x="0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7" name="Freeform: Shape 3006">
              <a:extLst>
                <a:ext uri="{FF2B5EF4-FFF2-40B4-BE49-F238E27FC236}">
                  <a16:creationId xmlns:a16="http://schemas.microsoft.com/office/drawing/2014/main" id="{559DA615-D8C3-33D9-3CB0-7D529B8B7F69}"/>
                </a:ext>
              </a:extLst>
            </p:cNvPr>
            <p:cNvSpPr/>
            <p:nvPr/>
          </p:nvSpPr>
          <p:spPr>
            <a:xfrm>
              <a:off x="8960603" y="3590841"/>
              <a:ext cx="2785" cy="1349"/>
            </a:xfrm>
            <a:custGeom>
              <a:avLst/>
              <a:gdLst>
                <a:gd name="connsiteX0" fmla="*/ 0 w 2785"/>
                <a:gd name="connsiteY0" fmla="*/ 635 h 1349"/>
                <a:gd name="connsiteX1" fmla="*/ 636 w 2785"/>
                <a:gd name="connsiteY1" fmla="*/ 0 h 1349"/>
                <a:gd name="connsiteX2" fmla="*/ 2149 w 2785"/>
                <a:gd name="connsiteY2" fmla="*/ 0 h 1349"/>
                <a:gd name="connsiteX3" fmla="*/ 2786 w 2785"/>
                <a:gd name="connsiteY3" fmla="*/ 635 h 1349"/>
                <a:gd name="connsiteX4" fmla="*/ 2786 w 2785"/>
                <a:gd name="connsiteY4" fmla="*/ 715 h 1349"/>
                <a:gd name="connsiteX5" fmla="*/ 2149 w 2785"/>
                <a:gd name="connsiteY5" fmla="*/ 1350 h 1349"/>
                <a:gd name="connsiteX6" fmla="*/ 636 w 2785"/>
                <a:gd name="connsiteY6" fmla="*/ 1350 h 1349"/>
                <a:gd name="connsiteX7" fmla="*/ 0 w 2785"/>
                <a:gd name="connsiteY7" fmla="*/ 715 h 1349"/>
                <a:gd name="connsiteX8" fmla="*/ 0 w 2785"/>
                <a:gd name="connsiteY8" fmla="*/ 635 h 1349"/>
                <a:gd name="connsiteX9" fmla="*/ 0 w 2785"/>
                <a:gd name="connsiteY9" fmla="*/ 635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5" h="1349">
                  <a:moveTo>
                    <a:pt x="0" y="635"/>
                  </a:moveTo>
                  <a:cubicBezTo>
                    <a:pt x="0" y="285"/>
                    <a:pt x="285" y="0"/>
                    <a:pt x="636" y="0"/>
                  </a:cubicBezTo>
                  <a:lnTo>
                    <a:pt x="2149" y="0"/>
                  </a:lnTo>
                  <a:cubicBezTo>
                    <a:pt x="2501" y="0"/>
                    <a:pt x="2786" y="285"/>
                    <a:pt x="2786" y="635"/>
                  </a:cubicBezTo>
                  <a:lnTo>
                    <a:pt x="2786" y="715"/>
                  </a:lnTo>
                  <a:cubicBezTo>
                    <a:pt x="2786" y="1067"/>
                    <a:pt x="2501" y="1350"/>
                    <a:pt x="2149" y="1350"/>
                  </a:cubicBezTo>
                  <a:lnTo>
                    <a:pt x="636" y="1350"/>
                  </a:lnTo>
                  <a:cubicBezTo>
                    <a:pt x="285" y="1350"/>
                    <a:pt x="0" y="1067"/>
                    <a:pt x="0" y="715"/>
                  </a:cubicBezTo>
                  <a:lnTo>
                    <a:pt x="0" y="635"/>
                  </a:lnTo>
                  <a:lnTo>
                    <a:pt x="0" y="635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8" name="Freeform: Shape 3007">
              <a:extLst>
                <a:ext uri="{FF2B5EF4-FFF2-40B4-BE49-F238E27FC236}">
                  <a16:creationId xmlns:a16="http://schemas.microsoft.com/office/drawing/2014/main" id="{3D3509B0-52B7-1CD7-CB5F-3C75C1B84009}"/>
                </a:ext>
              </a:extLst>
            </p:cNvPr>
            <p:cNvSpPr/>
            <p:nvPr/>
          </p:nvSpPr>
          <p:spPr>
            <a:xfrm>
              <a:off x="8963893" y="3590841"/>
              <a:ext cx="2168" cy="1349"/>
            </a:xfrm>
            <a:custGeom>
              <a:avLst/>
              <a:gdLst>
                <a:gd name="connsiteX0" fmla="*/ 0 w 2168"/>
                <a:gd name="connsiteY0" fmla="*/ 627 h 1349"/>
                <a:gd name="connsiteX1" fmla="*/ 627 w 2168"/>
                <a:gd name="connsiteY1" fmla="*/ 0 h 1349"/>
                <a:gd name="connsiteX2" fmla="*/ 1543 w 2168"/>
                <a:gd name="connsiteY2" fmla="*/ 0 h 1349"/>
                <a:gd name="connsiteX3" fmla="*/ 2169 w 2168"/>
                <a:gd name="connsiteY3" fmla="*/ 627 h 1349"/>
                <a:gd name="connsiteX4" fmla="*/ 2169 w 2168"/>
                <a:gd name="connsiteY4" fmla="*/ 722 h 1349"/>
                <a:gd name="connsiteX5" fmla="*/ 1543 w 2168"/>
                <a:gd name="connsiteY5" fmla="*/ 1350 h 1349"/>
                <a:gd name="connsiteX6" fmla="*/ 627 w 2168"/>
                <a:gd name="connsiteY6" fmla="*/ 1350 h 1349"/>
                <a:gd name="connsiteX7" fmla="*/ 0 w 2168"/>
                <a:gd name="connsiteY7" fmla="*/ 722 h 1349"/>
                <a:gd name="connsiteX8" fmla="*/ 0 w 2168"/>
                <a:gd name="connsiteY8" fmla="*/ 627 h 1349"/>
                <a:gd name="connsiteX9" fmla="*/ 0 w 2168"/>
                <a:gd name="connsiteY9" fmla="*/ 62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8" h="1349">
                  <a:moveTo>
                    <a:pt x="0" y="627"/>
                  </a:moveTo>
                  <a:cubicBezTo>
                    <a:pt x="0" y="281"/>
                    <a:pt x="281" y="0"/>
                    <a:pt x="627" y="0"/>
                  </a:cubicBezTo>
                  <a:lnTo>
                    <a:pt x="1543" y="0"/>
                  </a:lnTo>
                  <a:cubicBezTo>
                    <a:pt x="1889" y="0"/>
                    <a:pt x="2169" y="281"/>
                    <a:pt x="2169" y="627"/>
                  </a:cubicBezTo>
                  <a:lnTo>
                    <a:pt x="2169" y="722"/>
                  </a:lnTo>
                  <a:cubicBezTo>
                    <a:pt x="2169" y="1070"/>
                    <a:pt x="1889" y="1350"/>
                    <a:pt x="1543" y="1350"/>
                  </a:cubicBezTo>
                  <a:lnTo>
                    <a:pt x="627" y="1350"/>
                  </a:lnTo>
                  <a:cubicBezTo>
                    <a:pt x="281" y="1350"/>
                    <a:pt x="0" y="1070"/>
                    <a:pt x="0" y="722"/>
                  </a:cubicBezTo>
                  <a:lnTo>
                    <a:pt x="0" y="627"/>
                  </a:lnTo>
                  <a:lnTo>
                    <a:pt x="0" y="62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9" name="Freeform: Shape 3008">
              <a:extLst>
                <a:ext uri="{FF2B5EF4-FFF2-40B4-BE49-F238E27FC236}">
                  <a16:creationId xmlns:a16="http://schemas.microsoft.com/office/drawing/2014/main" id="{BB4708D9-9A8B-8BCB-ADB5-3194A0AB67D1}"/>
                </a:ext>
              </a:extLst>
            </p:cNvPr>
            <p:cNvSpPr/>
            <p:nvPr/>
          </p:nvSpPr>
          <p:spPr>
            <a:xfrm>
              <a:off x="8966497" y="3590841"/>
              <a:ext cx="7433" cy="1349"/>
            </a:xfrm>
            <a:custGeom>
              <a:avLst/>
              <a:gdLst>
                <a:gd name="connsiteX0" fmla="*/ 0 w 7433"/>
                <a:gd name="connsiteY0" fmla="*/ 660 h 1349"/>
                <a:gd name="connsiteX1" fmla="*/ 661 w 7433"/>
                <a:gd name="connsiteY1" fmla="*/ 0 h 1349"/>
                <a:gd name="connsiteX2" fmla="*/ 6774 w 7433"/>
                <a:gd name="connsiteY2" fmla="*/ 0 h 1349"/>
                <a:gd name="connsiteX3" fmla="*/ 7434 w 7433"/>
                <a:gd name="connsiteY3" fmla="*/ 660 h 1349"/>
                <a:gd name="connsiteX4" fmla="*/ 7434 w 7433"/>
                <a:gd name="connsiteY4" fmla="*/ 690 h 1349"/>
                <a:gd name="connsiteX5" fmla="*/ 6774 w 7433"/>
                <a:gd name="connsiteY5" fmla="*/ 1350 h 1349"/>
                <a:gd name="connsiteX6" fmla="*/ 661 w 7433"/>
                <a:gd name="connsiteY6" fmla="*/ 1350 h 1349"/>
                <a:gd name="connsiteX7" fmla="*/ 0 w 7433"/>
                <a:gd name="connsiteY7" fmla="*/ 690 h 1349"/>
                <a:gd name="connsiteX8" fmla="*/ 0 w 7433"/>
                <a:gd name="connsiteY8" fmla="*/ 660 h 1349"/>
                <a:gd name="connsiteX9" fmla="*/ 0 w 7433"/>
                <a:gd name="connsiteY9" fmla="*/ 66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3" h="1349">
                  <a:moveTo>
                    <a:pt x="0" y="660"/>
                  </a:moveTo>
                  <a:cubicBezTo>
                    <a:pt x="0" y="296"/>
                    <a:pt x="296" y="0"/>
                    <a:pt x="661" y="0"/>
                  </a:cubicBezTo>
                  <a:lnTo>
                    <a:pt x="6774" y="0"/>
                  </a:lnTo>
                  <a:cubicBezTo>
                    <a:pt x="7138" y="0"/>
                    <a:pt x="7434" y="296"/>
                    <a:pt x="7434" y="660"/>
                  </a:cubicBezTo>
                  <a:lnTo>
                    <a:pt x="7434" y="690"/>
                  </a:lnTo>
                  <a:cubicBezTo>
                    <a:pt x="7434" y="1054"/>
                    <a:pt x="7138" y="1350"/>
                    <a:pt x="6774" y="1350"/>
                  </a:cubicBezTo>
                  <a:lnTo>
                    <a:pt x="661" y="1350"/>
                  </a:lnTo>
                  <a:cubicBezTo>
                    <a:pt x="296" y="1350"/>
                    <a:pt x="0" y="1054"/>
                    <a:pt x="0" y="690"/>
                  </a:cubicBezTo>
                  <a:lnTo>
                    <a:pt x="0" y="660"/>
                  </a:lnTo>
                  <a:lnTo>
                    <a:pt x="0" y="66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0" name="Freeform: Shape 3009">
              <a:extLst>
                <a:ext uri="{FF2B5EF4-FFF2-40B4-BE49-F238E27FC236}">
                  <a16:creationId xmlns:a16="http://schemas.microsoft.com/office/drawing/2014/main" id="{24A0411D-39F2-7E14-C6EE-866867A5BDB5}"/>
                </a:ext>
              </a:extLst>
            </p:cNvPr>
            <p:cNvSpPr/>
            <p:nvPr/>
          </p:nvSpPr>
          <p:spPr>
            <a:xfrm>
              <a:off x="8974949" y="3587319"/>
              <a:ext cx="7433" cy="1349"/>
            </a:xfrm>
            <a:custGeom>
              <a:avLst/>
              <a:gdLst>
                <a:gd name="connsiteX0" fmla="*/ 7434 w 7433"/>
                <a:gd name="connsiteY0" fmla="*/ 661 h 1349"/>
                <a:gd name="connsiteX1" fmla="*/ 6774 w 7433"/>
                <a:gd name="connsiteY1" fmla="*/ 0 h 1349"/>
                <a:gd name="connsiteX2" fmla="*/ 661 w 7433"/>
                <a:gd name="connsiteY2" fmla="*/ 0 h 1349"/>
                <a:gd name="connsiteX3" fmla="*/ 0 w 7433"/>
                <a:gd name="connsiteY3" fmla="*/ 661 h 1349"/>
                <a:gd name="connsiteX4" fmla="*/ 0 w 7433"/>
                <a:gd name="connsiteY4" fmla="*/ 690 h 1349"/>
                <a:gd name="connsiteX5" fmla="*/ 661 w 7433"/>
                <a:gd name="connsiteY5" fmla="*/ 1350 h 1349"/>
                <a:gd name="connsiteX6" fmla="*/ 6774 w 7433"/>
                <a:gd name="connsiteY6" fmla="*/ 1350 h 1349"/>
                <a:gd name="connsiteX7" fmla="*/ 7434 w 7433"/>
                <a:gd name="connsiteY7" fmla="*/ 690 h 1349"/>
                <a:gd name="connsiteX8" fmla="*/ 7434 w 7433"/>
                <a:gd name="connsiteY8" fmla="*/ 661 h 1349"/>
                <a:gd name="connsiteX9" fmla="*/ 7434 w 7433"/>
                <a:gd name="connsiteY9" fmla="*/ 661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3" h="1349">
                  <a:moveTo>
                    <a:pt x="7434" y="661"/>
                  </a:moveTo>
                  <a:cubicBezTo>
                    <a:pt x="7434" y="296"/>
                    <a:pt x="7138" y="0"/>
                    <a:pt x="6774" y="0"/>
                  </a:cubicBezTo>
                  <a:lnTo>
                    <a:pt x="661" y="0"/>
                  </a:lnTo>
                  <a:cubicBezTo>
                    <a:pt x="296" y="0"/>
                    <a:pt x="0" y="296"/>
                    <a:pt x="0" y="661"/>
                  </a:cubicBezTo>
                  <a:lnTo>
                    <a:pt x="0" y="690"/>
                  </a:lnTo>
                  <a:cubicBezTo>
                    <a:pt x="0" y="1056"/>
                    <a:pt x="296" y="1350"/>
                    <a:pt x="661" y="1350"/>
                  </a:cubicBezTo>
                  <a:lnTo>
                    <a:pt x="6774" y="1350"/>
                  </a:lnTo>
                  <a:cubicBezTo>
                    <a:pt x="7138" y="1350"/>
                    <a:pt x="7434" y="1056"/>
                    <a:pt x="7434" y="690"/>
                  </a:cubicBezTo>
                  <a:lnTo>
                    <a:pt x="7434" y="661"/>
                  </a:lnTo>
                  <a:lnTo>
                    <a:pt x="7434" y="661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1" name="Freeform: Shape 3010">
              <a:extLst>
                <a:ext uri="{FF2B5EF4-FFF2-40B4-BE49-F238E27FC236}">
                  <a16:creationId xmlns:a16="http://schemas.microsoft.com/office/drawing/2014/main" id="{780FC127-EF89-E8E3-56CE-9C95FEFA7C4D}"/>
                </a:ext>
              </a:extLst>
            </p:cNvPr>
            <p:cNvSpPr/>
            <p:nvPr/>
          </p:nvSpPr>
          <p:spPr>
            <a:xfrm>
              <a:off x="8945030" y="3543245"/>
              <a:ext cx="3250" cy="3559"/>
            </a:xfrm>
            <a:custGeom>
              <a:avLst/>
              <a:gdLst>
                <a:gd name="connsiteX0" fmla="*/ 118 w 3250"/>
                <a:gd name="connsiteY0" fmla="*/ 787 h 3559"/>
                <a:gd name="connsiteX1" fmla="*/ 161 w 3250"/>
                <a:gd name="connsiteY1" fmla="*/ 118 h 3559"/>
                <a:gd name="connsiteX2" fmla="*/ 828 w 3250"/>
                <a:gd name="connsiteY2" fmla="*/ 161 h 3559"/>
                <a:gd name="connsiteX3" fmla="*/ 3133 w 3250"/>
                <a:gd name="connsiteY3" fmla="*/ 2773 h 3559"/>
                <a:gd name="connsiteX4" fmla="*/ 3090 w 3250"/>
                <a:gd name="connsiteY4" fmla="*/ 3441 h 3559"/>
                <a:gd name="connsiteX5" fmla="*/ 2423 w 3250"/>
                <a:gd name="connsiteY5" fmla="*/ 3398 h 3559"/>
                <a:gd name="connsiteX6" fmla="*/ 118 w 3250"/>
                <a:gd name="connsiteY6" fmla="*/ 787 h 3559"/>
                <a:gd name="connsiteX7" fmla="*/ 118 w 3250"/>
                <a:gd name="connsiteY7" fmla="*/ 787 h 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0" h="3559">
                  <a:moveTo>
                    <a:pt x="118" y="787"/>
                  </a:moveTo>
                  <a:cubicBezTo>
                    <a:pt x="-54" y="589"/>
                    <a:pt x="-36" y="292"/>
                    <a:pt x="161" y="118"/>
                  </a:cubicBezTo>
                  <a:cubicBezTo>
                    <a:pt x="356" y="-54"/>
                    <a:pt x="656" y="-36"/>
                    <a:pt x="828" y="161"/>
                  </a:cubicBezTo>
                  <a:lnTo>
                    <a:pt x="3133" y="2773"/>
                  </a:lnTo>
                  <a:cubicBezTo>
                    <a:pt x="3305" y="2968"/>
                    <a:pt x="3287" y="3267"/>
                    <a:pt x="3090" y="3441"/>
                  </a:cubicBezTo>
                  <a:cubicBezTo>
                    <a:pt x="2894" y="3613"/>
                    <a:pt x="2595" y="3595"/>
                    <a:pt x="2423" y="3398"/>
                  </a:cubicBezTo>
                  <a:lnTo>
                    <a:pt x="118" y="787"/>
                  </a:lnTo>
                  <a:lnTo>
                    <a:pt x="118" y="787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2" name="Freeform: Shape 3011">
              <a:extLst>
                <a:ext uri="{FF2B5EF4-FFF2-40B4-BE49-F238E27FC236}">
                  <a16:creationId xmlns:a16="http://schemas.microsoft.com/office/drawing/2014/main" id="{FE7514B3-0896-BE1A-3279-43652C1D9AAD}"/>
                </a:ext>
              </a:extLst>
            </p:cNvPr>
            <p:cNvSpPr/>
            <p:nvPr/>
          </p:nvSpPr>
          <p:spPr>
            <a:xfrm>
              <a:off x="8947375" y="3541682"/>
              <a:ext cx="4629" cy="5122"/>
            </a:xfrm>
            <a:custGeom>
              <a:avLst/>
              <a:gdLst>
                <a:gd name="connsiteX0" fmla="*/ 4511 w 4629"/>
                <a:gd name="connsiteY0" fmla="*/ 787 h 5122"/>
                <a:gd name="connsiteX1" fmla="*/ 4468 w 4629"/>
                <a:gd name="connsiteY1" fmla="*/ 118 h 5122"/>
                <a:gd name="connsiteX2" fmla="*/ 3802 w 4629"/>
                <a:gd name="connsiteY2" fmla="*/ 161 h 5122"/>
                <a:gd name="connsiteX3" fmla="*/ 118 w 4629"/>
                <a:gd name="connsiteY3" fmla="*/ 4336 h 5122"/>
                <a:gd name="connsiteX4" fmla="*/ 161 w 4629"/>
                <a:gd name="connsiteY4" fmla="*/ 5004 h 5122"/>
                <a:gd name="connsiteX5" fmla="*/ 828 w 4629"/>
                <a:gd name="connsiteY5" fmla="*/ 4961 h 5122"/>
                <a:gd name="connsiteX6" fmla="*/ 4511 w 4629"/>
                <a:gd name="connsiteY6" fmla="*/ 787 h 5122"/>
                <a:gd name="connsiteX7" fmla="*/ 4511 w 4629"/>
                <a:gd name="connsiteY7" fmla="*/ 787 h 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9" h="5122">
                  <a:moveTo>
                    <a:pt x="4511" y="787"/>
                  </a:moveTo>
                  <a:cubicBezTo>
                    <a:pt x="4683" y="591"/>
                    <a:pt x="4666" y="292"/>
                    <a:pt x="4468" y="118"/>
                  </a:cubicBezTo>
                  <a:cubicBezTo>
                    <a:pt x="4273" y="-54"/>
                    <a:pt x="3974" y="-36"/>
                    <a:pt x="3802" y="161"/>
                  </a:cubicBezTo>
                  <a:lnTo>
                    <a:pt x="118" y="4336"/>
                  </a:lnTo>
                  <a:cubicBezTo>
                    <a:pt x="-54" y="4531"/>
                    <a:pt x="-36" y="4830"/>
                    <a:pt x="161" y="5004"/>
                  </a:cubicBezTo>
                  <a:cubicBezTo>
                    <a:pt x="356" y="5176"/>
                    <a:pt x="656" y="5158"/>
                    <a:pt x="828" y="4961"/>
                  </a:cubicBezTo>
                  <a:lnTo>
                    <a:pt x="4511" y="787"/>
                  </a:lnTo>
                  <a:lnTo>
                    <a:pt x="4511" y="787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3" name="Freeform: Shape 3012">
              <a:extLst>
                <a:ext uri="{FF2B5EF4-FFF2-40B4-BE49-F238E27FC236}">
                  <a16:creationId xmlns:a16="http://schemas.microsoft.com/office/drawing/2014/main" id="{761E13A8-A5C8-C74C-5E39-102F65E26712}"/>
                </a:ext>
              </a:extLst>
            </p:cNvPr>
            <p:cNvSpPr/>
            <p:nvPr/>
          </p:nvSpPr>
          <p:spPr>
            <a:xfrm>
              <a:off x="8943818" y="3539545"/>
              <a:ext cx="9398" cy="9396"/>
            </a:xfrm>
            <a:custGeom>
              <a:avLst/>
              <a:gdLst>
                <a:gd name="connsiteX0" fmla="*/ 1576 w 9398"/>
                <a:gd name="connsiteY0" fmla="*/ 0 h 9396"/>
                <a:gd name="connsiteX1" fmla="*/ 0 w 9398"/>
                <a:gd name="connsiteY1" fmla="*/ 1576 h 9396"/>
                <a:gd name="connsiteX2" fmla="*/ 0 w 9398"/>
                <a:gd name="connsiteY2" fmla="*/ 7821 h 9396"/>
                <a:gd name="connsiteX3" fmla="*/ 1576 w 9398"/>
                <a:gd name="connsiteY3" fmla="*/ 9396 h 9396"/>
                <a:gd name="connsiteX4" fmla="*/ 7821 w 9398"/>
                <a:gd name="connsiteY4" fmla="*/ 9396 h 9396"/>
                <a:gd name="connsiteX5" fmla="*/ 9398 w 9398"/>
                <a:gd name="connsiteY5" fmla="*/ 7821 h 9396"/>
                <a:gd name="connsiteX6" fmla="*/ 9398 w 9398"/>
                <a:gd name="connsiteY6" fmla="*/ 1576 h 9396"/>
                <a:gd name="connsiteX7" fmla="*/ 7821 w 9398"/>
                <a:gd name="connsiteY7" fmla="*/ 0 h 9396"/>
                <a:gd name="connsiteX8" fmla="*/ 1576 w 9398"/>
                <a:gd name="connsiteY8" fmla="*/ 0 h 9396"/>
                <a:gd name="connsiteX9" fmla="*/ 1576 w 9398"/>
                <a:gd name="connsiteY9" fmla="*/ 647 h 9396"/>
                <a:gd name="connsiteX10" fmla="*/ 7821 w 9398"/>
                <a:gd name="connsiteY10" fmla="*/ 647 h 9396"/>
                <a:gd name="connsiteX11" fmla="*/ 8749 w 9398"/>
                <a:gd name="connsiteY11" fmla="*/ 1576 h 9396"/>
                <a:gd name="connsiteX12" fmla="*/ 8749 w 9398"/>
                <a:gd name="connsiteY12" fmla="*/ 7821 h 9396"/>
                <a:gd name="connsiteX13" fmla="*/ 7821 w 9398"/>
                <a:gd name="connsiteY13" fmla="*/ 8749 h 9396"/>
                <a:gd name="connsiteX14" fmla="*/ 1576 w 9398"/>
                <a:gd name="connsiteY14" fmla="*/ 8749 h 9396"/>
                <a:gd name="connsiteX15" fmla="*/ 647 w 9398"/>
                <a:gd name="connsiteY15" fmla="*/ 7821 h 9396"/>
                <a:gd name="connsiteX16" fmla="*/ 647 w 9398"/>
                <a:gd name="connsiteY16" fmla="*/ 1576 h 9396"/>
                <a:gd name="connsiteX17" fmla="*/ 1576 w 9398"/>
                <a:gd name="connsiteY17" fmla="*/ 647 h 9396"/>
                <a:gd name="connsiteX18" fmla="*/ 1576 w 9398"/>
                <a:gd name="connsiteY18" fmla="*/ 647 h 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398" h="9396">
                  <a:moveTo>
                    <a:pt x="1576" y="0"/>
                  </a:moveTo>
                  <a:cubicBezTo>
                    <a:pt x="704" y="0"/>
                    <a:pt x="0" y="704"/>
                    <a:pt x="0" y="1576"/>
                  </a:cubicBezTo>
                  <a:lnTo>
                    <a:pt x="0" y="7821"/>
                  </a:lnTo>
                  <a:cubicBezTo>
                    <a:pt x="0" y="8692"/>
                    <a:pt x="704" y="9396"/>
                    <a:pt x="1576" y="9396"/>
                  </a:cubicBezTo>
                  <a:lnTo>
                    <a:pt x="7821" y="9396"/>
                  </a:lnTo>
                  <a:cubicBezTo>
                    <a:pt x="8692" y="9396"/>
                    <a:pt x="9398" y="8692"/>
                    <a:pt x="9398" y="7821"/>
                  </a:cubicBezTo>
                  <a:lnTo>
                    <a:pt x="9398" y="1576"/>
                  </a:lnTo>
                  <a:cubicBezTo>
                    <a:pt x="9398" y="704"/>
                    <a:pt x="8692" y="0"/>
                    <a:pt x="7821" y="0"/>
                  </a:cubicBezTo>
                  <a:lnTo>
                    <a:pt x="1576" y="0"/>
                  </a:lnTo>
                  <a:close/>
                  <a:moveTo>
                    <a:pt x="1576" y="647"/>
                  </a:moveTo>
                  <a:lnTo>
                    <a:pt x="7821" y="647"/>
                  </a:lnTo>
                  <a:cubicBezTo>
                    <a:pt x="8333" y="647"/>
                    <a:pt x="8749" y="1063"/>
                    <a:pt x="8749" y="1576"/>
                  </a:cubicBezTo>
                  <a:lnTo>
                    <a:pt x="8749" y="7821"/>
                  </a:lnTo>
                  <a:cubicBezTo>
                    <a:pt x="8749" y="8333"/>
                    <a:pt x="8333" y="8749"/>
                    <a:pt x="7821" y="8749"/>
                  </a:cubicBezTo>
                  <a:lnTo>
                    <a:pt x="1576" y="8749"/>
                  </a:lnTo>
                  <a:cubicBezTo>
                    <a:pt x="1063" y="8749"/>
                    <a:pt x="647" y="8333"/>
                    <a:pt x="647" y="7821"/>
                  </a:cubicBezTo>
                  <a:lnTo>
                    <a:pt x="647" y="1576"/>
                  </a:lnTo>
                  <a:cubicBezTo>
                    <a:pt x="647" y="1063"/>
                    <a:pt x="1063" y="647"/>
                    <a:pt x="1576" y="647"/>
                  </a:cubicBezTo>
                  <a:lnTo>
                    <a:pt x="1576" y="64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4" name="Freeform: Shape 3013">
              <a:extLst>
                <a:ext uri="{FF2B5EF4-FFF2-40B4-BE49-F238E27FC236}">
                  <a16:creationId xmlns:a16="http://schemas.microsoft.com/office/drawing/2014/main" id="{7766492C-7EC9-4CAD-EEE9-3D300FB328AD}"/>
                </a:ext>
              </a:extLst>
            </p:cNvPr>
            <p:cNvSpPr/>
            <p:nvPr/>
          </p:nvSpPr>
          <p:spPr>
            <a:xfrm>
              <a:off x="8945030" y="3558817"/>
              <a:ext cx="3250" cy="3559"/>
            </a:xfrm>
            <a:custGeom>
              <a:avLst/>
              <a:gdLst>
                <a:gd name="connsiteX0" fmla="*/ 118 w 3250"/>
                <a:gd name="connsiteY0" fmla="*/ 786 h 3559"/>
                <a:gd name="connsiteX1" fmla="*/ 161 w 3250"/>
                <a:gd name="connsiteY1" fmla="*/ 119 h 3559"/>
                <a:gd name="connsiteX2" fmla="*/ 828 w 3250"/>
                <a:gd name="connsiteY2" fmla="*/ 160 h 3559"/>
                <a:gd name="connsiteX3" fmla="*/ 3133 w 3250"/>
                <a:gd name="connsiteY3" fmla="*/ 2773 h 3559"/>
                <a:gd name="connsiteX4" fmla="*/ 3090 w 3250"/>
                <a:gd name="connsiteY4" fmla="*/ 3440 h 3559"/>
                <a:gd name="connsiteX5" fmla="*/ 2423 w 3250"/>
                <a:gd name="connsiteY5" fmla="*/ 3399 h 3559"/>
                <a:gd name="connsiteX6" fmla="*/ 118 w 3250"/>
                <a:gd name="connsiteY6" fmla="*/ 786 h 3559"/>
                <a:gd name="connsiteX7" fmla="*/ 118 w 3250"/>
                <a:gd name="connsiteY7" fmla="*/ 786 h 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0" h="3559">
                  <a:moveTo>
                    <a:pt x="118" y="786"/>
                  </a:moveTo>
                  <a:cubicBezTo>
                    <a:pt x="-54" y="590"/>
                    <a:pt x="-36" y="291"/>
                    <a:pt x="161" y="119"/>
                  </a:cubicBezTo>
                  <a:cubicBezTo>
                    <a:pt x="356" y="-55"/>
                    <a:pt x="656" y="-35"/>
                    <a:pt x="828" y="160"/>
                  </a:cubicBezTo>
                  <a:lnTo>
                    <a:pt x="3133" y="2773"/>
                  </a:lnTo>
                  <a:cubicBezTo>
                    <a:pt x="3305" y="2969"/>
                    <a:pt x="3287" y="3268"/>
                    <a:pt x="3090" y="3440"/>
                  </a:cubicBezTo>
                  <a:cubicBezTo>
                    <a:pt x="2894" y="3614"/>
                    <a:pt x="2595" y="3594"/>
                    <a:pt x="2423" y="3399"/>
                  </a:cubicBezTo>
                  <a:lnTo>
                    <a:pt x="118" y="786"/>
                  </a:lnTo>
                  <a:lnTo>
                    <a:pt x="118" y="786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5" name="Freeform: Shape 3014">
              <a:extLst>
                <a:ext uri="{FF2B5EF4-FFF2-40B4-BE49-F238E27FC236}">
                  <a16:creationId xmlns:a16="http://schemas.microsoft.com/office/drawing/2014/main" id="{320D4457-2702-227B-34AC-9C6D5AA4B13C}"/>
                </a:ext>
              </a:extLst>
            </p:cNvPr>
            <p:cNvSpPr/>
            <p:nvPr/>
          </p:nvSpPr>
          <p:spPr>
            <a:xfrm>
              <a:off x="8947375" y="3557254"/>
              <a:ext cx="4629" cy="5122"/>
            </a:xfrm>
            <a:custGeom>
              <a:avLst/>
              <a:gdLst>
                <a:gd name="connsiteX0" fmla="*/ 4511 w 4629"/>
                <a:gd name="connsiteY0" fmla="*/ 786 h 5122"/>
                <a:gd name="connsiteX1" fmla="*/ 4468 w 4629"/>
                <a:gd name="connsiteY1" fmla="*/ 119 h 5122"/>
                <a:gd name="connsiteX2" fmla="*/ 3802 w 4629"/>
                <a:gd name="connsiteY2" fmla="*/ 160 h 5122"/>
                <a:gd name="connsiteX3" fmla="*/ 118 w 4629"/>
                <a:gd name="connsiteY3" fmla="*/ 4337 h 5122"/>
                <a:gd name="connsiteX4" fmla="*/ 161 w 4629"/>
                <a:gd name="connsiteY4" fmla="*/ 5003 h 5122"/>
                <a:gd name="connsiteX5" fmla="*/ 828 w 4629"/>
                <a:gd name="connsiteY5" fmla="*/ 4962 h 5122"/>
                <a:gd name="connsiteX6" fmla="*/ 4511 w 4629"/>
                <a:gd name="connsiteY6" fmla="*/ 786 h 5122"/>
                <a:gd name="connsiteX7" fmla="*/ 4511 w 4629"/>
                <a:gd name="connsiteY7" fmla="*/ 786 h 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9" h="5122">
                  <a:moveTo>
                    <a:pt x="4511" y="786"/>
                  </a:moveTo>
                  <a:cubicBezTo>
                    <a:pt x="4683" y="590"/>
                    <a:pt x="4666" y="291"/>
                    <a:pt x="4468" y="119"/>
                  </a:cubicBezTo>
                  <a:cubicBezTo>
                    <a:pt x="4273" y="-55"/>
                    <a:pt x="3974" y="-35"/>
                    <a:pt x="3802" y="160"/>
                  </a:cubicBezTo>
                  <a:lnTo>
                    <a:pt x="118" y="4337"/>
                  </a:lnTo>
                  <a:cubicBezTo>
                    <a:pt x="-54" y="4532"/>
                    <a:pt x="-36" y="4831"/>
                    <a:pt x="161" y="5003"/>
                  </a:cubicBezTo>
                  <a:cubicBezTo>
                    <a:pt x="356" y="5177"/>
                    <a:pt x="656" y="5158"/>
                    <a:pt x="828" y="4962"/>
                  </a:cubicBezTo>
                  <a:lnTo>
                    <a:pt x="4511" y="786"/>
                  </a:lnTo>
                  <a:lnTo>
                    <a:pt x="4511" y="786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6" name="Freeform: Shape 3015">
              <a:extLst>
                <a:ext uri="{FF2B5EF4-FFF2-40B4-BE49-F238E27FC236}">
                  <a16:creationId xmlns:a16="http://schemas.microsoft.com/office/drawing/2014/main" id="{532CF947-9994-348D-87B9-6380E0DA119F}"/>
                </a:ext>
              </a:extLst>
            </p:cNvPr>
            <p:cNvSpPr/>
            <p:nvPr/>
          </p:nvSpPr>
          <p:spPr>
            <a:xfrm>
              <a:off x="8943818" y="3555116"/>
              <a:ext cx="9398" cy="9398"/>
            </a:xfrm>
            <a:custGeom>
              <a:avLst/>
              <a:gdLst>
                <a:gd name="connsiteX0" fmla="*/ 1576 w 9398"/>
                <a:gd name="connsiteY0" fmla="*/ 0 h 9398"/>
                <a:gd name="connsiteX1" fmla="*/ 0 w 9398"/>
                <a:gd name="connsiteY1" fmla="*/ 1576 h 9398"/>
                <a:gd name="connsiteX2" fmla="*/ 0 w 9398"/>
                <a:gd name="connsiteY2" fmla="*/ 7823 h 9398"/>
                <a:gd name="connsiteX3" fmla="*/ 1576 w 9398"/>
                <a:gd name="connsiteY3" fmla="*/ 9398 h 9398"/>
                <a:gd name="connsiteX4" fmla="*/ 7821 w 9398"/>
                <a:gd name="connsiteY4" fmla="*/ 9398 h 9398"/>
                <a:gd name="connsiteX5" fmla="*/ 9398 w 9398"/>
                <a:gd name="connsiteY5" fmla="*/ 7823 h 9398"/>
                <a:gd name="connsiteX6" fmla="*/ 9398 w 9398"/>
                <a:gd name="connsiteY6" fmla="*/ 1576 h 9398"/>
                <a:gd name="connsiteX7" fmla="*/ 7821 w 9398"/>
                <a:gd name="connsiteY7" fmla="*/ 0 h 9398"/>
                <a:gd name="connsiteX8" fmla="*/ 1576 w 9398"/>
                <a:gd name="connsiteY8" fmla="*/ 0 h 9398"/>
                <a:gd name="connsiteX9" fmla="*/ 1576 w 9398"/>
                <a:gd name="connsiteY9" fmla="*/ 649 h 9398"/>
                <a:gd name="connsiteX10" fmla="*/ 7821 w 9398"/>
                <a:gd name="connsiteY10" fmla="*/ 649 h 9398"/>
                <a:gd name="connsiteX11" fmla="*/ 8749 w 9398"/>
                <a:gd name="connsiteY11" fmla="*/ 1576 h 9398"/>
                <a:gd name="connsiteX12" fmla="*/ 8749 w 9398"/>
                <a:gd name="connsiteY12" fmla="*/ 7823 h 9398"/>
                <a:gd name="connsiteX13" fmla="*/ 7821 w 9398"/>
                <a:gd name="connsiteY13" fmla="*/ 8749 h 9398"/>
                <a:gd name="connsiteX14" fmla="*/ 1576 w 9398"/>
                <a:gd name="connsiteY14" fmla="*/ 8749 h 9398"/>
                <a:gd name="connsiteX15" fmla="*/ 647 w 9398"/>
                <a:gd name="connsiteY15" fmla="*/ 7823 h 9398"/>
                <a:gd name="connsiteX16" fmla="*/ 647 w 9398"/>
                <a:gd name="connsiteY16" fmla="*/ 1576 h 9398"/>
                <a:gd name="connsiteX17" fmla="*/ 1576 w 9398"/>
                <a:gd name="connsiteY17" fmla="*/ 649 h 9398"/>
                <a:gd name="connsiteX18" fmla="*/ 1576 w 9398"/>
                <a:gd name="connsiteY18" fmla="*/ 649 h 9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398" h="9398">
                  <a:moveTo>
                    <a:pt x="1576" y="0"/>
                  </a:moveTo>
                  <a:cubicBezTo>
                    <a:pt x="704" y="0"/>
                    <a:pt x="0" y="706"/>
                    <a:pt x="0" y="1576"/>
                  </a:cubicBezTo>
                  <a:lnTo>
                    <a:pt x="0" y="7823"/>
                  </a:lnTo>
                  <a:cubicBezTo>
                    <a:pt x="0" y="8692"/>
                    <a:pt x="704" y="9398"/>
                    <a:pt x="1576" y="9398"/>
                  </a:cubicBezTo>
                  <a:lnTo>
                    <a:pt x="7821" y="9398"/>
                  </a:lnTo>
                  <a:cubicBezTo>
                    <a:pt x="8692" y="9398"/>
                    <a:pt x="9398" y="8692"/>
                    <a:pt x="9398" y="7823"/>
                  </a:cubicBezTo>
                  <a:lnTo>
                    <a:pt x="9398" y="1576"/>
                  </a:lnTo>
                  <a:cubicBezTo>
                    <a:pt x="9398" y="706"/>
                    <a:pt x="8692" y="0"/>
                    <a:pt x="7821" y="0"/>
                  </a:cubicBezTo>
                  <a:lnTo>
                    <a:pt x="1576" y="0"/>
                  </a:lnTo>
                  <a:close/>
                  <a:moveTo>
                    <a:pt x="1576" y="649"/>
                  </a:moveTo>
                  <a:lnTo>
                    <a:pt x="7821" y="649"/>
                  </a:lnTo>
                  <a:cubicBezTo>
                    <a:pt x="8333" y="649"/>
                    <a:pt x="8749" y="1065"/>
                    <a:pt x="8749" y="1576"/>
                  </a:cubicBezTo>
                  <a:lnTo>
                    <a:pt x="8749" y="7823"/>
                  </a:lnTo>
                  <a:cubicBezTo>
                    <a:pt x="8749" y="8333"/>
                    <a:pt x="8333" y="8749"/>
                    <a:pt x="7821" y="8749"/>
                  </a:cubicBezTo>
                  <a:lnTo>
                    <a:pt x="1576" y="8749"/>
                  </a:lnTo>
                  <a:cubicBezTo>
                    <a:pt x="1063" y="8749"/>
                    <a:pt x="647" y="8333"/>
                    <a:pt x="647" y="7823"/>
                  </a:cubicBezTo>
                  <a:lnTo>
                    <a:pt x="647" y="1576"/>
                  </a:lnTo>
                  <a:cubicBezTo>
                    <a:pt x="647" y="1065"/>
                    <a:pt x="1063" y="649"/>
                    <a:pt x="1576" y="649"/>
                  </a:cubicBezTo>
                  <a:lnTo>
                    <a:pt x="1576" y="64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7" name="Freeform: Shape 3016">
              <a:extLst>
                <a:ext uri="{FF2B5EF4-FFF2-40B4-BE49-F238E27FC236}">
                  <a16:creationId xmlns:a16="http://schemas.microsoft.com/office/drawing/2014/main" id="{1667A76B-D71E-E4FE-6CB0-EA39560C2428}"/>
                </a:ext>
              </a:extLst>
            </p:cNvPr>
            <p:cNvSpPr/>
            <p:nvPr/>
          </p:nvSpPr>
          <p:spPr>
            <a:xfrm>
              <a:off x="8945030" y="3573611"/>
              <a:ext cx="3250" cy="3559"/>
            </a:xfrm>
            <a:custGeom>
              <a:avLst/>
              <a:gdLst>
                <a:gd name="connsiteX0" fmla="*/ 118 w 3250"/>
                <a:gd name="connsiteY0" fmla="*/ 787 h 3559"/>
                <a:gd name="connsiteX1" fmla="*/ 161 w 3250"/>
                <a:gd name="connsiteY1" fmla="*/ 118 h 3559"/>
                <a:gd name="connsiteX2" fmla="*/ 828 w 3250"/>
                <a:gd name="connsiteY2" fmla="*/ 159 h 3559"/>
                <a:gd name="connsiteX3" fmla="*/ 3133 w 3250"/>
                <a:gd name="connsiteY3" fmla="*/ 2773 h 3559"/>
                <a:gd name="connsiteX4" fmla="*/ 3090 w 3250"/>
                <a:gd name="connsiteY4" fmla="*/ 3441 h 3559"/>
                <a:gd name="connsiteX5" fmla="*/ 2423 w 3250"/>
                <a:gd name="connsiteY5" fmla="*/ 3398 h 3559"/>
                <a:gd name="connsiteX6" fmla="*/ 118 w 3250"/>
                <a:gd name="connsiteY6" fmla="*/ 787 h 3559"/>
                <a:gd name="connsiteX7" fmla="*/ 118 w 3250"/>
                <a:gd name="connsiteY7" fmla="*/ 787 h 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0" h="3559">
                  <a:moveTo>
                    <a:pt x="118" y="787"/>
                  </a:moveTo>
                  <a:cubicBezTo>
                    <a:pt x="-54" y="590"/>
                    <a:pt x="-36" y="292"/>
                    <a:pt x="161" y="118"/>
                  </a:cubicBezTo>
                  <a:cubicBezTo>
                    <a:pt x="356" y="-54"/>
                    <a:pt x="656" y="-36"/>
                    <a:pt x="828" y="159"/>
                  </a:cubicBezTo>
                  <a:lnTo>
                    <a:pt x="3133" y="2773"/>
                  </a:lnTo>
                  <a:cubicBezTo>
                    <a:pt x="3305" y="2968"/>
                    <a:pt x="3287" y="3268"/>
                    <a:pt x="3090" y="3441"/>
                  </a:cubicBezTo>
                  <a:cubicBezTo>
                    <a:pt x="2894" y="3613"/>
                    <a:pt x="2595" y="3596"/>
                    <a:pt x="2423" y="3398"/>
                  </a:cubicBezTo>
                  <a:lnTo>
                    <a:pt x="118" y="787"/>
                  </a:lnTo>
                  <a:lnTo>
                    <a:pt x="118" y="787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8" name="Freeform: Shape 3017">
              <a:extLst>
                <a:ext uri="{FF2B5EF4-FFF2-40B4-BE49-F238E27FC236}">
                  <a16:creationId xmlns:a16="http://schemas.microsoft.com/office/drawing/2014/main" id="{8A9FAA9A-706E-43CA-F390-E745262EEA3F}"/>
                </a:ext>
              </a:extLst>
            </p:cNvPr>
            <p:cNvSpPr/>
            <p:nvPr/>
          </p:nvSpPr>
          <p:spPr>
            <a:xfrm>
              <a:off x="8947375" y="3572049"/>
              <a:ext cx="4629" cy="5122"/>
            </a:xfrm>
            <a:custGeom>
              <a:avLst/>
              <a:gdLst>
                <a:gd name="connsiteX0" fmla="*/ 4511 w 4629"/>
                <a:gd name="connsiteY0" fmla="*/ 787 h 5122"/>
                <a:gd name="connsiteX1" fmla="*/ 4468 w 4629"/>
                <a:gd name="connsiteY1" fmla="*/ 118 h 5122"/>
                <a:gd name="connsiteX2" fmla="*/ 3802 w 4629"/>
                <a:gd name="connsiteY2" fmla="*/ 161 h 5122"/>
                <a:gd name="connsiteX3" fmla="*/ 118 w 4629"/>
                <a:gd name="connsiteY3" fmla="*/ 4336 h 5122"/>
                <a:gd name="connsiteX4" fmla="*/ 161 w 4629"/>
                <a:gd name="connsiteY4" fmla="*/ 5004 h 5122"/>
                <a:gd name="connsiteX5" fmla="*/ 828 w 4629"/>
                <a:gd name="connsiteY5" fmla="*/ 4961 h 5122"/>
                <a:gd name="connsiteX6" fmla="*/ 4511 w 4629"/>
                <a:gd name="connsiteY6" fmla="*/ 787 h 5122"/>
                <a:gd name="connsiteX7" fmla="*/ 4511 w 4629"/>
                <a:gd name="connsiteY7" fmla="*/ 787 h 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9" h="5122">
                  <a:moveTo>
                    <a:pt x="4511" y="787"/>
                  </a:moveTo>
                  <a:cubicBezTo>
                    <a:pt x="4683" y="591"/>
                    <a:pt x="4666" y="292"/>
                    <a:pt x="4468" y="118"/>
                  </a:cubicBezTo>
                  <a:cubicBezTo>
                    <a:pt x="4273" y="-54"/>
                    <a:pt x="3974" y="-36"/>
                    <a:pt x="3802" y="161"/>
                  </a:cubicBezTo>
                  <a:lnTo>
                    <a:pt x="118" y="4336"/>
                  </a:lnTo>
                  <a:cubicBezTo>
                    <a:pt x="-54" y="4531"/>
                    <a:pt x="-36" y="4830"/>
                    <a:pt x="161" y="5004"/>
                  </a:cubicBezTo>
                  <a:cubicBezTo>
                    <a:pt x="356" y="5176"/>
                    <a:pt x="656" y="5158"/>
                    <a:pt x="828" y="4961"/>
                  </a:cubicBezTo>
                  <a:lnTo>
                    <a:pt x="4511" y="787"/>
                  </a:lnTo>
                  <a:lnTo>
                    <a:pt x="4511" y="787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9" name="Freeform: Shape 3018">
              <a:extLst>
                <a:ext uri="{FF2B5EF4-FFF2-40B4-BE49-F238E27FC236}">
                  <a16:creationId xmlns:a16="http://schemas.microsoft.com/office/drawing/2014/main" id="{199C3BA3-E6DE-4781-C8AD-F57A48CC062E}"/>
                </a:ext>
              </a:extLst>
            </p:cNvPr>
            <p:cNvSpPr/>
            <p:nvPr/>
          </p:nvSpPr>
          <p:spPr>
            <a:xfrm>
              <a:off x="8943818" y="3569912"/>
              <a:ext cx="9398" cy="9396"/>
            </a:xfrm>
            <a:custGeom>
              <a:avLst/>
              <a:gdLst>
                <a:gd name="connsiteX0" fmla="*/ 1576 w 9398"/>
                <a:gd name="connsiteY0" fmla="*/ 0 h 9396"/>
                <a:gd name="connsiteX1" fmla="*/ 0 w 9398"/>
                <a:gd name="connsiteY1" fmla="*/ 1576 h 9396"/>
                <a:gd name="connsiteX2" fmla="*/ 0 w 9398"/>
                <a:gd name="connsiteY2" fmla="*/ 7821 h 9396"/>
                <a:gd name="connsiteX3" fmla="*/ 1576 w 9398"/>
                <a:gd name="connsiteY3" fmla="*/ 9396 h 9396"/>
                <a:gd name="connsiteX4" fmla="*/ 7821 w 9398"/>
                <a:gd name="connsiteY4" fmla="*/ 9396 h 9396"/>
                <a:gd name="connsiteX5" fmla="*/ 9398 w 9398"/>
                <a:gd name="connsiteY5" fmla="*/ 7821 h 9396"/>
                <a:gd name="connsiteX6" fmla="*/ 9398 w 9398"/>
                <a:gd name="connsiteY6" fmla="*/ 1576 h 9396"/>
                <a:gd name="connsiteX7" fmla="*/ 7821 w 9398"/>
                <a:gd name="connsiteY7" fmla="*/ 0 h 9396"/>
                <a:gd name="connsiteX8" fmla="*/ 1576 w 9398"/>
                <a:gd name="connsiteY8" fmla="*/ 0 h 9396"/>
                <a:gd name="connsiteX9" fmla="*/ 1576 w 9398"/>
                <a:gd name="connsiteY9" fmla="*/ 647 h 9396"/>
                <a:gd name="connsiteX10" fmla="*/ 7821 w 9398"/>
                <a:gd name="connsiteY10" fmla="*/ 647 h 9396"/>
                <a:gd name="connsiteX11" fmla="*/ 8749 w 9398"/>
                <a:gd name="connsiteY11" fmla="*/ 1576 h 9396"/>
                <a:gd name="connsiteX12" fmla="*/ 8749 w 9398"/>
                <a:gd name="connsiteY12" fmla="*/ 7821 h 9396"/>
                <a:gd name="connsiteX13" fmla="*/ 7821 w 9398"/>
                <a:gd name="connsiteY13" fmla="*/ 8749 h 9396"/>
                <a:gd name="connsiteX14" fmla="*/ 1576 w 9398"/>
                <a:gd name="connsiteY14" fmla="*/ 8749 h 9396"/>
                <a:gd name="connsiteX15" fmla="*/ 647 w 9398"/>
                <a:gd name="connsiteY15" fmla="*/ 7821 h 9396"/>
                <a:gd name="connsiteX16" fmla="*/ 647 w 9398"/>
                <a:gd name="connsiteY16" fmla="*/ 1576 h 9396"/>
                <a:gd name="connsiteX17" fmla="*/ 1576 w 9398"/>
                <a:gd name="connsiteY17" fmla="*/ 647 h 9396"/>
                <a:gd name="connsiteX18" fmla="*/ 1576 w 9398"/>
                <a:gd name="connsiteY18" fmla="*/ 647 h 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398" h="9396">
                  <a:moveTo>
                    <a:pt x="1576" y="0"/>
                  </a:moveTo>
                  <a:cubicBezTo>
                    <a:pt x="704" y="0"/>
                    <a:pt x="0" y="704"/>
                    <a:pt x="0" y="1576"/>
                  </a:cubicBezTo>
                  <a:lnTo>
                    <a:pt x="0" y="7821"/>
                  </a:lnTo>
                  <a:cubicBezTo>
                    <a:pt x="0" y="8692"/>
                    <a:pt x="704" y="9396"/>
                    <a:pt x="1576" y="9396"/>
                  </a:cubicBezTo>
                  <a:lnTo>
                    <a:pt x="7821" y="9396"/>
                  </a:lnTo>
                  <a:cubicBezTo>
                    <a:pt x="8692" y="9396"/>
                    <a:pt x="9398" y="8692"/>
                    <a:pt x="9398" y="7821"/>
                  </a:cubicBezTo>
                  <a:lnTo>
                    <a:pt x="9398" y="1576"/>
                  </a:lnTo>
                  <a:cubicBezTo>
                    <a:pt x="9398" y="704"/>
                    <a:pt x="8692" y="0"/>
                    <a:pt x="7821" y="0"/>
                  </a:cubicBezTo>
                  <a:lnTo>
                    <a:pt x="1576" y="0"/>
                  </a:lnTo>
                  <a:close/>
                  <a:moveTo>
                    <a:pt x="1576" y="647"/>
                  </a:moveTo>
                  <a:lnTo>
                    <a:pt x="7821" y="647"/>
                  </a:lnTo>
                  <a:cubicBezTo>
                    <a:pt x="8333" y="647"/>
                    <a:pt x="8749" y="1063"/>
                    <a:pt x="8749" y="1576"/>
                  </a:cubicBezTo>
                  <a:lnTo>
                    <a:pt x="8749" y="7821"/>
                  </a:lnTo>
                  <a:cubicBezTo>
                    <a:pt x="8749" y="8333"/>
                    <a:pt x="8333" y="8749"/>
                    <a:pt x="7821" y="8749"/>
                  </a:cubicBezTo>
                  <a:lnTo>
                    <a:pt x="1576" y="8749"/>
                  </a:lnTo>
                  <a:cubicBezTo>
                    <a:pt x="1063" y="8749"/>
                    <a:pt x="647" y="8333"/>
                    <a:pt x="647" y="7821"/>
                  </a:cubicBezTo>
                  <a:lnTo>
                    <a:pt x="647" y="1576"/>
                  </a:lnTo>
                  <a:cubicBezTo>
                    <a:pt x="647" y="1063"/>
                    <a:pt x="1063" y="647"/>
                    <a:pt x="1576" y="647"/>
                  </a:cubicBezTo>
                  <a:lnTo>
                    <a:pt x="1576" y="64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0" name="Freeform: Shape 3019">
              <a:extLst>
                <a:ext uri="{FF2B5EF4-FFF2-40B4-BE49-F238E27FC236}">
                  <a16:creationId xmlns:a16="http://schemas.microsoft.com/office/drawing/2014/main" id="{D9270A46-0340-84A1-AC4B-5F12D3CF7AB9}"/>
                </a:ext>
              </a:extLst>
            </p:cNvPr>
            <p:cNvSpPr/>
            <p:nvPr/>
          </p:nvSpPr>
          <p:spPr>
            <a:xfrm>
              <a:off x="8945030" y="3589975"/>
              <a:ext cx="3250" cy="3559"/>
            </a:xfrm>
            <a:custGeom>
              <a:avLst/>
              <a:gdLst>
                <a:gd name="connsiteX0" fmla="*/ 118 w 3250"/>
                <a:gd name="connsiteY0" fmla="*/ 787 h 3559"/>
                <a:gd name="connsiteX1" fmla="*/ 161 w 3250"/>
                <a:gd name="connsiteY1" fmla="*/ 118 h 3559"/>
                <a:gd name="connsiteX2" fmla="*/ 828 w 3250"/>
                <a:gd name="connsiteY2" fmla="*/ 161 h 3559"/>
                <a:gd name="connsiteX3" fmla="*/ 3133 w 3250"/>
                <a:gd name="connsiteY3" fmla="*/ 2773 h 3559"/>
                <a:gd name="connsiteX4" fmla="*/ 3090 w 3250"/>
                <a:gd name="connsiteY4" fmla="*/ 3441 h 3559"/>
                <a:gd name="connsiteX5" fmla="*/ 2423 w 3250"/>
                <a:gd name="connsiteY5" fmla="*/ 3400 h 3559"/>
                <a:gd name="connsiteX6" fmla="*/ 118 w 3250"/>
                <a:gd name="connsiteY6" fmla="*/ 787 h 3559"/>
                <a:gd name="connsiteX7" fmla="*/ 118 w 3250"/>
                <a:gd name="connsiteY7" fmla="*/ 787 h 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0" h="3559">
                  <a:moveTo>
                    <a:pt x="118" y="787"/>
                  </a:moveTo>
                  <a:cubicBezTo>
                    <a:pt x="-54" y="591"/>
                    <a:pt x="-36" y="292"/>
                    <a:pt x="161" y="118"/>
                  </a:cubicBezTo>
                  <a:cubicBezTo>
                    <a:pt x="356" y="-54"/>
                    <a:pt x="656" y="-36"/>
                    <a:pt x="828" y="161"/>
                  </a:cubicBezTo>
                  <a:lnTo>
                    <a:pt x="3133" y="2773"/>
                  </a:lnTo>
                  <a:cubicBezTo>
                    <a:pt x="3305" y="2970"/>
                    <a:pt x="3287" y="3269"/>
                    <a:pt x="3090" y="3441"/>
                  </a:cubicBezTo>
                  <a:cubicBezTo>
                    <a:pt x="2894" y="3613"/>
                    <a:pt x="2595" y="3595"/>
                    <a:pt x="2423" y="3400"/>
                  </a:cubicBezTo>
                  <a:lnTo>
                    <a:pt x="118" y="787"/>
                  </a:lnTo>
                  <a:lnTo>
                    <a:pt x="118" y="787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1" name="Freeform: Shape 3020">
              <a:extLst>
                <a:ext uri="{FF2B5EF4-FFF2-40B4-BE49-F238E27FC236}">
                  <a16:creationId xmlns:a16="http://schemas.microsoft.com/office/drawing/2014/main" id="{3AF18C7A-BB55-7562-F2E0-E8740988B0CD}"/>
                </a:ext>
              </a:extLst>
            </p:cNvPr>
            <p:cNvSpPr/>
            <p:nvPr/>
          </p:nvSpPr>
          <p:spPr>
            <a:xfrm>
              <a:off x="8947375" y="3588413"/>
              <a:ext cx="4629" cy="5121"/>
            </a:xfrm>
            <a:custGeom>
              <a:avLst/>
              <a:gdLst>
                <a:gd name="connsiteX0" fmla="*/ 4511 w 4629"/>
                <a:gd name="connsiteY0" fmla="*/ 786 h 5121"/>
                <a:gd name="connsiteX1" fmla="*/ 4468 w 4629"/>
                <a:gd name="connsiteY1" fmla="*/ 119 h 5121"/>
                <a:gd name="connsiteX2" fmla="*/ 3802 w 4629"/>
                <a:gd name="connsiteY2" fmla="*/ 160 h 5121"/>
                <a:gd name="connsiteX3" fmla="*/ 118 w 4629"/>
                <a:gd name="connsiteY3" fmla="*/ 4335 h 5121"/>
                <a:gd name="connsiteX4" fmla="*/ 161 w 4629"/>
                <a:gd name="connsiteY4" fmla="*/ 5003 h 5121"/>
                <a:gd name="connsiteX5" fmla="*/ 828 w 4629"/>
                <a:gd name="connsiteY5" fmla="*/ 4962 h 5121"/>
                <a:gd name="connsiteX6" fmla="*/ 4511 w 4629"/>
                <a:gd name="connsiteY6" fmla="*/ 786 h 5121"/>
                <a:gd name="connsiteX7" fmla="*/ 4511 w 4629"/>
                <a:gd name="connsiteY7" fmla="*/ 786 h 5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9" h="5121">
                  <a:moveTo>
                    <a:pt x="4511" y="786"/>
                  </a:moveTo>
                  <a:cubicBezTo>
                    <a:pt x="4683" y="590"/>
                    <a:pt x="4666" y="291"/>
                    <a:pt x="4468" y="119"/>
                  </a:cubicBezTo>
                  <a:cubicBezTo>
                    <a:pt x="4273" y="-55"/>
                    <a:pt x="3974" y="-35"/>
                    <a:pt x="3802" y="160"/>
                  </a:cubicBezTo>
                  <a:lnTo>
                    <a:pt x="118" y="4335"/>
                  </a:lnTo>
                  <a:cubicBezTo>
                    <a:pt x="-54" y="4532"/>
                    <a:pt x="-36" y="4831"/>
                    <a:pt x="161" y="5003"/>
                  </a:cubicBezTo>
                  <a:cubicBezTo>
                    <a:pt x="356" y="5175"/>
                    <a:pt x="656" y="5158"/>
                    <a:pt x="828" y="4962"/>
                  </a:cubicBezTo>
                  <a:lnTo>
                    <a:pt x="4511" y="786"/>
                  </a:lnTo>
                  <a:lnTo>
                    <a:pt x="4511" y="786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2" name="Freeform: Shape 3021">
              <a:extLst>
                <a:ext uri="{FF2B5EF4-FFF2-40B4-BE49-F238E27FC236}">
                  <a16:creationId xmlns:a16="http://schemas.microsoft.com/office/drawing/2014/main" id="{9FD21208-AEB2-189A-73C3-6490F2503084}"/>
                </a:ext>
              </a:extLst>
            </p:cNvPr>
            <p:cNvSpPr/>
            <p:nvPr/>
          </p:nvSpPr>
          <p:spPr>
            <a:xfrm>
              <a:off x="8943818" y="3586275"/>
              <a:ext cx="9398" cy="9396"/>
            </a:xfrm>
            <a:custGeom>
              <a:avLst/>
              <a:gdLst>
                <a:gd name="connsiteX0" fmla="*/ 1576 w 9398"/>
                <a:gd name="connsiteY0" fmla="*/ 0 h 9396"/>
                <a:gd name="connsiteX1" fmla="*/ 0 w 9398"/>
                <a:gd name="connsiteY1" fmla="*/ 1576 h 9396"/>
                <a:gd name="connsiteX2" fmla="*/ 0 w 9398"/>
                <a:gd name="connsiteY2" fmla="*/ 7821 h 9396"/>
                <a:gd name="connsiteX3" fmla="*/ 1576 w 9398"/>
                <a:gd name="connsiteY3" fmla="*/ 9396 h 9396"/>
                <a:gd name="connsiteX4" fmla="*/ 7821 w 9398"/>
                <a:gd name="connsiteY4" fmla="*/ 9396 h 9396"/>
                <a:gd name="connsiteX5" fmla="*/ 9398 w 9398"/>
                <a:gd name="connsiteY5" fmla="*/ 7821 h 9396"/>
                <a:gd name="connsiteX6" fmla="*/ 9398 w 9398"/>
                <a:gd name="connsiteY6" fmla="*/ 1576 h 9396"/>
                <a:gd name="connsiteX7" fmla="*/ 7821 w 9398"/>
                <a:gd name="connsiteY7" fmla="*/ 0 h 9396"/>
                <a:gd name="connsiteX8" fmla="*/ 1576 w 9398"/>
                <a:gd name="connsiteY8" fmla="*/ 0 h 9396"/>
                <a:gd name="connsiteX9" fmla="*/ 1576 w 9398"/>
                <a:gd name="connsiteY9" fmla="*/ 649 h 9396"/>
                <a:gd name="connsiteX10" fmla="*/ 7821 w 9398"/>
                <a:gd name="connsiteY10" fmla="*/ 649 h 9396"/>
                <a:gd name="connsiteX11" fmla="*/ 8749 w 9398"/>
                <a:gd name="connsiteY11" fmla="*/ 1576 h 9396"/>
                <a:gd name="connsiteX12" fmla="*/ 8749 w 9398"/>
                <a:gd name="connsiteY12" fmla="*/ 7821 h 9396"/>
                <a:gd name="connsiteX13" fmla="*/ 7821 w 9398"/>
                <a:gd name="connsiteY13" fmla="*/ 8749 h 9396"/>
                <a:gd name="connsiteX14" fmla="*/ 1576 w 9398"/>
                <a:gd name="connsiteY14" fmla="*/ 8749 h 9396"/>
                <a:gd name="connsiteX15" fmla="*/ 647 w 9398"/>
                <a:gd name="connsiteY15" fmla="*/ 7821 h 9396"/>
                <a:gd name="connsiteX16" fmla="*/ 647 w 9398"/>
                <a:gd name="connsiteY16" fmla="*/ 1576 h 9396"/>
                <a:gd name="connsiteX17" fmla="*/ 1576 w 9398"/>
                <a:gd name="connsiteY17" fmla="*/ 649 h 9396"/>
                <a:gd name="connsiteX18" fmla="*/ 1576 w 9398"/>
                <a:gd name="connsiteY18" fmla="*/ 649 h 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398" h="9396">
                  <a:moveTo>
                    <a:pt x="1576" y="0"/>
                  </a:moveTo>
                  <a:cubicBezTo>
                    <a:pt x="704" y="0"/>
                    <a:pt x="0" y="706"/>
                    <a:pt x="0" y="1576"/>
                  </a:cubicBezTo>
                  <a:lnTo>
                    <a:pt x="0" y="7821"/>
                  </a:lnTo>
                  <a:cubicBezTo>
                    <a:pt x="0" y="8692"/>
                    <a:pt x="704" y="9396"/>
                    <a:pt x="1576" y="9396"/>
                  </a:cubicBezTo>
                  <a:lnTo>
                    <a:pt x="7821" y="9396"/>
                  </a:lnTo>
                  <a:cubicBezTo>
                    <a:pt x="8692" y="9396"/>
                    <a:pt x="9398" y="8692"/>
                    <a:pt x="9398" y="7821"/>
                  </a:cubicBezTo>
                  <a:lnTo>
                    <a:pt x="9398" y="1576"/>
                  </a:lnTo>
                  <a:cubicBezTo>
                    <a:pt x="9398" y="706"/>
                    <a:pt x="8692" y="0"/>
                    <a:pt x="7821" y="0"/>
                  </a:cubicBezTo>
                  <a:lnTo>
                    <a:pt x="1576" y="0"/>
                  </a:lnTo>
                  <a:close/>
                  <a:moveTo>
                    <a:pt x="1576" y="649"/>
                  </a:moveTo>
                  <a:lnTo>
                    <a:pt x="7821" y="649"/>
                  </a:lnTo>
                  <a:cubicBezTo>
                    <a:pt x="8333" y="649"/>
                    <a:pt x="8749" y="1063"/>
                    <a:pt x="8749" y="1576"/>
                  </a:cubicBezTo>
                  <a:lnTo>
                    <a:pt x="8749" y="7821"/>
                  </a:lnTo>
                  <a:cubicBezTo>
                    <a:pt x="8749" y="8333"/>
                    <a:pt x="8333" y="8749"/>
                    <a:pt x="7821" y="8749"/>
                  </a:cubicBezTo>
                  <a:lnTo>
                    <a:pt x="1576" y="8749"/>
                  </a:lnTo>
                  <a:cubicBezTo>
                    <a:pt x="1063" y="8749"/>
                    <a:pt x="647" y="8333"/>
                    <a:pt x="647" y="7821"/>
                  </a:cubicBezTo>
                  <a:lnTo>
                    <a:pt x="647" y="1576"/>
                  </a:lnTo>
                  <a:cubicBezTo>
                    <a:pt x="647" y="1063"/>
                    <a:pt x="1063" y="649"/>
                    <a:pt x="1576" y="649"/>
                  </a:cubicBezTo>
                  <a:lnTo>
                    <a:pt x="1576" y="64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3" name="Freeform: Shape 3022">
              <a:extLst>
                <a:ext uri="{FF2B5EF4-FFF2-40B4-BE49-F238E27FC236}">
                  <a16:creationId xmlns:a16="http://schemas.microsoft.com/office/drawing/2014/main" id="{C1D220FA-69D3-3F89-836C-3B0A46904D5C}"/>
                </a:ext>
              </a:extLst>
            </p:cNvPr>
            <p:cNvSpPr/>
            <p:nvPr/>
          </p:nvSpPr>
          <p:spPr>
            <a:xfrm>
              <a:off x="9086422" y="3547473"/>
              <a:ext cx="57417" cy="88479"/>
            </a:xfrm>
            <a:custGeom>
              <a:avLst/>
              <a:gdLst>
                <a:gd name="connsiteX0" fmla="*/ 0 w 57417"/>
                <a:gd name="connsiteY0" fmla="*/ 15545 h 88479"/>
                <a:gd name="connsiteX1" fmla="*/ 0 w 57417"/>
                <a:gd name="connsiteY1" fmla="*/ 88480 h 88479"/>
                <a:gd name="connsiteX2" fmla="*/ 57418 w 57417"/>
                <a:gd name="connsiteY2" fmla="*/ 88480 h 88479"/>
                <a:gd name="connsiteX3" fmla="*/ 57418 w 57417"/>
                <a:gd name="connsiteY3" fmla="*/ 0 h 88479"/>
                <a:gd name="connsiteX4" fmla="*/ 20298 w 57417"/>
                <a:gd name="connsiteY4" fmla="*/ 0 h 8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417" h="88479">
                  <a:moveTo>
                    <a:pt x="0" y="15545"/>
                  </a:moveTo>
                  <a:lnTo>
                    <a:pt x="0" y="88480"/>
                  </a:lnTo>
                  <a:lnTo>
                    <a:pt x="57418" y="88480"/>
                  </a:lnTo>
                  <a:lnTo>
                    <a:pt x="57418" y="0"/>
                  </a:lnTo>
                  <a:lnTo>
                    <a:pt x="20298" y="0"/>
                  </a:lnTo>
                </a:path>
              </a:pathLst>
            </a:custGeom>
            <a:solidFill>
              <a:srgbClr val="D3E7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4" name="Freeform: Shape 3023">
              <a:extLst>
                <a:ext uri="{FF2B5EF4-FFF2-40B4-BE49-F238E27FC236}">
                  <a16:creationId xmlns:a16="http://schemas.microsoft.com/office/drawing/2014/main" id="{9CB4B175-2DFA-9EAF-E774-C8E2D250BC2E}"/>
                </a:ext>
              </a:extLst>
            </p:cNvPr>
            <p:cNvSpPr/>
            <p:nvPr/>
          </p:nvSpPr>
          <p:spPr>
            <a:xfrm>
              <a:off x="9086422" y="3547473"/>
              <a:ext cx="20298" cy="15544"/>
            </a:xfrm>
            <a:custGeom>
              <a:avLst/>
              <a:gdLst>
                <a:gd name="connsiteX0" fmla="*/ 0 w 20298"/>
                <a:gd name="connsiteY0" fmla="*/ 15545 h 15544"/>
                <a:gd name="connsiteX1" fmla="*/ 20298 w 20298"/>
                <a:gd name="connsiteY1" fmla="*/ 15545 h 15544"/>
                <a:gd name="connsiteX2" fmla="*/ 20298 w 20298"/>
                <a:gd name="connsiteY2" fmla="*/ 0 h 1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298" h="15544">
                  <a:moveTo>
                    <a:pt x="0" y="15545"/>
                  </a:moveTo>
                  <a:lnTo>
                    <a:pt x="20298" y="15545"/>
                  </a:lnTo>
                  <a:lnTo>
                    <a:pt x="20298" y="0"/>
                  </a:lnTo>
                </a:path>
              </a:pathLst>
            </a:custGeom>
            <a:solidFill>
              <a:srgbClr val="C3D4E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5" name="Freeform: Shape 3024">
              <a:extLst>
                <a:ext uri="{FF2B5EF4-FFF2-40B4-BE49-F238E27FC236}">
                  <a16:creationId xmlns:a16="http://schemas.microsoft.com/office/drawing/2014/main" id="{1942BCBE-9DD6-2E56-92E2-C8FF54CA26B3}"/>
                </a:ext>
              </a:extLst>
            </p:cNvPr>
            <p:cNvSpPr/>
            <p:nvPr/>
          </p:nvSpPr>
          <p:spPr>
            <a:xfrm>
              <a:off x="9090720" y="3574079"/>
              <a:ext cx="9059" cy="1349"/>
            </a:xfrm>
            <a:custGeom>
              <a:avLst/>
              <a:gdLst>
                <a:gd name="connsiteX0" fmla="*/ 9059 w 9059"/>
                <a:gd name="connsiteY0" fmla="*/ 629 h 1349"/>
                <a:gd name="connsiteX1" fmla="*/ 8430 w 9059"/>
                <a:gd name="connsiteY1" fmla="*/ 0 h 1349"/>
                <a:gd name="connsiteX2" fmla="*/ 629 w 9059"/>
                <a:gd name="connsiteY2" fmla="*/ 0 h 1349"/>
                <a:gd name="connsiteX3" fmla="*/ 0 w 9059"/>
                <a:gd name="connsiteY3" fmla="*/ 629 h 1349"/>
                <a:gd name="connsiteX4" fmla="*/ 0 w 9059"/>
                <a:gd name="connsiteY4" fmla="*/ 721 h 1349"/>
                <a:gd name="connsiteX5" fmla="*/ 629 w 9059"/>
                <a:gd name="connsiteY5" fmla="*/ 1350 h 1349"/>
                <a:gd name="connsiteX6" fmla="*/ 8430 w 9059"/>
                <a:gd name="connsiteY6" fmla="*/ 1350 h 1349"/>
                <a:gd name="connsiteX7" fmla="*/ 9059 w 9059"/>
                <a:gd name="connsiteY7" fmla="*/ 721 h 1349"/>
                <a:gd name="connsiteX8" fmla="*/ 9059 w 9059"/>
                <a:gd name="connsiteY8" fmla="*/ 629 h 1349"/>
                <a:gd name="connsiteX9" fmla="*/ 9059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9059" y="629"/>
                  </a:moveTo>
                  <a:cubicBezTo>
                    <a:pt x="9059" y="281"/>
                    <a:pt x="8778" y="0"/>
                    <a:pt x="8430" y="0"/>
                  </a:cubicBezTo>
                  <a:lnTo>
                    <a:pt x="629" y="0"/>
                  </a:lnTo>
                  <a:cubicBezTo>
                    <a:pt x="281" y="0"/>
                    <a:pt x="0" y="281"/>
                    <a:pt x="0" y="629"/>
                  </a:cubicBezTo>
                  <a:lnTo>
                    <a:pt x="0" y="721"/>
                  </a:lnTo>
                  <a:cubicBezTo>
                    <a:pt x="0" y="1068"/>
                    <a:pt x="281" y="1350"/>
                    <a:pt x="629" y="1350"/>
                  </a:cubicBezTo>
                  <a:lnTo>
                    <a:pt x="8430" y="1350"/>
                  </a:lnTo>
                  <a:cubicBezTo>
                    <a:pt x="8778" y="1350"/>
                    <a:pt x="9059" y="1068"/>
                    <a:pt x="9059" y="721"/>
                  </a:cubicBezTo>
                  <a:lnTo>
                    <a:pt x="9059" y="629"/>
                  </a:lnTo>
                  <a:lnTo>
                    <a:pt x="9059" y="629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6" name="Freeform: Shape 3025">
              <a:extLst>
                <a:ext uri="{FF2B5EF4-FFF2-40B4-BE49-F238E27FC236}">
                  <a16:creationId xmlns:a16="http://schemas.microsoft.com/office/drawing/2014/main" id="{B45638CE-6101-283E-CDD2-2E4EC9F95004}"/>
                </a:ext>
              </a:extLst>
            </p:cNvPr>
            <p:cNvSpPr/>
            <p:nvPr/>
          </p:nvSpPr>
          <p:spPr>
            <a:xfrm>
              <a:off x="9118056" y="3570485"/>
              <a:ext cx="9059" cy="1349"/>
            </a:xfrm>
            <a:custGeom>
              <a:avLst/>
              <a:gdLst>
                <a:gd name="connsiteX0" fmla="*/ 0 w 9059"/>
                <a:gd name="connsiteY0" fmla="*/ 629 h 1349"/>
                <a:gd name="connsiteX1" fmla="*/ 631 w 9059"/>
                <a:gd name="connsiteY1" fmla="*/ 0 h 1349"/>
                <a:gd name="connsiteX2" fmla="*/ 8430 w 9059"/>
                <a:gd name="connsiteY2" fmla="*/ 0 h 1349"/>
                <a:gd name="connsiteX3" fmla="*/ 9059 w 9059"/>
                <a:gd name="connsiteY3" fmla="*/ 629 h 1349"/>
                <a:gd name="connsiteX4" fmla="*/ 9059 w 9059"/>
                <a:gd name="connsiteY4" fmla="*/ 721 h 1349"/>
                <a:gd name="connsiteX5" fmla="*/ 8430 w 9059"/>
                <a:gd name="connsiteY5" fmla="*/ 1350 h 1349"/>
                <a:gd name="connsiteX6" fmla="*/ 631 w 9059"/>
                <a:gd name="connsiteY6" fmla="*/ 1350 h 1349"/>
                <a:gd name="connsiteX7" fmla="*/ 0 w 9059"/>
                <a:gd name="connsiteY7" fmla="*/ 721 h 1349"/>
                <a:gd name="connsiteX8" fmla="*/ 0 w 9059"/>
                <a:gd name="connsiteY8" fmla="*/ 629 h 1349"/>
                <a:gd name="connsiteX9" fmla="*/ 0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0" y="629"/>
                  </a:moveTo>
                  <a:cubicBezTo>
                    <a:pt x="0" y="281"/>
                    <a:pt x="283" y="0"/>
                    <a:pt x="631" y="0"/>
                  </a:cubicBezTo>
                  <a:lnTo>
                    <a:pt x="8430" y="0"/>
                  </a:lnTo>
                  <a:cubicBezTo>
                    <a:pt x="8778" y="0"/>
                    <a:pt x="9059" y="281"/>
                    <a:pt x="9059" y="629"/>
                  </a:cubicBezTo>
                  <a:lnTo>
                    <a:pt x="9059" y="721"/>
                  </a:lnTo>
                  <a:cubicBezTo>
                    <a:pt x="9059" y="1068"/>
                    <a:pt x="8778" y="1350"/>
                    <a:pt x="8430" y="1350"/>
                  </a:cubicBezTo>
                  <a:lnTo>
                    <a:pt x="631" y="1350"/>
                  </a:lnTo>
                  <a:cubicBezTo>
                    <a:pt x="283" y="1350"/>
                    <a:pt x="0" y="1068"/>
                    <a:pt x="0" y="721"/>
                  </a:cubicBezTo>
                  <a:lnTo>
                    <a:pt x="0" y="629"/>
                  </a:lnTo>
                  <a:lnTo>
                    <a:pt x="0" y="62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7" name="Freeform: Shape 3026">
              <a:extLst>
                <a:ext uri="{FF2B5EF4-FFF2-40B4-BE49-F238E27FC236}">
                  <a16:creationId xmlns:a16="http://schemas.microsoft.com/office/drawing/2014/main" id="{70B9D8EA-94C4-C5E5-8572-BB2DA8E4E2AF}"/>
                </a:ext>
              </a:extLst>
            </p:cNvPr>
            <p:cNvSpPr/>
            <p:nvPr/>
          </p:nvSpPr>
          <p:spPr>
            <a:xfrm>
              <a:off x="9109427" y="3577560"/>
              <a:ext cx="9059" cy="1349"/>
            </a:xfrm>
            <a:custGeom>
              <a:avLst/>
              <a:gdLst>
                <a:gd name="connsiteX0" fmla="*/ 9059 w 9059"/>
                <a:gd name="connsiteY0" fmla="*/ 676 h 1349"/>
                <a:gd name="connsiteX1" fmla="*/ 8385 w 9059"/>
                <a:gd name="connsiteY1" fmla="*/ 0 h 1349"/>
                <a:gd name="connsiteX2" fmla="*/ 676 w 9059"/>
                <a:gd name="connsiteY2" fmla="*/ 0 h 1349"/>
                <a:gd name="connsiteX3" fmla="*/ 0 w 9059"/>
                <a:gd name="connsiteY3" fmla="*/ 676 h 1349"/>
                <a:gd name="connsiteX4" fmla="*/ 676 w 9059"/>
                <a:gd name="connsiteY4" fmla="*/ 1350 h 1349"/>
                <a:gd name="connsiteX5" fmla="*/ 8385 w 9059"/>
                <a:gd name="connsiteY5" fmla="*/ 1350 h 1349"/>
                <a:gd name="connsiteX6" fmla="*/ 9059 w 9059"/>
                <a:gd name="connsiteY6" fmla="*/ 676 h 1349"/>
                <a:gd name="connsiteX7" fmla="*/ 9059 w 9059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9" h="1349">
                  <a:moveTo>
                    <a:pt x="9059" y="676"/>
                  </a:moveTo>
                  <a:cubicBezTo>
                    <a:pt x="9059" y="303"/>
                    <a:pt x="8758" y="0"/>
                    <a:pt x="8385" y="0"/>
                  </a:cubicBezTo>
                  <a:lnTo>
                    <a:pt x="676" y="0"/>
                  </a:lnTo>
                  <a:cubicBezTo>
                    <a:pt x="303" y="0"/>
                    <a:pt x="0" y="303"/>
                    <a:pt x="0" y="676"/>
                  </a:cubicBezTo>
                  <a:cubicBezTo>
                    <a:pt x="0" y="1049"/>
                    <a:pt x="303" y="1350"/>
                    <a:pt x="676" y="1350"/>
                  </a:cubicBezTo>
                  <a:lnTo>
                    <a:pt x="8385" y="1350"/>
                  </a:lnTo>
                  <a:cubicBezTo>
                    <a:pt x="8758" y="1350"/>
                    <a:pt x="9059" y="1049"/>
                    <a:pt x="9059" y="676"/>
                  </a:cubicBezTo>
                  <a:lnTo>
                    <a:pt x="9059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8" name="Freeform: Shape 3027">
              <a:extLst>
                <a:ext uri="{FF2B5EF4-FFF2-40B4-BE49-F238E27FC236}">
                  <a16:creationId xmlns:a16="http://schemas.microsoft.com/office/drawing/2014/main" id="{D466E3FF-009F-72F2-7A9D-B025CE5C7CFE}"/>
                </a:ext>
              </a:extLst>
            </p:cNvPr>
            <p:cNvSpPr/>
            <p:nvPr/>
          </p:nvSpPr>
          <p:spPr>
            <a:xfrm>
              <a:off x="9100358" y="3574079"/>
              <a:ext cx="5074" cy="1349"/>
            </a:xfrm>
            <a:custGeom>
              <a:avLst/>
              <a:gdLst>
                <a:gd name="connsiteX0" fmla="*/ 5075 w 5074"/>
                <a:gd name="connsiteY0" fmla="*/ 617 h 1349"/>
                <a:gd name="connsiteX1" fmla="*/ 4458 w 5074"/>
                <a:gd name="connsiteY1" fmla="*/ 0 h 1349"/>
                <a:gd name="connsiteX2" fmla="*/ 617 w 5074"/>
                <a:gd name="connsiteY2" fmla="*/ 0 h 1349"/>
                <a:gd name="connsiteX3" fmla="*/ 0 w 5074"/>
                <a:gd name="connsiteY3" fmla="*/ 617 h 1349"/>
                <a:gd name="connsiteX4" fmla="*/ 0 w 5074"/>
                <a:gd name="connsiteY4" fmla="*/ 733 h 1349"/>
                <a:gd name="connsiteX5" fmla="*/ 617 w 5074"/>
                <a:gd name="connsiteY5" fmla="*/ 1350 h 1349"/>
                <a:gd name="connsiteX6" fmla="*/ 4458 w 5074"/>
                <a:gd name="connsiteY6" fmla="*/ 1350 h 1349"/>
                <a:gd name="connsiteX7" fmla="*/ 5075 w 5074"/>
                <a:gd name="connsiteY7" fmla="*/ 733 h 1349"/>
                <a:gd name="connsiteX8" fmla="*/ 5075 w 5074"/>
                <a:gd name="connsiteY8" fmla="*/ 617 h 1349"/>
                <a:gd name="connsiteX9" fmla="*/ 5075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5075" y="617"/>
                  </a:moveTo>
                  <a:cubicBezTo>
                    <a:pt x="5075" y="276"/>
                    <a:pt x="4799" y="0"/>
                    <a:pt x="4458" y="0"/>
                  </a:cubicBezTo>
                  <a:lnTo>
                    <a:pt x="617" y="0"/>
                  </a:lnTo>
                  <a:cubicBezTo>
                    <a:pt x="276" y="0"/>
                    <a:pt x="0" y="276"/>
                    <a:pt x="0" y="617"/>
                  </a:cubicBezTo>
                  <a:lnTo>
                    <a:pt x="0" y="733"/>
                  </a:lnTo>
                  <a:cubicBezTo>
                    <a:pt x="0" y="1074"/>
                    <a:pt x="276" y="1350"/>
                    <a:pt x="617" y="1350"/>
                  </a:cubicBezTo>
                  <a:lnTo>
                    <a:pt x="4458" y="1350"/>
                  </a:lnTo>
                  <a:cubicBezTo>
                    <a:pt x="4799" y="1350"/>
                    <a:pt x="5075" y="1074"/>
                    <a:pt x="5075" y="733"/>
                  </a:cubicBezTo>
                  <a:lnTo>
                    <a:pt x="5075" y="617"/>
                  </a:lnTo>
                  <a:lnTo>
                    <a:pt x="5075" y="61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9" name="Freeform: Shape 3028">
              <a:extLst>
                <a:ext uri="{FF2B5EF4-FFF2-40B4-BE49-F238E27FC236}">
                  <a16:creationId xmlns:a16="http://schemas.microsoft.com/office/drawing/2014/main" id="{8F7EAE35-CFB4-FA0D-9BE0-20723676A9EB}"/>
                </a:ext>
              </a:extLst>
            </p:cNvPr>
            <p:cNvSpPr/>
            <p:nvPr/>
          </p:nvSpPr>
          <p:spPr>
            <a:xfrm>
              <a:off x="9112402" y="3570485"/>
              <a:ext cx="5074" cy="1349"/>
            </a:xfrm>
            <a:custGeom>
              <a:avLst/>
              <a:gdLst>
                <a:gd name="connsiteX0" fmla="*/ 0 w 5074"/>
                <a:gd name="connsiteY0" fmla="*/ 617 h 1349"/>
                <a:gd name="connsiteX1" fmla="*/ 617 w 5074"/>
                <a:gd name="connsiteY1" fmla="*/ 0 h 1349"/>
                <a:gd name="connsiteX2" fmla="*/ 4458 w 5074"/>
                <a:gd name="connsiteY2" fmla="*/ 0 h 1349"/>
                <a:gd name="connsiteX3" fmla="*/ 5075 w 5074"/>
                <a:gd name="connsiteY3" fmla="*/ 617 h 1349"/>
                <a:gd name="connsiteX4" fmla="*/ 5075 w 5074"/>
                <a:gd name="connsiteY4" fmla="*/ 733 h 1349"/>
                <a:gd name="connsiteX5" fmla="*/ 4458 w 5074"/>
                <a:gd name="connsiteY5" fmla="*/ 1350 h 1349"/>
                <a:gd name="connsiteX6" fmla="*/ 617 w 5074"/>
                <a:gd name="connsiteY6" fmla="*/ 1350 h 1349"/>
                <a:gd name="connsiteX7" fmla="*/ 0 w 5074"/>
                <a:gd name="connsiteY7" fmla="*/ 733 h 1349"/>
                <a:gd name="connsiteX8" fmla="*/ 0 w 5074"/>
                <a:gd name="connsiteY8" fmla="*/ 617 h 1349"/>
                <a:gd name="connsiteX9" fmla="*/ 0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0" y="617"/>
                  </a:moveTo>
                  <a:cubicBezTo>
                    <a:pt x="0" y="276"/>
                    <a:pt x="276" y="0"/>
                    <a:pt x="617" y="0"/>
                  </a:cubicBezTo>
                  <a:lnTo>
                    <a:pt x="4458" y="0"/>
                  </a:lnTo>
                  <a:cubicBezTo>
                    <a:pt x="4799" y="0"/>
                    <a:pt x="5075" y="276"/>
                    <a:pt x="5075" y="617"/>
                  </a:cubicBezTo>
                  <a:lnTo>
                    <a:pt x="5075" y="733"/>
                  </a:lnTo>
                  <a:cubicBezTo>
                    <a:pt x="5075" y="1074"/>
                    <a:pt x="4799" y="1350"/>
                    <a:pt x="4458" y="1350"/>
                  </a:cubicBezTo>
                  <a:lnTo>
                    <a:pt x="617" y="1350"/>
                  </a:lnTo>
                  <a:cubicBezTo>
                    <a:pt x="276" y="1350"/>
                    <a:pt x="0" y="1074"/>
                    <a:pt x="0" y="733"/>
                  </a:cubicBezTo>
                  <a:lnTo>
                    <a:pt x="0" y="617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0" name="Freeform: Shape 3029">
              <a:extLst>
                <a:ext uri="{FF2B5EF4-FFF2-40B4-BE49-F238E27FC236}">
                  <a16:creationId xmlns:a16="http://schemas.microsoft.com/office/drawing/2014/main" id="{DB337A8C-276B-7B3D-C5C3-EE076384CD1F}"/>
                </a:ext>
              </a:extLst>
            </p:cNvPr>
            <p:cNvSpPr/>
            <p:nvPr/>
          </p:nvSpPr>
          <p:spPr>
            <a:xfrm>
              <a:off x="9119067" y="3577560"/>
              <a:ext cx="5074" cy="1349"/>
            </a:xfrm>
            <a:custGeom>
              <a:avLst/>
              <a:gdLst>
                <a:gd name="connsiteX0" fmla="*/ 5075 w 5074"/>
                <a:gd name="connsiteY0" fmla="*/ 676 h 1349"/>
                <a:gd name="connsiteX1" fmla="*/ 4399 w 5074"/>
                <a:gd name="connsiteY1" fmla="*/ 0 h 1349"/>
                <a:gd name="connsiteX2" fmla="*/ 674 w 5074"/>
                <a:gd name="connsiteY2" fmla="*/ 0 h 1349"/>
                <a:gd name="connsiteX3" fmla="*/ 0 w 5074"/>
                <a:gd name="connsiteY3" fmla="*/ 676 h 1349"/>
                <a:gd name="connsiteX4" fmla="*/ 674 w 5074"/>
                <a:gd name="connsiteY4" fmla="*/ 1350 h 1349"/>
                <a:gd name="connsiteX5" fmla="*/ 4399 w 5074"/>
                <a:gd name="connsiteY5" fmla="*/ 1350 h 1349"/>
                <a:gd name="connsiteX6" fmla="*/ 5075 w 5074"/>
                <a:gd name="connsiteY6" fmla="*/ 676 h 1349"/>
                <a:gd name="connsiteX7" fmla="*/ 5075 w 5074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5075" y="676"/>
                  </a:moveTo>
                  <a:cubicBezTo>
                    <a:pt x="5075" y="303"/>
                    <a:pt x="4772" y="0"/>
                    <a:pt x="4399" y="0"/>
                  </a:cubicBezTo>
                  <a:lnTo>
                    <a:pt x="674" y="0"/>
                  </a:lnTo>
                  <a:cubicBezTo>
                    <a:pt x="301" y="0"/>
                    <a:pt x="0" y="303"/>
                    <a:pt x="0" y="676"/>
                  </a:cubicBezTo>
                  <a:cubicBezTo>
                    <a:pt x="0" y="1049"/>
                    <a:pt x="301" y="1350"/>
                    <a:pt x="674" y="1350"/>
                  </a:cubicBezTo>
                  <a:lnTo>
                    <a:pt x="4399" y="1350"/>
                  </a:lnTo>
                  <a:cubicBezTo>
                    <a:pt x="4772" y="1350"/>
                    <a:pt x="5075" y="1049"/>
                    <a:pt x="5075" y="676"/>
                  </a:cubicBezTo>
                  <a:lnTo>
                    <a:pt x="5075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1" name="Freeform: Shape 3030">
              <a:extLst>
                <a:ext uri="{FF2B5EF4-FFF2-40B4-BE49-F238E27FC236}">
                  <a16:creationId xmlns:a16="http://schemas.microsoft.com/office/drawing/2014/main" id="{DCF5C5F4-9B21-4691-3B3A-EB679CCCC39B}"/>
                </a:ext>
              </a:extLst>
            </p:cNvPr>
            <p:cNvSpPr/>
            <p:nvPr/>
          </p:nvSpPr>
          <p:spPr>
            <a:xfrm>
              <a:off x="9123718" y="3574079"/>
              <a:ext cx="3396" cy="1349"/>
            </a:xfrm>
            <a:custGeom>
              <a:avLst/>
              <a:gdLst>
                <a:gd name="connsiteX0" fmla="*/ 3397 w 3396"/>
                <a:gd name="connsiteY0" fmla="*/ 658 h 1349"/>
                <a:gd name="connsiteX1" fmla="*/ 2741 w 3396"/>
                <a:gd name="connsiteY1" fmla="*/ 0 h 1349"/>
                <a:gd name="connsiteX2" fmla="*/ 658 w 3396"/>
                <a:gd name="connsiteY2" fmla="*/ 0 h 1349"/>
                <a:gd name="connsiteX3" fmla="*/ 0 w 3396"/>
                <a:gd name="connsiteY3" fmla="*/ 658 h 1349"/>
                <a:gd name="connsiteX4" fmla="*/ 0 w 3396"/>
                <a:gd name="connsiteY4" fmla="*/ 694 h 1349"/>
                <a:gd name="connsiteX5" fmla="*/ 658 w 3396"/>
                <a:gd name="connsiteY5" fmla="*/ 1350 h 1349"/>
                <a:gd name="connsiteX6" fmla="*/ 2741 w 3396"/>
                <a:gd name="connsiteY6" fmla="*/ 1350 h 1349"/>
                <a:gd name="connsiteX7" fmla="*/ 3397 w 3396"/>
                <a:gd name="connsiteY7" fmla="*/ 694 h 1349"/>
                <a:gd name="connsiteX8" fmla="*/ 3397 w 3396"/>
                <a:gd name="connsiteY8" fmla="*/ 658 h 1349"/>
                <a:gd name="connsiteX9" fmla="*/ 3397 w 3396"/>
                <a:gd name="connsiteY9" fmla="*/ 658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6" h="1349">
                  <a:moveTo>
                    <a:pt x="3397" y="658"/>
                  </a:moveTo>
                  <a:cubicBezTo>
                    <a:pt x="3397" y="294"/>
                    <a:pt x="3103" y="0"/>
                    <a:pt x="2741" y="0"/>
                  </a:cubicBezTo>
                  <a:lnTo>
                    <a:pt x="658" y="0"/>
                  </a:lnTo>
                  <a:cubicBezTo>
                    <a:pt x="294" y="0"/>
                    <a:pt x="0" y="294"/>
                    <a:pt x="0" y="658"/>
                  </a:cubicBezTo>
                  <a:lnTo>
                    <a:pt x="0" y="694"/>
                  </a:lnTo>
                  <a:cubicBezTo>
                    <a:pt x="0" y="1056"/>
                    <a:pt x="294" y="1350"/>
                    <a:pt x="658" y="1350"/>
                  </a:cubicBezTo>
                  <a:lnTo>
                    <a:pt x="2741" y="1350"/>
                  </a:lnTo>
                  <a:cubicBezTo>
                    <a:pt x="3103" y="1350"/>
                    <a:pt x="3397" y="1056"/>
                    <a:pt x="3397" y="694"/>
                  </a:cubicBezTo>
                  <a:lnTo>
                    <a:pt x="3397" y="658"/>
                  </a:lnTo>
                  <a:lnTo>
                    <a:pt x="3397" y="658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2" name="Freeform: Shape 3031">
              <a:extLst>
                <a:ext uri="{FF2B5EF4-FFF2-40B4-BE49-F238E27FC236}">
                  <a16:creationId xmlns:a16="http://schemas.microsoft.com/office/drawing/2014/main" id="{A4EE24AE-540C-C27A-78E2-16050C760249}"/>
                </a:ext>
              </a:extLst>
            </p:cNvPr>
            <p:cNvSpPr/>
            <p:nvPr/>
          </p:nvSpPr>
          <p:spPr>
            <a:xfrm>
              <a:off x="9105987" y="3574079"/>
              <a:ext cx="2421" cy="1349"/>
            </a:xfrm>
            <a:custGeom>
              <a:avLst/>
              <a:gdLst>
                <a:gd name="connsiteX0" fmla="*/ 2422 w 2421"/>
                <a:gd name="connsiteY0" fmla="*/ 600 h 1349"/>
                <a:gd name="connsiteX1" fmla="*/ 1821 w 2421"/>
                <a:gd name="connsiteY1" fmla="*/ 0 h 1349"/>
                <a:gd name="connsiteX2" fmla="*/ 600 w 2421"/>
                <a:gd name="connsiteY2" fmla="*/ 0 h 1349"/>
                <a:gd name="connsiteX3" fmla="*/ 0 w 2421"/>
                <a:gd name="connsiteY3" fmla="*/ 600 h 1349"/>
                <a:gd name="connsiteX4" fmla="*/ 0 w 2421"/>
                <a:gd name="connsiteY4" fmla="*/ 749 h 1349"/>
                <a:gd name="connsiteX5" fmla="*/ 600 w 2421"/>
                <a:gd name="connsiteY5" fmla="*/ 1350 h 1349"/>
                <a:gd name="connsiteX6" fmla="*/ 1821 w 2421"/>
                <a:gd name="connsiteY6" fmla="*/ 1350 h 1349"/>
                <a:gd name="connsiteX7" fmla="*/ 2422 w 2421"/>
                <a:gd name="connsiteY7" fmla="*/ 749 h 1349"/>
                <a:gd name="connsiteX8" fmla="*/ 2422 w 2421"/>
                <a:gd name="connsiteY8" fmla="*/ 600 h 1349"/>
                <a:gd name="connsiteX9" fmla="*/ 2422 w 2421"/>
                <a:gd name="connsiteY9" fmla="*/ 60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1" h="1349">
                  <a:moveTo>
                    <a:pt x="2422" y="600"/>
                  </a:moveTo>
                  <a:cubicBezTo>
                    <a:pt x="2422" y="269"/>
                    <a:pt x="2153" y="0"/>
                    <a:pt x="1821" y="0"/>
                  </a:cubicBezTo>
                  <a:lnTo>
                    <a:pt x="600" y="0"/>
                  </a:lnTo>
                  <a:cubicBezTo>
                    <a:pt x="269" y="0"/>
                    <a:pt x="0" y="269"/>
                    <a:pt x="0" y="600"/>
                  </a:cubicBezTo>
                  <a:lnTo>
                    <a:pt x="0" y="749"/>
                  </a:lnTo>
                  <a:cubicBezTo>
                    <a:pt x="0" y="1081"/>
                    <a:pt x="269" y="1350"/>
                    <a:pt x="600" y="1350"/>
                  </a:cubicBezTo>
                  <a:lnTo>
                    <a:pt x="1821" y="1350"/>
                  </a:lnTo>
                  <a:cubicBezTo>
                    <a:pt x="2153" y="1350"/>
                    <a:pt x="2422" y="1081"/>
                    <a:pt x="2422" y="749"/>
                  </a:cubicBezTo>
                  <a:lnTo>
                    <a:pt x="2422" y="600"/>
                  </a:lnTo>
                  <a:lnTo>
                    <a:pt x="2422" y="60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3" name="Freeform: Shape 3032">
              <a:extLst>
                <a:ext uri="{FF2B5EF4-FFF2-40B4-BE49-F238E27FC236}">
                  <a16:creationId xmlns:a16="http://schemas.microsoft.com/office/drawing/2014/main" id="{F0358616-0510-E8A8-6487-7074DA056657}"/>
                </a:ext>
              </a:extLst>
            </p:cNvPr>
            <p:cNvSpPr/>
            <p:nvPr/>
          </p:nvSpPr>
          <p:spPr>
            <a:xfrm>
              <a:off x="9124693" y="3577560"/>
              <a:ext cx="2421" cy="1349"/>
            </a:xfrm>
            <a:custGeom>
              <a:avLst/>
              <a:gdLst>
                <a:gd name="connsiteX0" fmla="*/ 2422 w 2421"/>
                <a:gd name="connsiteY0" fmla="*/ 676 h 1349"/>
                <a:gd name="connsiteX1" fmla="*/ 1748 w 2421"/>
                <a:gd name="connsiteY1" fmla="*/ 0 h 1349"/>
                <a:gd name="connsiteX2" fmla="*/ 674 w 2421"/>
                <a:gd name="connsiteY2" fmla="*/ 0 h 1349"/>
                <a:gd name="connsiteX3" fmla="*/ 0 w 2421"/>
                <a:gd name="connsiteY3" fmla="*/ 676 h 1349"/>
                <a:gd name="connsiteX4" fmla="*/ 674 w 2421"/>
                <a:gd name="connsiteY4" fmla="*/ 1350 h 1349"/>
                <a:gd name="connsiteX5" fmla="*/ 1748 w 2421"/>
                <a:gd name="connsiteY5" fmla="*/ 1350 h 1349"/>
                <a:gd name="connsiteX6" fmla="*/ 2422 w 2421"/>
                <a:gd name="connsiteY6" fmla="*/ 676 h 1349"/>
                <a:gd name="connsiteX7" fmla="*/ 2422 w 2421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1" h="1349">
                  <a:moveTo>
                    <a:pt x="2422" y="676"/>
                  </a:moveTo>
                  <a:cubicBezTo>
                    <a:pt x="2422" y="303"/>
                    <a:pt x="2121" y="0"/>
                    <a:pt x="1748" y="0"/>
                  </a:cubicBezTo>
                  <a:lnTo>
                    <a:pt x="674" y="0"/>
                  </a:lnTo>
                  <a:cubicBezTo>
                    <a:pt x="301" y="0"/>
                    <a:pt x="0" y="303"/>
                    <a:pt x="0" y="676"/>
                  </a:cubicBezTo>
                  <a:cubicBezTo>
                    <a:pt x="0" y="1049"/>
                    <a:pt x="301" y="1350"/>
                    <a:pt x="674" y="1350"/>
                  </a:cubicBezTo>
                  <a:lnTo>
                    <a:pt x="1748" y="1350"/>
                  </a:lnTo>
                  <a:cubicBezTo>
                    <a:pt x="2121" y="1350"/>
                    <a:pt x="2422" y="1049"/>
                    <a:pt x="2422" y="676"/>
                  </a:cubicBezTo>
                  <a:lnTo>
                    <a:pt x="2422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4" name="Freeform: Shape 3033">
              <a:extLst>
                <a:ext uri="{FF2B5EF4-FFF2-40B4-BE49-F238E27FC236}">
                  <a16:creationId xmlns:a16="http://schemas.microsoft.com/office/drawing/2014/main" id="{A9D586E0-1C33-2A8A-A00D-58F23EBFC960}"/>
                </a:ext>
              </a:extLst>
            </p:cNvPr>
            <p:cNvSpPr/>
            <p:nvPr/>
          </p:nvSpPr>
          <p:spPr>
            <a:xfrm>
              <a:off x="9119970" y="3574079"/>
              <a:ext cx="2783" cy="1349"/>
            </a:xfrm>
            <a:custGeom>
              <a:avLst/>
              <a:gdLst>
                <a:gd name="connsiteX0" fmla="*/ 2784 w 2783"/>
                <a:gd name="connsiteY0" fmla="*/ 635 h 1349"/>
                <a:gd name="connsiteX1" fmla="*/ 2149 w 2783"/>
                <a:gd name="connsiteY1" fmla="*/ 0 h 1349"/>
                <a:gd name="connsiteX2" fmla="*/ 635 w 2783"/>
                <a:gd name="connsiteY2" fmla="*/ 0 h 1349"/>
                <a:gd name="connsiteX3" fmla="*/ 0 w 2783"/>
                <a:gd name="connsiteY3" fmla="*/ 635 h 1349"/>
                <a:gd name="connsiteX4" fmla="*/ 0 w 2783"/>
                <a:gd name="connsiteY4" fmla="*/ 715 h 1349"/>
                <a:gd name="connsiteX5" fmla="*/ 635 w 2783"/>
                <a:gd name="connsiteY5" fmla="*/ 1350 h 1349"/>
                <a:gd name="connsiteX6" fmla="*/ 2149 w 2783"/>
                <a:gd name="connsiteY6" fmla="*/ 1350 h 1349"/>
                <a:gd name="connsiteX7" fmla="*/ 2784 w 2783"/>
                <a:gd name="connsiteY7" fmla="*/ 715 h 1349"/>
                <a:gd name="connsiteX8" fmla="*/ 2784 w 2783"/>
                <a:gd name="connsiteY8" fmla="*/ 635 h 1349"/>
                <a:gd name="connsiteX9" fmla="*/ 2784 w 2783"/>
                <a:gd name="connsiteY9" fmla="*/ 635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3" h="1349">
                  <a:moveTo>
                    <a:pt x="2784" y="635"/>
                  </a:moveTo>
                  <a:cubicBezTo>
                    <a:pt x="2784" y="285"/>
                    <a:pt x="2499" y="0"/>
                    <a:pt x="2149" y="0"/>
                  </a:cubicBezTo>
                  <a:lnTo>
                    <a:pt x="635" y="0"/>
                  </a:lnTo>
                  <a:cubicBezTo>
                    <a:pt x="283" y="0"/>
                    <a:pt x="0" y="285"/>
                    <a:pt x="0" y="635"/>
                  </a:cubicBezTo>
                  <a:lnTo>
                    <a:pt x="0" y="715"/>
                  </a:lnTo>
                  <a:cubicBezTo>
                    <a:pt x="0" y="1067"/>
                    <a:pt x="283" y="1350"/>
                    <a:pt x="635" y="1350"/>
                  </a:cubicBezTo>
                  <a:lnTo>
                    <a:pt x="2149" y="1350"/>
                  </a:lnTo>
                  <a:cubicBezTo>
                    <a:pt x="2499" y="1350"/>
                    <a:pt x="2784" y="1067"/>
                    <a:pt x="2784" y="715"/>
                  </a:cubicBezTo>
                  <a:lnTo>
                    <a:pt x="2784" y="635"/>
                  </a:lnTo>
                  <a:lnTo>
                    <a:pt x="2784" y="635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5" name="Freeform: Shape 3034">
              <a:extLst>
                <a:ext uri="{FF2B5EF4-FFF2-40B4-BE49-F238E27FC236}">
                  <a16:creationId xmlns:a16="http://schemas.microsoft.com/office/drawing/2014/main" id="{8EC1EA6D-7E36-4DA3-D482-EB7AA6BF355E}"/>
                </a:ext>
              </a:extLst>
            </p:cNvPr>
            <p:cNvSpPr/>
            <p:nvPr/>
          </p:nvSpPr>
          <p:spPr>
            <a:xfrm>
              <a:off x="9117296" y="3574079"/>
              <a:ext cx="2168" cy="1349"/>
            </a:xfrm>
            <a:custGeom>
              <a:avLst/>
              <a:gdLst>
                <a:gd name="connsiteX0" fmla="*/ 2169 w 2168"/>
                <a:gd name="connsiteY0" fmla="*/ 627 h 1349"/>
                <a:gd name="connsiteX1" fmla="*/ 1542 w 2168"/>
                <a:gd name="connsiteY1" fmla="*/ 0 h 1349"/>
                <a:gd name="connsiteX2" fmla="*/ 627 w 2168"/>
                <a:gd name="connsiteY2" fmla="*/ 0 h 1349"/>
                <a:gd name="connsiteX3" fmla="*/ 0 w 2168"/>
                <a:gd name="connsiteY3" fmla="*/ 627 h 1349"/>
                <a:gd name="connsiteX4" fmla="*/ 0 w 2168"/>
                <a:gd name="connsiteY4" fmla="*/ 722 h 1349"/>
                <a:gd name="connsiteX5" fmla="*/ 627 w 2168"/>
                <a:gd name="connsiteY5" fmla="*/ 1350 h 1349"/>
                <a:gd name="connsiteX6" fmla="*/ 1542 w 2168"/>
                <a:gd name="connsiteY6" fmla="*/ 1350 h 1349"/>
                <a:gd name="connsiteX7" fmla="*/ 2169 w 2168"/>
                <a:gd name="connsiteY7" fmla="*/ 722 h 1349"/>
                <a:gd name="connsiteX8" fmla="*/ 2169 w 2168"/>
                <a:gd name="connsiteY8" fmla="*/ 627 h 1349"/>
                <a:gd name="connsiteX9" fmla="*/ 2169 w 2168"/>
                <a:gd name="connsiteY9" fmla="*/ 62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8" h="1349">
                  <a:moveTo>
                    <a:pt x="2169" y="627"/>
                  </a:moveTo>
                  <a:cubicBezTo>
                    <a:pt x="2169" y="281"/>
                    <a:pt x="1889" y="0"/>
                    <a:pt x="1542" y="0"/>
                  </a:cubicBezTo>
                  <a:lnTo>
                    <a:pt x="627" y="0"/>
                  </a:lnTo>
                  <a:cubicBezTo>
                    <a:pt x="280" y="0"/>
                    <a:pt x="0" y="281"/>
                    <a:pt x="0" y="627"/>
                  </a:cubicBezTo>
                  <a:lnTo>
                    <a:pt x="0" y="722"/>
                  </a:lnTo>
                  <a:cubicBezTo>
                    <a:pt x="0" y="1070"/>
                    <a:pt x="280" y="1350"/>
                    <a:pt x="627" y="1350"/>
                  </a:cubicBezTo>
                  <a:lnTo>
                    <a:pt x="1542" y="1350"/>
                  </a:lnTo>
                  <a:cubicBezTo>
                    <a:pt x="1889" y="1350"/>
                    <a:pt x="2169" y="1070"/>
                    <a:pt x="2169" y="722"/>
                  </a:cubicBezTo>
                  <a:lnTo>
                    <a:pt x="2169" y="627"/>
                  </a:lnTo>
                  <a:lnTo>
                    <a:pt x="2169" y="62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6" name="Freeform: Shape 3035">
              <a:extLst>
                <a:ext uri="{FF2B5EF4-FFF2-40B4-BE49-F238E27FC236}">
                  <a16:creationId xmlns:a16="http://schemas.microsoft.com/office/drawing/2014/main" id="{1B2E485F-B2BE-816B-FE90-C0CCA89CD3F1}"/>
                </a:ext>
              </a:extLst>
            </p:cNvPr>
            <p:cNvSpPr/>
            <p:nvPr/>
          </p:nvSpPr>
          <p:spPr>
            <a:xfrm>
              <a:off x="9109427" y="3574079"/>
              <a:ext cx="7433" cy="1349"/>
            </a:xfrm>
            <a:custGeom>
              <a:avLst/>
              <a:gdLst>
                <a:gd name="connsiteX0" fmla="*/ 7434 w 7433"/>
                <a:gd name="connsiteY0" fmla="*/ 660 h 1349"/>
                <a:gd name="connsiteX1" fmla="*/ 6774 w 7433"/>
                <a:gd name="connsiteY1" fmla="*/ 0 h 1349"/>
                <a:gd name="connsiteX2" fmla="*/ 661 w 7433"/>
                <a:gd name="connsiteY2" fmla="*/ 0 h 1349"/>
                <a:gd name="connsiteX3" fmla="*/ 0 w 7433"/>
                <a:gd name="connsiteY3" fmla="*/ 660 h 1349"/>
                <a:gd name="connsiteX4" fmla="*/ 0 w 7433"/>
                <a:gd name="connsiteY4" fmla="*/ 690 h 1349"/>
                <a:gd name="connsiteX5" fmla="*/ 661 w 7433"/>
                <a:gd name="connsiteY5" fmla="*/ 1350 h 1349"/>
                <a:gd name="connsiteX6" fmla="*/ 6774 w 7433"/>
                <a:gd name="connsiteY6" fmla="*/ 1350 h 1349"/>
                <a:gd name="connsiteX7" fmla="*/ 7434 w 7433"/>
                <a:gd name="connsiteY7" fmla="*/ 690 h 1349"/>
                <a:gd name="connsiteX8" fmla="*/ 7434 w 7433"/>
                <a:gd name="connsiteY8" fmla="*/ 660 h 1349"/>
                <a:gd name="connsiteX9" fmla="*/ 7434 w 7433"/>
                <a:gd name="connsiteY9" fmla="*/ 66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3" h="1349">
                  <a:moveTo>
                    <a:pt x="7434" y="660"/>
                  </a:moveTo>
                  <a:cubicBezTo>
                    <a:pt x="7434" y="296"/>
                    <a:pt x="7138" y="0"/>
                    <a:pt x="6774" y="0"/>
                  </a:cubicBezTo>
                  <a:lnTo>
                    <a:pt x="661" y="0"/>
                  </a:lnTo>
                  <a:cubicBezTo>
                    <a:pt x="296" y="0"/>
                    <a:pt x="0" y="296"/>
                    <a:pt x="0" y="660"/>
                  </a:cubicBezTo>
                  <a:lnTo>
                    <a:pt x="0" y="690"/>
                  </a:lnTo>
                  <a:cubicBezTo>
                    <a:pt x="0" y="1054"/>
                    <a:pt x="296" y="1350"/>
                    <a:pt x="661" y="1350"/>
                  </a:cubicBezTo>
                  <a:lnTo>
                    <a:pt x="6774" y="1350"/>
                  </a:lnTo>
                  <a:cubicBezTo>
                    <a:pt x="7138" y="1350"/>
                    <a:pt x="7434" y="1054"/>
                    <a:pt x="7434" y="690"/>
                  </a:cubicBezTo>
                  <a:lnTo>
                    <a:pt x="7434" y="660"/>
                  </a:lnTo>
                  <a:lnTo>
                    <a:pt x="7434" y="66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7" name="Freeform: Shape 3036">
              <a:extLst>
                <a:ext uri="{FF2B5EF4-FFF2-40B4-BE49-F238E27FC236}">
                  <a16:creationId xmlns:a16="http://schemas.microsoft.com/office/drawing/2014/main" id="{128FC36D-7D0A-BB1E-614D-F0A2796C00F6}"/>
                </a:ext>
              </a:extLst>
            </p:cNvPr>
            <p:cNvSpPr/>
            <p:nvPr/>
          </p:nvSpPr>
          <p:spPr>
            <a:xfrm>
              <a:off x="9090720" y="3589652"/>
              <a:ext cx="9059" cy="1349"/>
            </a:xfrm>
            <a:custGeom>
              <a:avLst/>
              <a:gdLst>
                <a:gd name="connsiteX0" fmla="*/ 9059 w 9059"/>
                <a:gd name="connsiteY0" fmla="*/ 629 h 1349"/>
                <a:gd name="connsiteX1" fmla="*/ 8430 w 9059"/>
                <a:gd name="connsiteY1" fmla="*/ 0 h 1349"/>
                <a:gd name="connsiteX2" fmla="*/ 629 w 9059"/>
                <a:gd name="connsiteY2" fmla="*/ 0 h 1349"/>
                <a:gd name="connsiteX3" fmla="*/ 0 w 9059"/>
                <a:gd name="connsiteY3" fmla="*/ 629 h 1349"/>
                <a:gd name="connsiteX4" fmla="*/ 0 w 9059"/>
                <a:gd name="connsiteY4" fmla="*/ 719 h 1349"/>
                <a:gd name="connsiteX5" fmla="*/ 629 w 9059"/>
                <a:gd name="connsiteY5" fmla="*/ 1350 h 1349"/>
                <a:gd name="connsiteX6" fmla="*/ 8430 w 9059"/>
                <a:gd name="connsiteY6" fmla="*/ 1350 h 1349"/>
                <a:gd name="connsiteX7" fmla="*/ 9059 w 9059"/>
                <a:gd name="connsiteY7" fmla="*/ 719 h 1349"/>
                <a:gd name="connsiteX8" fmla="*/ 9059 w 9059"/>
                <a:gd name="connsiteY8" fmla="*/ 629 h 1349"/>
                <a:gd name="connsiteX9" fmla="*/ 9059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9059" y="629"/>
                  </a:moveTo>
                  <a:cubicBezTo>
                    <a:pt x="9059" y="281"/>
                    <a:pt x="8778" y="0"/>
                    <a:pt x="8430" y="0"/>
                  </a:cubicBezTo>
                  <a:lnTo>
                    <a:pt x="629" y="0"/>
                  </a:lnTo>
                  <a:cubicBezTo>
                    <a:pt x="281" y="0"/>
                    <a:pt x="0" y="281"/>
                    <a:pt x="0" y="629"/>
                  </a:cubicBezTo>
                  <a:lnTo>
                    <a:pt x="0" y="719"/>
                  </a:lnTo>
                  <a:cubicBezTo>
                    <a:pt x="0" y="1067"/>
                    <a:pt x="281" y="1350"/>
                    <a:pt x="629" y="1350"/>
                  </a:cubicBezTo>
                  <a:lnTo>
                    <a:pt x="8430" y="1350"/>
                  </a:lnTo>
                  <a:cubicBezTo>
                    <a:pt x="8778" y="1350"/>
                    <a:pt x="9059" y="1067"/>
                    <a:pt x="9059" y="719"/>
                  </a:cubicBezTo>
                  <a:lnTo>
                    <a:pt x="9059" y="629"/>
                  </a:lnTo>
                  <a:lnTo>
                    <a:pt x="9059" y="629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8" name="Freeform: Shape 3037">
              <a:extLst>
                <a:ext uri="{FF2B5EF4-FFF2-40B4-BE49-F238E27FC236}">
                  <a16:creationId xmlns:a16="http://schemas.microsoft.com/office/drawing/2014/main" id="{0B4DBCE6-C415-6150-0F07-DB27BFD5D396}"/>
                </a:ext>
              </a:extLst>
            </p:cNvPr>
            <p:cNvSpPr/>
            <p:nvPr/>
          </p:nvSpPr>
          <p:spPr>
            <a:xfrm>
              <a:off x="9118056" y="3586130"/>
              <a:ext cx="9059" cy="1349"/>
            </a:xfrm>
            <a:custGeom>
              <a:avLst/>
              <a:gdLst>
                <a:gd name="connsiteX0" fmla="*/ 0 w 9059"/>
                <a:gd name="connsiteY0" fmla="*/ 629 h 1349"/>
                <a:gd name="connsiteX1" fmla="*/ 631 w 9059"/>
                <a:gd name="connsiteY1" fmla="*/ 0 h 1349"/>
                <a:gd name="connsiteX2" fmla="*/ 8430 w 9059"/>
                <a:gd name="connsiteY2" fmla="*/ 0 h 1349"/>
                <a:gd name="connsiteX3" fmla="*/ 9059 w 9059"/>
                <a:gd name="connsiteY3" fmla="*/ 629 h 1349"/>
                <a:gd name="connsiteX4" fmla="*/ 9059 w 9059"/>
                <a:gd name="connsiteY4" fmla="*/ 721 h 1349"/>
                <a:gd name="connsiteX5" fmla="*/ 8430 w 9059"/>
                <a:gd name="connsiteY5" fmla="*/ 1350 h 1349"/>
                <a:gd name="connsiteX6" fmla="*/ 631 w 9059"/>
                <a:gd name="connsiteY6" fmla="*/ 1350 h 1349"/>
                <a:gd name="connsiteX7" fmla="*/ 0 w 9059"/>
                <a:gd name="connsiteY7" fmla="*/ 721 h 1349"/>
                <a:gd name="connsiteX8" fmla="*/ 0 w 9059"/>
                <a:gd name="connsiteY8" fmla="*/ 629 h 1349"/>
                <a:gd name="connsiteX9" fmla="*/ 0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0" y="629"/>
                  </a:moveTo>
                  <a:cubicBezTo>
                    <a:pt x="0" y="281"/>
                    <a:pt x="283" y="0"/>
                    <a:pt x="631" y="0"/>
                  </a:cubicBezTo>
                  <a:lnTo>
                    <a:pt x="8430" y="0"/>
                  </a:lnTo>
                  <a:cubicBezTo>
                    <a:pt x="8778" y="0"/>
                    <a:pt x="9059" y="281"/>
                    <a:pt x="9059" y="629"/>
                  </a:cubicBezTo>
                  <a:lnTo>
                    <a:pt x="9059" y="721"/>
                  </a:lnTo>
                  <a:cubicBezTo>
                    <a:pt x="9059" y="1068"/>
                    <a:pt x="8778" y="1350"/>
                    <a:pt x="8430" y="1350"/>
                  </a:cubicBezTo>
                  <a:lnTo>
                    <a:pt x="631" y="1350"/>
                  </a:lnTo>
                  <a:cubicBezTo>
                    <a:pt x="283" y="1350"/>
                    <a:pt x="0" y="1068"/>
                    <a:pt x="0" y="721"/>
                  </a:cubicBezTo>
                  <a:lnTo>
                    <a:pt x="0" y="629"/>
                  </a:lnTo>
                  <a:lnTo>
                    <a:pt x="0" y="62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9" name="Freeform: Shape 3038">
              <a:extLst>
                <a:ext uri="{FF2B5EF4-FFF2-40B4-BE49-F238E27FC236}">
                  <a16:creationId xmlns:a16="http://schemas.microsoft.com/office/drawing/2014/main" id="{0D834BA3-CCB0-43E4-F874-EAA51E71F75A}"/>
                </a:ext>
              </a:extLst>
            </p:cNvPr>
            <p:cNvSpPr/>
            <p:nvPr/>
          </p:nvSpPr>
          <p:spPr>
            <a:xfrm>
              <a:off x="9109427" y="3593133"/>
              <a:ext cx="9059" cy="1349"/>
            </a:xfrm>
            <a:custGeom>
              <a:avLst/>
              <a:gdLst>
                <a:gd name="connsiteX0" fmla="*/ 9059 w 9059"/>
                <a:gd name="connsiteY0" fmla="*/ 674 h 1349"/>
                <a:gd name="connsiteX1" fmla="*/ 8385 w 9059"/>
                <a:gd name="connsiteY1" fmla="*/ 0 h 1349"/>
                <a:gd name="connsiteX2" fmla="*/ 676 w 9059"/>
                <a:gd name="connsiteY2" fmla="*/ 0 h 1349"/>
                <a:gd name="connsiteX3" fmla="*/ 0 w 9059"/>
                <a:gd name="connsiteY3" fmla="*/ 674 h 1349"/>
                <a:gd name="connsiteX4" fmla="*/ 676 w 9059"/>
                <a:gd name="connsiteY4" fmla="*/ 1350 h 1349"/>
                <a:gd name="connsiteX5" fmla="*/ 8385 w 9059"/>
                <a:gd name="connsiteY5" fmla="*/ 1350 h 1349"/>
                <a:gd name="connsiteX6" fmla="*/ 9059 w 9059"/>
                <a:gd name="connsiteY6" fmla="*/ 674 h 1349"/>
                <a:gd name="connsiteX7" fmla="*/ 9059 w 9059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9" h="1349">
                  <a:moveTo>
                    <a:pt x="9059" y="674"/>
                  </a:moveTo>
                  <a:cubicBezTo>
                    <a:pt x="9059" y="301"/>
                    <a:pt x="8758" y="0"/>
                    <a:pt x="8385" y="0"/>
                  </a:cubicBezTo>
                  <a:lnTo>
                    <a:pt x="676" y="0"/>
                  </a:lnTo>
                  <a:cubicBezTo>
                    <a:pt x="303" y="0"/>
                    <a:pt x="0" y="301"/>
                    <a:pt x="0" y="674"/>
                  </a:cubicBezTo>
                  <a:cubicBezTo>
                    <a:pt x="0" y="1047"/>
                    <a:pt x="303" y="1350"/>
                    <a:pt x="676" y="1350"/>
                  </a:cubicBezTo>
                  <a:lnTo>
                    <a:pt x="8385" y="1350"/>
                  </a:lnTo>
                  <a:cubicBezTo>
                    <a:pt x="8758" y="1350"/>
                    <a:pt x="9059" y="1047"/>
                    <a:pt x="9059" y="674"/>
                  </a:cubicBezTo>
                  <a:lnTo>
                    <a:pt x="9059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0" name="Freeform: Shape 3039">
              <a:extLst>
                <a:ext uri="{FF2B5EF4-FFF2-40B4-BE49-F238E27FC236}">
                  <a16:creationId xmlns:a16="http://schemas.microsoft.com/office/drawing/2014/main" id="{C9437517-1F6D-89FA-20F1-618B646CF727}"/>
                </a:ext>
              </a:extLst>
            </p:cNvPr>
            <p:cNvSpPr/>
            <p:nvPr/>
          </p:nvSpPr>
          <p:spPr>
            <a:xfrm>
              <a:off x="9100358" y="3589652"/>
              <a:ext cx="5074" cy="1349"/>
            </a:xfrm>
            <a:custGeom>
              <a:avLst/>
              <a:gdLst>
                <a:gd name="connsiteX0" fmla="*/ 5075 w 5074"/>
                <a:gd name="connsiteY0" fmla="*/ 617 h 1349"/>
                <a:gd name="connsiteX1" fmla="*/ 4458 w 5074"/>
                <a:gd name="connsiteY1" fmla="*/ 0 h 1349"/>
                <a:gd name="connsiteX2" fmla="*/ 617 w 5074"/>
                <a:gd name="connsiteY2" fmla="*/ 0 h 1349"/>
                <a:gd name="connsiteX3" fmla="*/ 0 w 5074"/>
                <a:gd name="connsiteY3" fmla="*/ 617 h 1349"/>
                <a:gd name="connsiteX4" fmla="*/ 0 w 5074"/>
                <a:gd name="connsiteY4" fmla="*/ 733 h 1349"/>
                <a:gd name="connsiteX5" fmla="*/ 617 w 5074"/>
                <a:gd name="connsiteY5" fmla="*/ 1350 h 1349"/>
                <a:gd name="connsiteX6" fmla="*/ 4458 w 5074"/>
                <a:gd name="connsiteY6" fmla="*/ 1350 h 1349"/>
                <a:gd name="connsiteX7" fmla="*/ 5075 w 5074"/>
                <a:gd name="connsiteY7" fmla="*/ 733 h 1349"/>
                <a:gd name="connsiteX8" fmla="*/ 5075 w 5074"/>
                <a:gd name="connsiteY8" fmla="*/ 617 h 1349"/>
                <a:gd name="connsiteX9" fmla="*/ 5075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5075" y="617"/>
                  </a:moveTo>
                  <a:cubicBezTo>
                    <a:pt x="5075" y="276"/>
                    <a:pt x="4799" y="0"/>
                    <a:pt x="4458" y="0"/>
                  </a:cubicBezTo>
                  <a:lnTo>
                    <a:pt x="617" y="0"/>
                  </a:lnTo>
                  <a:cubicBezTo>
                    <a:pt x="276" y="0"/>
                    <a:pt x="0" y="276"/>
                    <a:pt x="0" y="617"/>
                  </a:cubicBezTo>
                  <a:lnTo>
                    <a:pt x="0" y="733"/>
                  </a:lnTo>
                  <a:cubicBezTo>
                    <a:pt x="0" y="1074"/>
                    <a:pt x="276" y="1350"/>
                    <a:pt x="617" y="1350"/>
                  </a:cubicBezTo>
                  <a:lnTo>
                    <a:pt x="4458" y="1350"/>
                  </a:lnTo>
                  <a:cubicBezTo>
                    <a:pt x="4799" y="1350"/>
                    <a:pt x="5075" y="1074"/>
                    <a:pt x="5075" y="733"/>
                  </a:cubicBezTo>
                  <a:lnTo>
                    <a:pt x="5075" y="617"/>
                  </a:lnTo>
                  <a:lnTo>
                    <a:pt x="5075" y="61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1" name="Freeform: Shape 3040">
              <a:extLst>
                <a:ext uri="{FF2B5EF4-FFF2-40B4-BE49-F238E27FC236}">
                  <a16:creationId xmlns:a16="http://schemas.microsoft.com/office/drawing/2014/main" id="{BFB01DE5-A56D-3D78-4994-975FDFBC5794}"/>
                </a:ext>
              </a:extLst>
            </p:cNvPr>
            <p:cNvSpPr/>
            <p:nvPr/>
          </p:nvSpPr>
          <p:spPr>
            <a:xfrm>
              <a:off x="9112402" y="3586130"/>
              <a:ext cx="5074" cy="1349"/>
            </a:xfrm>
            <a:custGeom>
              <a:avLst/>
              <a:gdLst>
                <a:gd name="connsiteX0" fmla="*/ 0 w 5074"/>
                <a:gd name="connsiteY0" fmla="*/ 617 h 1349"/>
                <a:gd name="connsiteX1" fmla="*/ 617 w 5074"/>
                <a:gd name="connsiteY1" fmla="*/ 0 h 1349"/>
                <a:gd name="connsiteX2" fmla="*/ 4458 w 5074"/>
                <a:gd name="connsiteY2" fmla="*/ 0 h 1349"/>
                <a:gd name="connsiteX3" fmla="*/ 5075 w 5074"/>
                <a:gd name="connsiteY3" fmla="*/ 617 h 1349"/>
                <a:gd name="connsiteX4" fmla="*/ 5075 w 5074"/>
                <a:gd name="connsiteY4" fmla="*/ 733 h 1349"/>
                <a:gd name="connsiteX5" fmla="*/ 4458 w 5074"/>
                <a:gd name="connsiteY5" fmla="*/ 1350 h 1349"/>
                <a:gd name="connsiteX6" fmla="*/ 617 w 5074"/>
                <a:gd name="connsiteY6" fmla="*/ 1350 h 1349"/>
                <a:gd name="connsiteX7" fmla="*/ 0 w 5074"/>
                <a:gd name="connsiteY7" fmla="*/ 733 h 1349"/>
                <a:gd name="connsiteX8" fmla="*/ 0 w 5074"/>
                <a:gd name="connsiteY8" fmla="*/ 617 h 1349"/>
                <a:gd name="connsiteX9" fmla="*/ 0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0" y="617"/>
                  </a:moveTo>
                  <a:cubicBezTo>
                    <a:pt x="0" y="276"/>
                    <a:pt x="276" y="0"/>
                    <a:pt x="617" y="0"/>
                  </a:cubicBezTo>
                  <a:lnTo>
                    <a:pt x="4458" y="0"/>
                  </a:lnTo>
                  <a:cubicBezTo>
                    <a:pt x="4799" y="0"/>
                    <a:pt x="5075" y="276"/>
                    <a:pt x="5075" y="617"/>
                  </a:cubicBezTo>
                  <a:lnTo>
                    <a:pt x="5075" y="733"/>
                  </a:lnTo>
                  <a:cubicBezTo>
                    <a:pt x="5075" y="1074"/>
                    <a:pt x="4799" y="1350"/>
                    <a:pt x="4458" y="1350"/>
                  </a:cubicBezTo>
                  <a:lnTo>
                    <a:pt x="617" y="1350"/>
                  </a:lnTo>
                  <a:cubicBezTo>
                    <a:pt x="276" y="1350"/>
                    <a:pt x="0" y="1074"/>
                    <a:pt x="0" y="733"/>
                  </a:cubicBezTo>
                  <a:lnTo>
                    <a:pt x="0" y="617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2" name="Freeform: Shape 3041">
              <a:extLst>
                <a:ext uri="{FF2B5EF4-FFF2-40B4-BE49-F238E27FC236}">
                  <a16:creationId xmlns:a16="http://schemas.microsoft.com/office/drawing/2014/main" id="{6F973A7C-4FB5-E8E8-D72B-8BD5B0B9F068}"/>
                </a:ext>
              </a:extLst>
            </p:cNvPr>
            <p:cNvSpPr/>
            <p:nvPr/>
          </p:nvSpPr>
          <p:spPr>
            <a:xfrm>
              <a:off x="9119067" y="3593133"/>
              <a:ext cx="5074" cy="1349"/>
            </a:xfrm>
            <a:custGeom>
              <a:avLst/>
              <a:gdLst>
                <a:gd name="connsiteX0" fmla="*/ 5075 w 5074"/>
                <a:gd name="connsiteY0" fmla="*/ 674 h 1349"/>
                <a:gd name="connsiteX1" fmla="*/ 4399 w 5074"/>
                <a:gd name="connsiteY1" fmla="*/ 0 h 1349"/>
                <a:gd name="connsiteX2" fmla="*/ 674 w 5074"/>
                <a:gd name="connsiteY2" fmla="*/ 0 h 1349"/>
                <a:gd name="connsiteX3" fmla="*/ 0 w 5074"/>
                <a:gd name="connsiteY3" fmla="*/ 674 h 1349"/>
                <a:gd name="connsiteX4" fmla="*/ 674 w 5074"/>
                <a:gd name="connsiteY4" fmla="*/ 1350 h 1349"/>
                <a:gd name="connsiteX5" fmla="*/ 4399 w 5074"/>
                <a:gd name="connsiteY5" fmla="*/ 1350 h 1349"/>
                <a:gd name="connsiteX6" fmla="*/ 5075 w 5074"/>
                <a:gd name="connsiteY6" fmla="*/ 674 h 1349"/>
                <a:gd name="connsiteX7" fmla="*/ 5075 w 5074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5075" y="674"/>
                  </a:moveTo>
                  <a:cubicBezTo>
                    <a:pt x="5075" y="301"/>
                    <a:pt x="4772" y="0"/>
                    <a:pt x="4399" y="0"/>
                  </a:cubicBezTo>
                  <a:lnTo>
                    <a:pt x="674" y="0"/>
                  </a:lnTo>
                  <a:cubicBezTo>
                    <a:pt x="301" y="0"/>
                    <a:pt x="0" y="301"/>
                    <a:pt x="0" y="674"/>
                  </a:cubicBezTo>
                  <a:cubicBezTo>
                    <a:pt x="0" y="1047"/>
                    <a:pt x="301" y="1350"/>
                    <a:pt x="674" y="1350"/>
                  </a:cubicBezTo>
                  <a:lnTo>
                    <a:pt x="4399" y="1350"/>
                  </a:lnTo>
                  <a:cubicBezTo>
                    <a:pt x="4772" y="1350"/>
                    <a:pt x="5075" y="1047"/>
                    <a:pt x="5075" y="674"/>
                  </a:cubicBezTo>
                  <a:lnTo>
                    <a:pt x="5075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3" name="Freeform: Shape 3042">
              <a:extLst>
                <a:ext uri="{FF2B5EF4-FFF2-40B4-BE49-F238E27FC236}">
                  <a16:creationId xmlns:a16="http://schemas.microsoft.com/office/drawing/2014/main" id="{435599D1-92F4-8EE4-083B-AED5DCDE5EB1}"/>
                </a:ext>
              </a:extLst>
            </p:cNvPr>
            <p:cNvSpPr/>
            <p:nvPr/>
          </p:nvSpPr>
          <p:spPr>
            <a:xfrm>
              <a:off x="9103026" y="3593133"/>
              <a:ext cx="5074" cy="1349"/>
            </a:xfrm>
            <a:custGeom>
              <a:avLst/>
              <a:gdLst>
                <a:gd name="connsiteX0" fmla="*/ 5075 w 5074"/>
                <a:gd name="connsiteY0" fmla="*/ 674 h 1349"/>
                <a:gd name="connsiteX1" fmla="*/ 4401 w 5074"/>
                <a:gd name="connsiteY1" fmla="*/ 0 h 1349"/>
                <a:gd name="connsiteX2" fmla="*/ 676 w 5074"/>
                <a:gd name="connsiteY2" fmla="*/ 0 h 1349"/>
                <a:gd name="connsiteX3" fmla="*/ 0 w 5074"/>
                <a:gd name="connsiteY3" fmla="*/ 674 h 1349"/>
                <a:gd name="connsiteX4" fmla="*/ 676 w 5074"/>
                <a:gd name="connsiteY4" fmla="*/ 1350 h 1349"/>
                <a:gd name="connsiteX5" fmla="*/ 4401 w 5074"/>
                <a:gd name="connsiteY5" fmla="*/ 1350 h 1349"/>
                <a:gd name="connsiteX6" fmla="*/ 5075 w 5074"/>
                <a:gd name="connsiteY6" fmla="*/ 674 h 1349"/>
                <a:gd name="connsiteX7" fmla="*/ 5075 w 5074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5075" y="674"/>
                  </a:moveTo>
                  <a:cubicBezTo>
                    <a:pt x="5075" y="301"/>
                    <a:pt x="4773" y="0"/>
                    <a:pt x="4401" y="0"/>
                  </a:cubicBezTo>
                  <a:lnTo>
                    <a:pt x="676" y="0"/>
                  </a:lnTo>
                  <a:cubicBezTo>
                    <a:pt x="303" y="0"/>
                    <a:pt x="0" y="301"/>
                    <a:pt x="0" y="674"/>
                  </a:cubicBezTo>
                  <a:cubicBezTo>
                    <a:pt x="0" y="1047"/>
                    <a:pt x="303" y="1350"/>
                    <a:pt x="676" y="1350"/>
                  </a:cubicBezTo>
                  <a:lnTo>
                    <a:pt x="4401" y="1350"/>
                  </a:lnTo>
                  <a:cubicBezTo>
                    <a:pt x="4773" y="1350"/>
                    <a:pt x="5075" y="1047"/>
                    <a:pt x="5075" y="674"/>
                  </a:cubicBezTo>
                  <a:lnTo>
                    <a:pt x="5075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4" name="Freeform: Shape 3043">
              <a:extLst>
                <a:ext uri="{FF2B5EF4-FFF2-40B4-BE49-F238E27FC236}">
                  <a16:creationId xmlns:a16="http://schemas.microsoft.com/office/drawing/2014/main" id="{CE432EC8-B87A-B55E-FE17-5BBF717C5BE8}"/>
                </a:ext>
              </a:extLst>
            </p:cNvPr>
            <p:cNvSpPr/>
            <p:nvPr/>
          </p:nvSpPr>
          <p:spPr>
            <a:xfrm>
              <a:off x="9123718" y="3589652"/>
              <a:ext cx="3396" cy="1349"/>
            </a:xfrm>
            <a:custGeom>
              <a:avLst/>
              <a:gdLst>
                <a:gd name="connsiteX0" fmla="*/ 3397 w 3396"/>
                <a:gd name="connsiteY0" fmla="*/ 656 h 1349"/>
                <a:gd name="connsiteX1" fmla="*/ 2741 w 3396"/>
                <a:gd name="connsiteY1" fmla="*/ 0 h 1349"/>
                <a:gd name="connsiteX2" fmla="*/ 658 w 3396"/>
                <a:gd name="connsiteY2" fmla="*/ 0 h 1349"/>
                <a:gd name="connsiteX3" fmla="*/ 0 w 3396"/>
                <a:gd name="connsiteY3" fmla="*/ 656 h 1349"/>
                <a:gd name="connsiteX4" fmla="*/ 0 w 3396"/>
                <a:gd name="connsiteY4" fmla="*/ 692 h 1349"/>
                <a:gd name="connsiteX5" fmla="*/ 658 w 3396"/>
                <a:gd name="connsiteY5" fmla="*/ 1350 h 1349"/>
                <a:gd name="connsiteX6" fmla="*/ 2741 w 3396"/>
                <a:gd name="connsiteY6" fmla="*/ 1350 h 1349"/>
                <a:gd name="connsiteX7" fmla="*/ 3397 w 3396"/>
                <a:gd name="connsiteY7" fmla="*/ 692 h 1349"/>
                <a:gd name="connsiteX8" fmla="*/ 3397 w 3396"/>
                <a:gd name="connsiteY8" fmla="*/ 656 h 1349"/>
                <a:gd name="connsiteX9" fmla="*/ 3397 w 3396"/>
                <a:gd name="connsiteY9" fmla="*/ 65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6" h="1349">
                  <a:moveTo>
                    <a:pt x="3397" y="656"/>
                  </a:moveTo>
                  <a:cubicBezTo>
                    <a:pt x="3397" y="294"/>
                    <a:pt x="3103" y="0"/>
                    <a:pt x="2741" y="0"/>
                  </a:cubicBezTo>
                  <a:lnTo>
                    <a:pt x="658" y="0"/>
                  </a:lnTo>
                  <a:cubicBezTo>
                    <a:pt x="294" y="0"/>
                    <a:pt x="0" y="294"/>
                    <a:pt x="0" y="656"/>
                  </a:cubicBezTo>
                  <a:lnTo>
                    <a:pt x="0" y="692"/>
                  </a:lnTo>
                  <a:cubicBezTo>
                    <a:pt x="0" y="1054"/>
                    <a:pt x="294" y="1350"/>
                    <a:pt x="658" y="1350"/>
                  </a:cubicBezTo>
                  <a:lnTo>
                    <a:pt x="2741" y="1350"/>
                  </a:lnTo>
                  <a:cubicBezTo>
                    <a:pt x="3103" y="1350"/>
                    <a:pt x="3397" y="1054"/>
                    <a:pt x="3397" y="692"/>
                  </a:cubicBezTo>
                  <a:lnTo>
                    <a:pt x="3397" y="656"/>
                  </a:lnTo>
                  <a:lnTo>
                    <a:pt x="3397" y="65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5" name="Freeform: Shape 3044">
              <a:extLst>
                <a:ext uri="{FF2B5EF4-FFF2-40B4-BE49-F238E27FC236}">
                  <a16:creationId xmlns:a16="http://schemas.microsoft.com/office/drawing/2014/main" id="{6E15209F-12D9-1E40-0B77-ECB457F97181}"/>
                </a:ext>
              </a:extLst>
            </p:cNvPr>
            <p:cNvSpPr/>
            <p:nvPr/>
          </p:nvSpPr>
          <p:spPr>
            <a:xfrm>
              <a:off x="9105987" y="3589652"/>
              <a:ext cx="2421" cy="1349"/>
            </a:xfrm>
            <a:custGeom>
              <a:avLst/>
              <a:gdLst>
                <a:gd name="connsiteX0" fmla="*/ 2422 w 2421"/>
                <a:gd name="connsiteY0" fmla="*/ 600 h 1349"/>
                <a:gd name="connsiteX1" fmla="*/ 1821 w 2421"/>
                <a:gd name="connsiteY1" fmla="*/ 0 h 1349"/>
                <a:gd name="connsiteX2" fmla="*/ 600 w 2421"/>
                <a:gd name="connsiteY2" fmla="*/ 0 h 1349"/>
                <a:gd name="connsiteX3" fmla="*/ 0 w 2421"/>
                <a:gd name="connsiteY3" fmla="*/ 600 h 1349"/>
                <a:gd name="connsiteX4" fmla="*/ 0 w 2421"/>
                <a:gd name="connsiteY4" fmla="*/ 747 h 1349"/>
                <a:gd name="connsiteX5" fmla="*/ 600 w 2421"/>
                <a:gd name="connsiteY5" fmla="*/ 1350 h 1349"/>
                <a:gd name="connsiteX6" fmla="*/ 1821 w 2421"/>
                <a:gd name="connsiteY6" fmla="*/ 1350 h 1349"/>
                <a:gd name="connsiteX7" fmla="*/ 2422 w 2421"/>
                <a:gd name="connsiteY7" fmla="*/ 747 h 1349"/>
                <a:gd name="connsiteX8" fmla="*/ 2422 w 2421"/>
                <a:gd name="connsiteY8" fmla="*/ 600 h 1349"/>
                <a:gd name="connsiteX9" fmla="*/ 2422 w 2421"/>
                <a:gd name="connsiteY9" fmla="*/ 60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1" h="1349">
                  <a:moveTo>
                    <a:pt x="2422" y="600"/>
                  </a:moveTo>
                  <a:cubicBezTo>
                    <a:pt x="2422" y="269"/>
                    <a:pt x="2153" y="0"/>
                    <a:pt x="1821" y="0"/>
                  </a:cubicBezTo>
                  <a:lnTo>
                    <a:pt x="600" y="0"/>
                  </a:lnTo>
                  <a:cubicBezTo>
                    <a:pt x="269" y="0"/>
                    <a:pt x="0" y="269"/>
                    <a:pt x="0" y="600"/>
                  </a:cubicBezTo>
                  <a:lnTo>
                    <a:pt x="0" y="747"/>
                  </a:lnTo>
                  <a:cubicBezTo>
                    <a:pt x="0" y="1081"/>
                    <a:pt x="269" y="1350"/>
                    <a:pt x="600" y="1350"/>
                  </a:cubicBezTo>
                  <a:lnTo>
                    <a:pt x="1821" y="1350"/>
                  </a:lnTo>
                  <a:cubicBezTo>
                    <a:pt x="2153" y="1350"/>
                    <a:pt x="2422" y="1081"/>
                    <a:pt x="2422" y="747"/>
                  </a:cubicBezTo>
                  <a:lnTo>
                    <a:pt x="2422" y="600"/>
                  </a:lnTo>
                  <a:lnTo>
                    <a:pt x="2422" y="60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6" name="Freeform: Shape 3045">
              <a:extLst>
                <a:ext uri="{FF2B5EF4-FFF2-40B4-BE49-F238E27FC236}">
                  <a16:creationId xmlns:a16="http://schemas.microsoft.com/office/drawing/2014/main" id="{9AE615C6-0177-E276-2924-3EDB7E3ADD48}"/>
                </a:ext>
              </a:extLst>
            </p:cNvPr>
            <p:cNvSpPr/>
            <p:nvPr/>
          </p:nvSpPr>
          <p:spPr>
            <a:xfrm>
              <a:off x="9109427" y="3586130"/>
              <a:ext cx="2423" cy="1349"/>
            </a:xfrm>
            <a:custGeom>
              <a:avLst/>
              <a:gdLst>
                <a:gd name="connsiteX0" fmla="*/ 0 w 2423"/>
                <a:gd name="connsiteY0" fmla="*/ 600 h 1349"/>
                <a:gd name="connsiteX1" fmla="*/ 602 w 2423"/>
                <a:gd name="connsiteY1" fmla="*/ 0 h 1349"/>
                <a:gd name="connsiteX2" fmla="*/ 1823 w 2423"/>
                <a:gd name="connsiteY2" fmla="*/ 0 h 1349"/>
                <a:gd name="connsiteX3" fmla="*/ 2423 w 2423"/>
                <a:gd name="connsiteY3" fmla="*/ 600 h 1349"/>
                <a:gd name="connsiteX4" fmla="*/ 2423 w 2423"/>
                <a:gd name="connsiteY4" fmla="*/ 749 h 1349"/>
                <a:gd name="connsiteX5" fmla="*/ 1823 w 2423"/>
                <a:gd name="connsiteY5" fmla="*/ 1350 h 1349"/>
                <a:gd name="connsiteX6" fmla="*/ 602 w 2423"/>
                <a:gd name="connsiteY6" fmla="*/ 1350 h 1349"/>
                <a:gd name="connsiteX7" fmla="*/ 0 w 2423"/>
                <a:gd name="connsiteY7" fmla="*/ 749 h 1349"/>
                <a:gd name="connsiteX8" fmla="*/ 0 w 2423"/>
                <a:gd name="connsiteY8" fmla="*/ 600 h 1349"/>
                <a:gd name="connsiteX9" fmla="*/ 0 w 2423"/>
                <a:gd name="connsiteY9" fmla="*/ 60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3" h="1349">
                  <a:moveTo>
                    <a:pt x="0" y="600"/>
                  </a:moveTo>
                  <a:cubicBezTo>
                    <a:pt x="0" y="269"/>
                    <a:pt x="271" y="0"/>
                    <a:pt x="602" y="0"/>
                  </a:cubicBezTo>
                  <a:lnTo>
                    <a:pt x="1823" y="0"/>
                  </a:lnTo>
                  <a:cubicBezTo>
                    <a:pt x="2155" y="0"/>
                    <a:pt x="2423" y="269"/>
                    <a:pt x="2423" y="600"/>
                  </a:cubicBezTo>
                  <a:lnTo>
                    <a:pt x="2423" y="749"/>
                  </a:lnTo>
                  <a:cubicBezTo>
                    <a:pt x="2423" y="1081"/>
                    <a:pt x="2155" y="1350"/>
                    <a:pt x="1823" y="1350"/>
                  </a:cubicBezTo>
                  <a:lnTo>
                    <a:pt x="602" y="1350"/>
                  </a:lnTo>
                  <a:cubicBezTo>
                    <a:pt x="271" y="1350"/>
                    <a:pt x="0" y="1081"/>
                    <a:pt x="0" y="749"/>
                  </a:cubicBezTo>
                  <a:lnTo>
                    <a:pt x="0" y="600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7" name="Freeform: Shape 3046">
              <a:extLst>
                <a:ext uri="{FF2B5EF4-FFF2-40B4-BE49-F238E27FC236}">
                  <a16:creationId xmlns:a16="http://schemas.microsoft.com/office/drawing/2014/main" id="{B64A3222-0852-F493-DE44-3BD9F792F44A}"/>
                </a:ext>
              </a:extLst>
            </p:cNvPr>
            <p:cNvSpPr/>
            <p:nvPr/>
          </p:nvSpPr>
          <p:spPr>
            <a:xfrm>
              <a:off x="9124693" y="3593133"/>
              <a:ext cx="2421" cy="1349"/>
            </a:xfrm>
            <a:custGeom>
              <a:avLst/>
              <a:gdLst>
                <a:gd name="connsiteX0" fmla="*/ 2422 w 2421"/>
                <a:gd name="connsiteY0" fmla="*/ 674 h 1349"/>
                <a:gd name="connsiteX1" fmla="*/ 1748 w 2421"/>
                <a:gd name="connsiteY1" fmla="*/ 0 h 1349"/>
                <a:gd name="connsiteX2" fmla="*/ 674 w 2421"/>
                <a:gd name="connsiteY2" fmla="*/ 0 h 1349"/>
                <a:gd name="connsiteX3" fmla="*/ 0 w 2421"/>
                <a:gd name="connsiteY3" fmla="*/ 674 h 1349"/>
                <a:gd name="connsiteX4" fmla="*/ 674 w 2421"/>
                <a:gd name="connsiteY4" fmla="*/ 1350 h 1349"/>
                <a:gd name="connsiteX5" fmla="*/ 1748 w 2421"/>
                <a:gd name="connsiteY5" fmla="*/ 1350 h 1349"/>
                <a:gd name="connsiteX6" fmla="*/ 2422 w 2421"/>
                <a:gd name="connsiteY6" fmla="*/ 674 h 1349"/>
                <a:gd name="connsiteX7" fmla="*/ 2422 w 2421"/>
                <a:gd name="connsiteY7" fmla="*/ 674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1" h="1349">
                  <a:moveTo>
                    <a:pt x="2422" y="674"/>
                  </a:moveTo>
                  <a:cubicBezTo>
                    <a:pt x="2422" y="301"/>
                    <a:pt x="2121" y="0"/>
                    <a:pt x="1748" y="0"/>
                  </a:cubicBezTo>
                  <a:lnTo>
                    <a:pt x="674" y="0"/>
                  </a:lnTo>
                  <a:cubicBezTo>
                    <a:pt x="301" y="0"/>
                    <a:pt x="0" y="301"/>
                    <a:pt x="0" y="674"/>
                  </a:cubicBezTo>
                  <a:cubicBezTo>
                    <a:pt x="0" y="1047"/>
                    <a:pt x="301" y="1350"/>
                    <a:pt x="674" y="1350"/>
                  </a:cubicBezTo>
                  <a:lnTo>
                    <a:pt x="1748" y="1350"/>
                  </a:lnTo>
                  <a:cubicBezTo>
                    <a:pt x="2121" y="1350"/>
                    <a:pt x="2422" y="1047"/>
                    <a:pt x="2422" y="674"/>
                  </a:cubicBezTo>
                  <a:lnTo>
                    <a:pt x="2422" y="674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8" name="Freeform: Shape 3047">
              <a:extLst>
                <a:ext uri="{FF2B5EF4-FFF2-40B4-BE49-F238E27FC236}">
                  <a16:creationId xmlns:a16="http://schemas.microsoft.com/office/drawing/2014/main" id="{6D8BEBBC-F704-BF69-F5BB-4F70AC68B675}"/>
                </a:ext>
              </a:extLst>
            </p:cNvPr>
            <p:cNvSpPr/>
            <p:nvPr/>
          </p:nvSpPr>
          <p:spPr>
            <a:xfrm>
              <a:off x="9119970" y="3589652"/>
              <a:ext cx="2783" cy="1349"/>
            </a:xfrm>
            <a:custGeom>
              <a:avLst/>
              <a:gdLst>
                <a:gd name="connsiteX0" fmla="*/ 2784 w 2783"/>
                <a:gd name="connsiteY0" fmla="*/ 635 h 1349"/>
                <a:gd name="connsiteX1" fmla="*/ 2149 w 2783"/>
                <a:gd name="connsiteY1" fmla="*/ 0 h 1349"/>
                <a:gd name="connsiteX2" fmla="*/ 635 w 2783"/>
                <a:gd name="connsiteY2" fmla="*/ 0 h 1349"/>
                <a:gd name="connsiteX3" fmla="*/ 0 w 2783"/>
                <a:gd name="connsiteY3" fmla="*/ 635 h 1349"/>
                <a:gd name="connsiteX4" fmla="*/ 0 w 2783"/>
                <a:gd name="connsiteY4" fmla="*/ 713 h 1349"/>
                <a:gd name="connsiteX5" fmla="*/ 635 w 2783"/>
                <a:gd name="connsiteY5" fmla="*/ 1350 h 1349"/>
                <a:gd name="connsiteX6" fmla="*/ 2149 w 2783"/>
                <a:gd name="connsiteY6" fmla="*/ 1350 h 1349"/>
                <a:gd name="connsiteX7" fmla="*/ 2784 w 2783"/>
                <a:gd name="connsiteY7" fmla="*/ 713 h 1349"/>
                <a:gd name="connsiteX8" fmla="*/ 2784 w 2783"/>
                <a:gd name="connsiteY8" fmla="*/ 635 h 1349"/>
                <a:gd name="connsiteX9" fmla="*/ 2784 w 2783"/>
                <a:gd name="connsiteY9" fmla="*/ 635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3" h="1349">
                  <a:moveTo>
                    <a:pt x="2784" y="635"/>
                  </a:moveTo>
                  <a:cubicBezTo>
                    <a:pt x="2784" y="283"/>
                    <a:pt x="2499" y="0"/>
                    <a:pt x="2149" y="0"/>
                  </a:cubicBezTo>
                  <a:lnTo>
                    <a:pt x="635" y="0"/>
                  </a:lnTo>
                  <a:cubicBezTo>
                    <a:pt x="283" y="0"/>
                    <a:pt x="0" y="283"/>
                    <a:pt x="0" y="635"/>
                  </a:cubicBezTo>
                  <a:lnTo>
                    <a:pt x="0" y="713"/>
                  </a:lnTo>
                  <a:cubicBezTo>
                    <a:pt x="0" y="1065"/>
                    <a:pt x="283" y="1350"/>
                    <a:pt x="635" y="1350"/>
                  </a:cubicBezTo>
                  <a:lnTo>
                    <a:pt x="2149" y="1350"/>
                  </a:lnTo>
                  <a:cubicBezTo>
                    <a:pt x="2499" y="1350"/>
                    <a:pt x="2784" y="1065"/>
                    <a:pt x="2784" y="713"/>
                  </a:cubicBezTo>
                  <a:lnTo>
                    <a:pt x="2784" y="635"/>
                  </a:lnTo>
                  <a:lnTo>
                    <a:pt x="2784" y="635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9" name="Freeform: Shape 3048">
              <a:extLst>
                <a:ext uri="{FF2B5EF4-FFF2-40B4-BE49-F238E27FC236}">
                  <a16:creationId xmlns:a16="http://schemas.microsoft.com/office/drawing/2014/main" id="{8E86FD9A-06D4-ACA8-B8F0-B8A935B5D3A2}"/>
                </a:ext>
              </a:extLst>
            </p:cNvPr>
            <p:cNvSpPr/>
            <p:nvPr/>
          </p:nvSpPr>
          <p:spPr>
            <a:xfrm>
              <a:off x="9117296" y="3589652"/>
              <a:ext cx="2168" cy="1349"/>
            </a:xfrm>
            <a:custGeom>
              <a:avLst/>
              <a:gdLst>
                <a:gd name="connsiteX0" fmla="*/ 2169 w 2168"/>
                <a:gd name="connsiteY0" fmla="*/ 626 h 1349"/>
                <a:gd name="connsiteX1" fmla="*/ 1542 w 2168"/>
                <a:gd name="connsiteY1" fmla="*/ 0 h 1349"/>
                <a:gd name="connsiteX2" fmla="*/ 627 w 2168"/>
                <a:gd name="connsiteY2" fmla="*/ 0 h 1349"/>
                <a:gd name="connsiteX3" fmla="*/ 0 w 2168"/>
                <a:gd name="connsiteY3" fmla="*/ 626 h 1349"/>
                <a:gd name="connsiteX4" fmla="*/ 0 w 2168"/>
                <a:gd name="connsiteY4" fmla="*/ 722 h 1349"/>
                <a:gd name="connsiteX5" fmla="*/ 627 w 2168"/>
                <a:gd name="connsiteY5" fmla="*/ 1350 h 1349"/>
                <a:gd name="connsiteX6" fmla="*/ 1542 w 2168"/>
                <a:gd name="connsiteY6" fmla="*/ 1350 h 1349"/>
                <a:gd name="connsiteX7" fmla="*/ 2169 w 2168"/>
                <a:gd name="connsiteY7" fmla="*/ 722 h 1349"/>
                <a:gd name="connsiteX8" fmla="*/ 2169 w 2168"/>
                <a:gd name="connsiteY8" fmla="*/ 626 h 1349"/>
                <a:gd name="connsiteX9" fmla="*/ 2169 w 2168"/>
                <a:gd name="connsiteY9" fmla="*/ 62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8" h="1349">
                  <a:moveTo>
                    <a:pt x="2169" y="626"/>
                  </a:moveTo>
                  <a:cubicBezTo>
                    <a:pt x="2169" y="280"/>
                    <a:pt x="1889" y="0"/>
                    <a:pt x="1542" y="0"/>
                  </a:cubicBezTo>
                  <a:lnTo>
                    <a:pt x="627" y="0"/>
                  </a:lnTo>
                  <a:cubicBezTo>
                    <a:pt x="280" y="0"/>
                    <a:pt x="0" y="280"/>
                    <a:pt x="0" y="626"/>
                  </a:cubicBezTo>
                  <a:lnTo>
                    <a:pt x="0" y="722"/>
                  </a:lnTo>
                  <a:cubicBezTo>
                    <a:pt x="0" y="1068"/>
                    <a:pt x="280" y="1350"/>
                    <a:pt x="627" y="1350"/>
                  </a:cubicBezTo>
                  <a:lnTo>
                    <a:pt x="1542" y="1350"/>
                  </a:lnTo>
                  <a:cubicBezTo>
                    <a:pt x="1889" y="1350"/>
                    <a:pt x="2169" y="1068"/>
                    <a:pt x="2169" y="722"/>
                  </a:cubicBezTo>
                  <a:lnTo>
                    <a:pt x="2169" y="626"/>
                  </a:lnTo>
                  <a:lnTo>
                    <a:pt x="2169" y="62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0" name="Freeform: Shape 3049">
              <a:extLst>
                <a:ext uri="{FF2B5EF4-FFF2-40B4-BE49-F238E27FC236}">
                  <a16:creationId xmlns:a16="http://schemas.microsoft.com/office/drawing/2014/main" id="{AF711696-1118-7A4C-28FE-581DA13C7622}"/>
                </a:ext>
              </a:extLst>
            </p:cNvPr>
            <p:cNvSpPr/>
            <p:nvPr/>
          </p:nvSpPr>
          <p:spPr>
            <a:xfrm>
              <a:off x="9109427" y="3589652"/>
              <a:ext cx="7433" cy="1349"/>
            </a:xfrm>
            <a:custGeom>
              <a:avLst/>
              <a:gdLst>
                <a:gd name="connsiteX0" fmla="*/ 7434 w 7433"/>
                <a:gd name="connsiteY0" fmla="*/ 660 h 1349"/>
                <a:gd name="connsiteX1" fmla="*/ 6774 w 7433"/>
                <a:gd name="connsiteY1" fmla="*/ 0 h 1349"/>
                <a:gd name="connsiteX2" fmla="*/ 661 w 7433"/>
                <a:gd name="connsiteY2" fmla="*/ 0 h 1349"/>
                <a:gd name="connsiteX3" fmla="*/ 0 w 7433"/>
                <a:gd name="connsiteY3" fmla="*/ 660 h 1349"/>
                <a:gd name="connsiteX4" fmla="*/ 0 w 7433"/>
                <a:gd name="connsiteY4" fmla="*/ 690 h 1349"/>
                <a:gd name="connsiteX5" fmla="*/ 661 w 7433"/>
                <a:gd name="connsiteY5" fmla="*/ 1350 h 1349"/>
                <a:gd name="connsiteX6" fmla="*/ 6774 w 7433"/>
                <a:gd name="connsiteY6" fmla="*/ 1350 h 1349"/>
                <a:gd name="connsiteX7" fmla="*/ 7434 w 7433"/>
                <a:gd name="connsiteY7" fmla="*/ 690 h 1349"/>
                <a:gd name="connsiteX8" fmla="*/ 7434 w 7433"/>
                <a:gd name="connsiteY8" fmla="*/ 660 h 1349"/>
                <a:gd name="connsiteX9" fmla="*/ 7434 w 7433"/>
                <a:gd name="connsiteY9" fmla="*/ 66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3" h="1349">
                  <a:moveTo>
                    <a:pt x="7434" y="660"/>
                  </a:moveTo>
                  <a:cubicBezTo>
                    <a:pt x="7434" y="294"/>
                    <a:pt x="7138" y="0"/>
                    <a:pt x="6774" y="0"/>
                  </a:cubicBezTo>
                  <a:lnTo>
                    <a:pt x="661" y="0"/>
                  </a:lnTo>
                  <a:cubicBezTo>
                    <a:pt x="296" y="0"/>
                    <a:pt x="0" y="294"/>
                    <a:pt x="0" y="660"/>
                  </a:cubicBezTo>
                  <a:lnTo>
                    <a:pt x="0" y="690"/>
                  </a:lnTo>
                  <a:cubicBezTo>
                    <a:pt x="0" y="1054"/>
                    <a:pt x="296" y="1350"/>
                    <a:pt x="661" y="1350"/>
                  </a:cubicBezTo>
                  <a:lnTo>
                    <a:pt x="6774" y="1350"/>
                  </a:lnTo>
                  <a:cubicBezTo>
                    <a:pt x="7138" y="1350"/>
                    <a:pt x="7434" y="1054"/>
                    <a:pt x="7434" y="690"/>
                  </a:cubicBezTo>
                  <a:lnTo>
                    <a:pt x="7434" y="660"/>
                  </a:lnTo>
                  <a:lnTo>
                    <a:pt x="7434" y="66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1" name="Freeform: Shape 3050">
              <a:extLst>
                <a:ext uri="{FF2B5EF4-FFF2-40B4-BE49-F238E27FC236}">
                  <a16:creationId xmlns:a16="http://schemas.microsoft.com/office/drawing/2014/main" id="{12CF7ADA-A5DE-56B0-34C1-D74AD46E71C2}"/>
                </a:ext>
              </a:extLst>
            </p:cNvPr>
            <p:cNvSpPr/>
            <p:nvPr/>
          </p:nvSpPr>
          <p:spPr>
            <a:xfrm>
              <a:off x="9090720" y="3604446"/>
              <a:ext cx="9059" cy="1349"/>
            </a:xfrm>
            <a:custGeom>
              <a:avLst/>
              <a:gdLst>
                <a:gd name="connsiteX0" fmla="*/ 9059 w 9059"/>
                <a:gd name="connsiteY0" fmla="*/ 629 h 1349"/>
                <a:gd name="connsiteX1" fmla="*/ 8430 w 9059"/>
                <a:gd name="connsiteY1" fmla="*/ 0 h 1349"/>
                <a:gd name="connsiteX2" fmla="*/ 629 w 9059"/>
                <a:gd name="connsiteY2" fmla="*/ 0 h 1349"/>
                <a:gd name="connsiteX3" fmla="*/ 0 w 9059"/>
                <a:gd name="connsiteY3" fmla="*/ 629 h 1349"/>
                <a:gd name="connsiteX4" fmla="*/ 0 w 9059"/>
                <a:gd name="connsiteY4" fmla="*/ 721 h 1349"/>
                <a:gd name="connsiteX5" fmla="*/ 629 w 9059"/>
                <a:gd name="connsiteY5" fmla="*/ 1350 h 1349"/>
                <a:gd name="connsiteX6" fmla="*/ 8430 w 9059"/>
                <a:gd name="connsiteY6" fmla="*/ 1350 h 1349"/>
                <a:gd name="connsiteX7" fmla="*/ 9059 w 9059"/>
                <a:gd name="connsiteY7" fmla="*/ 721 h 1349"/>
                <a:gd name="connsiteX8" fmla="*/ 9059 w 9059"/>
                <a:gd name="connsiteY8" fmla="*/ 629 h 1349"/>
                <a:gd name="connsiteX9" fmla="*/ 9059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9059" y="629"/>
                  </a:moveTo>
                  <a:cubicBezTo>
                    <a:pt x="9059" y="281"/>
                    <a:pt x="8778" y="0"/>
                    <a:pt x="8430" y="0"/>
                  </a:cubicBezTo>
                  <a:lnTo>
                    <a:pt x="629" y="0"/>
                  </a:lnTo>
                  <a:cubicBezTo>
                    <a:pt x="281" y="0"/>
                    <a:pt x="0" y="281"/>
                    <a:pt x="0" y="629"/>
                  </a:cubicBezTo>
                  <a:lnTo>
                    <a:pt x="0" y="721"/>
                  </a:lnTo>
                  <a:cubicBezTo>
                    <a:pt x="0" y="1068"/>
                    <a:pt x="281" y="1350"/>
                    <a:pt x="629" y="1350"/>
                  </a:cubicBezTo>
                  <a:lnTo>
                    <a:pt x="8430" y="1350"/>
                  </a:lnTo>
                  <a:cubicBezTo>
                    <a:pt x="8778" y="1350"/>
                    <a:pt x="9059" y="1068"/>
                    <a:pt x="9059" y="721"/>
                  </a:cubicBezTo>
                  <a:lnTo>
                    <a:pt x="9059" y="629"/>
                  </a:lnTo>
                  <a:lnTo>
                    <a:pt x="9059" y="629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2" name="Freeform: Shape 3051">
              <a:extLst>
                <a:ext uri="{FF2B5EF4-FFF2-40B4-BE49-F238E27FC236}">
                  <a16:creationId xmlns:a16="http://schemas.microsoft.com/office/drawing/2014/main" id="{A6F6DC76-D180-1C3F-3B6C-951057C578E7}"/>
                </a:ext>
              </a:extLst>
            </p:cNvPr>
            <p:cNvSpPr/>
            <p:nvPr/>
          </p:nvSpPr>
          <p:spPr>
            <a:xfrm>
              <a:off x="9118056" y="3600924"/>
              <a:ext cx="9059" cy="1349"/>
            </a:xfrm>
            <a:custGeom>
              <a:avLst/>
              <a:gdLst>
                <a:gd name="connsiteX0" fmla="*/ 0 w 9059"/>
                <a:gd name="connsiteY0" fmla="*/ 631 h 1349"/>
                <a:gd name="connsiteX1" fmla="*/ 631 w 9059"/>
                <a:gd name="connsiteY1" fmla="*/ 0 h 1349"/>
                <a:gd name="connsiteX2" fmla="*/ 8430 w 9059"/>
                <a:gd name="connsiteY2" fmla="*/ 0 h 1349"/>
                <a:gd name="connsiteX3" fmla="*/ 9059 w 9059"/>
                <a:gd name="connsiteY3" fmla="*/ 631 h 1349"/>
                <a:gd name="connsiteX4" fmla="*/ 9059 w 9059"/>
                <a:gd name="connsiteY4" fmla="*/ 721 h 1349"/>
                <a:gd name="connsiteX5" fmla="*/ 8430 w 9059"/>
                <a:gd name="connsiteY5" fmla="*/ 1350 h 1349"/>
                <a:gd name="connsiteX6" fmla="*/ 631 w 9059"/>
                <a:gd name="connsiteY6" fmla="*/ 1350 h 1349"/>
                <a:gd name="connsiteX7" fmla="*/ 0 w 9059"/>
                <a:gd name="connsiteY7" fmla="*/ 721 h 1349"/>
                <a:gd name="connsiteX8" fmla="*/ 0 w 9059"/>
                <a:gd name="connsiteY8" fmla="*/ 631 h 1349"/>
                <a:gd name="connsiteX9" fmla="*/ 0 w 9059"/>
                <a:gd name="connsiteY9" fmla="*/ 631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0" y="631"/>
                  </a:moveTo>
                  <a:cubicBezTo>
                    <a:pt x="0" y="283"/>
                    <a:pt x="283" y="0"/>
                    <a:pt x="631" y="0"/>
                  </a:cubicBezTo>
                  <a:lnTo>
                    <a:pt x="8430" y="0"/>
                  </a:lnTo>
                  <a:cubicBezTo>
                    <a:pt x="8778" y="0"/>
                    <a:pt x="9059" y="283"/>
                    <a:pt x="9059" y="631"/>
                  </a:cubicBezTo>
                  <a:lnTo>
                    <a:pt x="9059" y="721"/>
                  </a:lnTo>
                  <a:cubicBezTo>
                    <a:pt x="9059" y="1068"/>
                    <a:pt x="8778" y="1350"/>
                    <a:pt x="8430" y="1350"/>
                  </a:cubicBezTo>
                  <a:lnTo>
                    <a:pt x="631" y="1350"/>
                  </a:lnTo>
                  <a:cubicBezTo>
                    <a:pt x="283" y="1350"/>
                    <a:pt x="0" y="1068"/>
                    <a:pt x="0" y="721"/>
                  </a:cubicBezTo>
                  <a:lnTo>
                    <a:pt x="0" y="631"/>
                  </a:lnTo>
                  <a:lnTo>
                    <a:pt x="0" y="631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3" name="Freeform: Shape 3052">
              <a:extLst>
                <a:ext uri="{FF2B5EF4-FFF2-40B4-BE49-F238E27FC236}">
                  <a16:creationId xmlns:a16="http://schemas.microsoft.com/office/drawing/2014/main" id="{2A13ACBB-756B-7F42-854A-87CC1218212C}"/>
                </a:ext>
              </a:extLst>
            </p:cNvPr>
            <p:cNvSpPr/>
            <p:nvPr/>
          </p:nvSpPr>
          <p:spPr>
            <a:xfrm>
              <a:off x="9109427" y="3607927"/>
              <a:ext cx="9059" cy="1349"/>
            </a:xfrm>
            <a:custGeom>
              <a:avLst/>
              <a:gdLst>
                <a:gd name="connsiteX0" fmla="*/ 9059 w 9059"/>
                <a:gd name="connsiteY0" fmla="*/ 676 h 1349"/>
                <a:gd name="connsiteX1" fmla="*/ 8385 w 9059"/>
                <a:gd name="connsiteY1" fmla="*/ 0 h 1349"/>
                <a:gd name="connsiteX2" fmla="*/ 676 w 9059"/>
                <a:gd name="connsiteY2" fmla="*/ 0 h 1349"/>
                <a:gd name="connsiteX3" fmla="*/ 0 w 9059"/>
                <a:gd name="connsiteY3" fmla="*/ 676 h 1349"/>
                <a:gd name="connsiteX4" fmla="*/ 676 w 9059"/>
                <a:gd name="connsiteY4" fmla="*/ 1350 h 1349"/>
                <a:gd name="connsiteX5" fmla="*/ 8385 w 9059"/>
                <a:gd name="connsiteY5" fmla="*/ 1350 h 1349"/>
                <a:gd name="connsiteX6" fmla="*/ 9059 w 9059"/>
                <a:gd name="connsiteY6" fmla="*/ 676 h 1349"/>
                <a:gd name="connsiteX7" fmla="*/ 9059 w 9059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9" h="1349">
                  <a:moveTo>
                    <a:pt x="9059" y="676"/>
                  </a:moveTo>
                  <a:cubicBezTo>
                    <a:pt x="9059" y="303"/>
                    <a:pt x="8758" y="0"/>
                    <a:pt x="8385" y="0"/>
                  </a:cubicBezTo>
                  <a:lnTo>
                    <a:pt x="676" y="0"/>
                  </a:lnTo>
                  <a:cubicBezTo>
                    <a:pt x="303" y="0"/>
                    <a:pt x="0" y="303"/>
                    <a:pt x="0" y="676"/>
                  </a:cubicBezTo>
                  <a:cubicBezTo>
                    <a:pt x="0" y="1049"/>
                    <a:pt x="303" y="1350"/>
                    <a:pt x="676" y="1350"/>
                  </a:cubicBezTo>
                  <a:lnTo>
                    <a:pt x="8385" y="1350"/>
                  </a:lnTo>
                  <a:cubicBezTo>
                    <a:pt x="8758" y="1350"/>
                    <a:pt x="9059" y="1049"/>
                    <a:pt x="9059" y="676"/>
                  </a:cubicBezTo>
                  <a:lnTo>
                    <a:pt x="9059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4" name="Freeform: Shape 3053">
              <a:extLst>
                <a:ext uri="{FF2B5EF4-FFF2-40B4-BE49-F238E27FC236}">
                  <a16:creationId xmlns:a16="http://schemas.microsoft.com/office/drawing/2014/main" id="{5A5D79B8-16A4-68FB-3F4E-EA89E8D777F5}"/>
                </a:ext>
              </a:extLst>
            </p:cNvPr>
            <p:cNvSpPr/>
            <p:nvPr/>
          </p:nvSpPr>
          <p:spPr>
            <a:xfrm>
              <a:off x="9100358" y="3604446"/>
              <a:ext cx="5074" cy="1349"/>
            </a:xfrm>
            <a:custGeom>
              <a:avLst/>
              <a:gdLst>
                <a:gd name="connsiteX0" fmla="*/ 5075 w 5074"/>
                <a:gd name="connsiteY0" fmla="*/ 617 h 1349"/>
                <a:gd name="connsiteX1" fmla="*/ 4458 w 5074"/>
                <a:gd name="connsiteY1" fmla="*/ 0 h 1349"/>
                <a:gd name="connsiteX2" fmla="*/ 617 w 5074"/>
                <a:gd name="connsiteY2" fmla="*/ 0 h 1349"/>
                <a:gd name="connsiteX3" fmla="*/ 0 w 5074"/>
                <a:gd name="connsiteY3" fmla="*/ 617 h 1349"/>
                <a:gd name="connsiteX4" fmla="*/ 0 w 5074"/>
                <a:gd name="connsiteY4" fmla="*/ 733 h 1349"/>
                <a:gd name="connsiteX5" fmla="*/ 617 w 5074"/>
                <a:gd name="connsiteY5" fmla="*/ 1350 h 1349"/>
                <a:gd name="connsiteX6" fmla="*/ 4458 w 5074"/>
                <a:gd name="connsiteY6" fmla="*/ 1350 h 1349"/>
                <a:gd name="connsiteX7" fmla="*/ 5075 w 5074"/>
                <a:gd name="connsiteY7" fmla="*/ 733 h 1349"/>
                <a:gd name="connsiteX8" fmla="*/ 5075 w 5074"/>
                <a:gd name="connsiteY8" fmla="*/ 617 h 1349"/>
                <a:gd name="connsiteX9" fmla="*/ 5075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5075" y="617"/>
                  </a:moveTo>
                  <a:cubicBezTo>
                    <a:pt x="5075" y="276"/>
                    <a:pt x="4799" y="0"/>
                    <a:pt x="4458" y="0"/>
                  </a:cubicBezTo>
                  <a:lnTo>
                    <a:pt x="617" y="0"/>
                  </a:lnTo>
                  <a:cubicBezTo>
                    <a:pt x="276" y="0"/>
                    <a:pt x="0" y="276"/>
                    <a:pt x="0" y="617"/>
                  </a:cubicBezTo>
                  <a:lnTo>
                    <a:pt x="0" y="733"/>
                  </a:lnTo>
                  <a:cubicBezTo>
                    <a:pt x="0" y="1074"/>
                    <a:pt x="276" y="1350"/>
                    <a:pt x="617" y="1350"/>
                  </a:cubicBezTo>
                  <a:lnTo>
                    <a:pt x="4458" y="1350"/>
                  </a:lnTo>
                  <a:cubicBezTo>
                    <a:pt x="4799" y="1350"/>
                    <a:pt x="5075" y="1074"/>
                    <a:pt x="5075" y="733"/>
                  </a:cubicBezTo>
                  <a:lnTo>
                    <a:pt x="5075" y="617"/>
                  </a:lnTo>
                  <a:lnTo>
                    <a:pt x="5075" y="61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5" name="Freeform: Shape 3054">
              <a:extLst>
                <a:ext uri="{FF2B5EF4-FFF2-40B4-BE49-F238E27FC236}">
                  <a16:creationId xmlns:a16="http://schemas.microsoft.com/office/drawing/2014/main" id="{159C5690-3A5F-3EAE-393C-6FEE99B3E8C3}"/>
                </a:ext>
              </a:extLst>
            </p:cNvPr>
            <p:cNvSpPr/>
            <p:nvPr/>
          </p:nvSpPr>
          <p:spPr>
            <a:xfrm>
              <a:off x="9112402" y="3600924"/>
              <a:ext cx="5074" cy="1349"/>
            </a:xfrm>
            <a:custGeom>
              <a:avLst/>
              <a:gdLst>
                <a:gd name="connsiteX0" fmla="*/ 0 w 5074"/>
                <a:gd name="connsiteY0" fmla="*/ 617 h 1349"/>
                <a:gd name="connsiteX1" fmla="*/ 617 w 5074"/>
                <a:gd name="connsiteY1" fmla="*/ 0 h 1349"/>
                <a:gd name="connsiteX2" fmla="*/ 4458 w 5074"/>
                <a:gd name="connsiteY2" fmla="*/ 0 h 1349"/>
                <a:gd name="connsiteX3" fmla="*/ 5075 w 5074"/>
                <a:gd name="connsiteY3" fmla="*/ 617 h 1349"/>
                <a:gd name="connsiteX4" fmla="*/ 5075 w 5074"/>
                <a:gd name="connsiteY4" fmla="*/ 733 h 1349"/>
                <a:gd name="connsiteX5" fmla="*/ 4458 w 5074"/>
                <a:gd name="connsiteY5" fmla="*/ 1350 h 1349"/>
                <a:gd name="connsiteX6" fmla="*/ 617 w 5074"/>
                <a:gd name="connsiteY6" fmla="*/ 1350 h 1349"/>
                <a:gd name="connsiteX7" fmla="*/ 0 w 5074"/>
                <a:gd name="connsiteY7" fmla="*/ 733 h 1349"/>
                <a:gd name="connsiteX8" fmla="*/ 0 w 5074"/>
                <a:gd name="connsiteY8" fmla="*/ 617 h 1349"/>
                <a:gd name="connsiteX9" fmla="*/ 0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0" y="617"/>
                  </a:moveTo>
                  <a:cubicBezTo>
                    <a:pt x="0" y="276"/>
                    <a:pt x="276" y="0"/>
                    <a:pt x="617" y="0"/>
                  </a:cubicBezTo>
                  <a:lnTo>
                    <a:pt x="4458" y="0"/>
                  </a:lnTo>
                  <a:cubicBezTo>
                    <a:pt x="4799" y="0"/>
                    <a:pt x="5075" y="276"/>
                    <a:pt x="5075" y="617"/>
                  </a:cubicBezTo>
                  <a:lnTo>
                    <a:pt x="5075" y="733"/>
                  </a:lnTo>
                  <a:cubicBezTo>
                    <a:pt x="5075" y="1074"/>
                    <a:pt x="4799" y="1350"/>
                    <a:pt x="4458" y="1350"/>
                  </a:cubicBezTo>
                  <a:lnTo>
                    <a:pt x="617" y="1350"/>
                  </a:lnTo>
                  <a:cubicBezTo>
                    <a:pt x="276" y="1350"/>
                    <a:pt x="0" y="1074"/>
                    <a:pt x="0" y="733"/>
                  </a:cubicBezTo>
                  <a:lnTo>
                    <a:pt x="0" y="617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6" name="Freeform: Shape 3055">
              <a:extLst>
                <a:ext uri="{FF2B5EF4-FFF2-40B4-BE49-F238E27FC236}">
                  <a16:creationId xmlns:a16="http://schemas.microsoft.com/office/drawing/2014/main" id="{636059CC-A3E6-42D1-537E-02B2CED29B00}"/>
                </a:ext>
              </a:extLst>
            </p:cNvPr>
            <p:cNvSpPr/>
            <p:nvPr/>
          </p:nvSpPr>
          <p:spPr>
            <a:xfrm>
              <a:off x="9119067" y="3607927"/>
              <a:ext cx="5074" cy="1349"/>
            </a:xfrm>
            <a:custGeom>
              <a:avLst/>
              <a:gdLst>
                <a:gd name="connsiteX0" fmla="*/ 5075 w 5074"/>
                <a:gd name="connsiteY0" fmla="*/ 676 h 1349"/>
                <a:gd name="connsiteX1" fmla="*/ 4399 w 5074"/>
                <a:gd name="connsiteY1" fmla="*/ 0 h 1349"/>
                <a:gd name="connsiteX2" fmla="*/ 674 w 5074"/>
                <a:gd name="connsiteY2" fmla="*/ 0 h 1349"/>
                <a:gd name="connsiteX3" fmla="*/ 0 w 5074"/>
                <a:gd name="connsiteY3" fmla="*/ 676 h 1349"/>
                <a:gd name="connsiteX4" fmla="*/ 674 w 5074"/>
                <a:gd name="connsiteY4" fmla="*/ 1350 h 1349"/>
                <a:gd name="connsiteX5" fmla="*/ 4399 w 5074"/>
                <a:gd name="connsiteY5" fmla="*/ 1350 h 1349"/>
                <a:gd name="connsiteX6" fmla="*/ 5075 w 5074"/>
                <a:gd name="connsiteY6" fmla="*/ 676 h 1349"/>
                <a:gd name="connsiteX7" fmla="*/ 5075 w 5074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5075" y="676"/>
                  </a:moveTo>
                  <a:cubicBezTo>
                    <a:pt x="5075" y="303"/>
                    <a:pt x="4772" y="0"/>
                    <a:pt x="4399" y="0"/>
                  </a:cubicBezTo>
                  <a:lnTo>
                    <a:pt x="674" y="0"/>
                  </a:lnTo>
                  <a:cubicBezTo>
                    <a:pt x="301" y="0"/>
                    <a:pt x="0" y="303"/>
                    <a:pt x="0" y="676"/>
                  </a:cubicBezTo>
                  <a:cubicBezTo>
                    <a:pt x="0" y="1049"/>
                    <a:pt x="301" y="1350"/>
                    <a:pt x="674" y="1350"/>
                  </a:cubicBezTo>
                  <a:lnTo>
                    <a:pt x="4399" y="1350"/>
                  </a:lnTo>
                  <a:cubicBezTo>
                    <a:pt x="4772" y="1350"/>
                    <a:pt x="5075" y="1049"/>
                    <a:pt x="5075" y="676"/>
                  </a:cubicBezTo>
                  <a:lnTo>
                    <a:pt x="5075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7" name="Freeform: Shape 3056">
              <a:extLst>
                <a:ext uri="{FF2B5EF4-FFF2-40B4-BE49-F238E27FC236}">
                  <a16:creationId xmlns:a16="http://schemas.microsoft.com/office/drawing/2014/main" id="{188B8F61-CA54-A22A-7BAA-315BFA8620DE}"/>
                </a:ext>
              </a:extLst>
            </p:cNvPr>
            <p:cNvSpPr/>
            <p:nvPr/>
          </p:nvSpPr>
          <p:spPr>
            <a:xfrm>
              <a:off x="9103026" y="3607927"/>
              <a:ext cx="5074" cy="1349"/>
            </a:xfrm>
            <a:custGeom>
              <a:avLst/>
              <a:gdLst>
                <a:gd name="connsiteX0" fmla="*/ 5075 w 5074"/>
                <a:gd name="connsiteY0" fmla="*/ 676 h 1349"/>
                <a:gd name="connsiteX1" fmla="*/ 4401 w 5074"/>
                <a:gd name="connsiteY1" fmla="*/ 0 h 1349"/>
                <a:gd name="connsiteX2" fmla="*/ 676 w 5074"/>
                <a:gd name="connsiteY2" fmla="*/ 0 h 1349"/>
                <a:gd name="connsiteX3" fmla="*/ 0 w 5074"/>
                <a:gd name="connsiteY3" fmla="*/ 676 h 1349"/>
                <a:gd name="connsiteX4" fmla="*/ 676 w 5074"/>
                <a:gd name="connsiteY4" fmla="*/ 1350 h 1349"/>
                <a:gd name="connsiteX5" fmla="*/ 4401 w 5074"/>
                <a:gd name="connsiteY5" fmla="*/ 1350 h 1349"/>
                <a:gd name="connsiteX6" fmla="*/ 5075 w 5074"/>
                <a:gd name="connsiteY6" fmla="*/ 676 h 1349"/>
                <a:gd name="connsiteX7" fmla="*/ 5075 w 5074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49">
                  <a:moveTo>
                    <a:pt x="5075" y="676"/>
                  </a:moveTo>
                  <a:cubicBezTo>
                    <a:pt x="5075" y="303"/>
                    <a:pt x="4773" y="0"/>
                    <a:pt x="4401" y="0"/>
                  </a:cubicBezTo>
                  <a:lnTo>
                    <a:pt x="676" y="0"/>
                  </a:lnTo>
                  <a:cubicBezTo>
                    <a:pt x="303" y="0"/>
                    <a:pt x="0" y="303"/>
                    <a:pt x="0" y="676"/>
                  </a:cubicBezTo>
                  <a:cubicBezTo>
                    <a:pt x="0" y="1049"/>
                    <a:pt x="303" y="1350"/>
                    <a:pt x="676" y="1350"/>
                  </a:cubicBezTo>
                  <a:lnTo>
                    <a:pt x="4401" y="1350"/>
                  </a:lnTo>
                  <a:cubicBezTo>
                    <a:pt x="4773" y="1350"/>
                    <a:pt x="5075" y="1049"/>
                    <a:pt x="5075" y="676"/>
                  </a:cubicBezTo>
                  <a:lnTo>
                    <a:pt x="5075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8" name="Freeform: Shape 3057">
              <a:extLst>
                <a:ext uri="{FF2B5EF4-FFF2-40B4-BE49-F238E27FC236}">
                  <a16:creationId xmlns:a16="http://schemas.microsoft.com/office/drawing/2014/main" id="{48B08733-6200-BE23-811D-35BC2302A8D2}"/>
                </a:ext>
              </a:extLst>
            </p:cNvPr>
            <p:cNvSpPr/>
            <p:nvPr/>
          </p:nvSpPr>
          <p:spPr>
            <a:xfrm>
              <a:off x="9123718" y="3604446"/>
              <a:ext cx="3396" cy="1349"/>
            </a:xfrm>
            <a:custGeom>
              <a:avLst/>
              <a:gdLst>
                <a:gd name="connsiteX0" fmla="*/ 3397 w 3396"/>
                <a:gd name="connsiteY0" fmla="*/ 658 h 1349"/>
                <a:gd name="connsiteX1" fmla="*/ 2741 w 3396"/>
                <a:gd name="connsiteY1" fmla="*/ 0 h 1349"/>
                <a:gd name="connsiteX2" fmla="*/ 658 w 3396"/>
                <a:gd name="connsiteY2" fmla="*/ 0 h 1349"/>
                <a:gd name="connsiteX3" fmla="*/ 0 w 3396"/>
                <a:gd name="connsiteY3" fmla="*/ 658 h 1349"/>
                <a:gd name="connsiteX4" fmla="*/ 0 w 3396"/>
                <a:gd name="connsiteY4" fmla="*/ 694 h 1349"/>
                <a:gd name="connsiteX5" fmla="*/ 658 w 3396"/>
                <a:gd name="connsiteY5" fmla="*/ 1350 h 1349"/>
                <a:gd name="connsiteX6" fmla="*/ 2741 w 3396"/>
                <a:gd name="connsiteY6" fmla="*/ 1350 h 1349"/>
                <a:gd name="connsiteX7" fmla="*/ 3397 w 3396"/>
                <a:gd name="connsiteY7" fmla="*/ 694 h 1349"/>
                <a:gd name="connsiteX8" fmla="*/ 3397 w 3396"/>
                <a:gd name="connsiteY8" fmla="*/ 658 h 1349"/>
                <a:gd name="connsiteX9" fmla="*/ 3397 w 3396"/>
                <a:gd name="connsiteY9" fmla="*/ 658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6" h="1349">
                  <a:moveTo>
                    <a:pt x="3397" y="658"/>
                  </a:moveTo>
                  <a:cubicBezTo>
                    <a:pt x="3397" y="294"/>
                    <a:pt x="3103" y="0"/>
                    <a:pt x="2741" y="0"/>
                  </a:cubicBezTo>
                  <a:lnTo>
                    <a:pt x="658" y="0"/>
                  </a:lnTo>
                  <a:cubicBezTo>
                    <a:pt x="294" y="0"/>
                    <a:pt x="0" y="294"/>
                    <a:pt x="0" y="658"/>
                  </a:cubicBezTo>
                  <a:lnTo>
                    <a:pt x="0" y="694"/>
                  </a:lnTo>
                  <a:cubicBezTo>
                    <a:pt x="0" y="1056"/>
                    <a:pt x="294" y="1350"/>
                    <a:pt x="658" y="1350"/>
                  </a:cubicBezTo>
                  <a:lnTo>
                    <a:pt x="2741" y="1350"/>
                  </a:lnTo>
                  <a:cubicBezTo>
                    <a:pt x="3103" y="1350"/>
                    <a:pt x="3397" y="1056"/>
                    <a:pt x="3397" y="694"/>
                  </a:cubicBezTo>
                  <a:lnTo>
                    <a:pt x="3397" y="658"/>
                  </a:lnTo>
                  <a:lnTo>
                    <a:pt x="3397" y="658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9" name="Freeform: Shape 3058">
              <a:extLst>
                <a:ext uri="{FF2B5EF4-FFF2-40B4-BE49-F238E27FC236}">
                  <a16:creationId xmlns:a16="http://schemas.microsoft.com/office/drawing/2014/main" id="{F33A8376-F624-E564-FE0F-1B3985E0CFBB}"/>
                </a:ext>
              </a:extLst>
            </p:cNvPr>
            <p:cNvSpPr/>
            <p:nvPr/>
          </p:nvSpPr>
          <p:spPr>
            <a:xfrm>
              <a:off x="9105987" y="3604446"/>
              <a:ext cx="2421" cy="1349"/>
            </a:xfrm>
            <a:custGeom>
              <a:avLst/>
              <a:gdLst>
                <a:gd name="connsiteX0" fmla="*/ 2422 w 2421"/>
                <a:gd name="connsiteY0" fmla="*/ 600 h 1349"/>
                <a:gd name="connsiteX1" fmla="*/ 1821 w 2421"/>
                <a:gd name="connsiteY1" fmla="*/ 0 h 1349"/>
                <a:gd name="connsiteX2" fmla="*/ 600 w 2421"/>
                <a:gd name="connsiteY2" fmla="*/ 0 h 1349"/>
                <a:gd name="connsiteX3" fmla="*/ 0 w 2421"/>
                <a:gd name="connsiteY3" fmla="*/ 600 h 1349"/>
                <a:gd name="connsiteX4" fmla="*/ 0 w 2421"/>
                <a:gd name="connsiteY4" fmla="*/ 749 h 1349"/>
                <a:gd name="connsiteX5" fmla="*/ 600 w 2421"/>
                <a:gd name="connsiteY5" fmla="*/ 1350 h 1349"/>
                <a:gd name="connsiteX6" fmla="*/ 1821 w 2421"/>
                <a:gd name="connsiteY6" fmla="*/ 1350 h 1349"/>
                <a:gd name="connsiteX7" fmla="*/ 2422 w 2421"/>
                <a:gd name="connsiteY7" fmla="*/ 749 h 1349"/>
                <a:gd name="connsiteX8" fmla="*/ 2422 w 2421"/>
                <a:gd name="connsiteY8" fmla="*/ 600 h 1349"/>
                <a:gd name="connsiteX9" fmla="*/ 2422 w 2421"/>
                <a:gd name="connsiteY9" fmla="*/ 60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1" h="1349">
                  <a:moveTo>
                    <a:pt x="2422" y="600"/>
                  </a:moveTo>
                  <a:cubicBezTo>
                    <a:pt x="2422" y="269"/>
                    <a:pt x="2153" y="0"/>
                    <a:pt x="1821" y="0"/>
                  </a:cubicBezTo>
                  <a:lnTo>
                    <a:pt x="600" y="0"/>
                  </a:lnTo>
                  <a:cubicBezTo>
                    <a:pt x="269" y="0"/>
                    <a:pt x="0" y="269"/>
                    <a:pt x="0" y="600"/>
                  </a:cubicBezTo>
                  <a:lnTo>
                    <a:pt x="0" y="749"/>
                  </a:lnTo>
                  <a:cubicBezTo>
                    <a:pt x="0" y="1081"/>
                    <a:pt x="269" y="1350"/>
                    <a:pt x="600" y="1350"/>
                  </a:cubicBezTo>
                  <a:lnTo>
                    <a:pt x="1821" y="1350"/>
                  </a:lnTo>
                  <a:cubicBezTo>
                    <a:pt x="2153" y="1350"/>
                    <a:pt x="2422" y="1081"/>
                    <a:pt x="2422" y="749"/>
                  </a:cubicBezTo>
                  <a:lnTo>
                    <a:pt x="2422" y="600"/>
                  </a:lnTo>
                  <a:lnTo>
                    <a:pt x="2422" y="60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0" name="Freeform: Shape 3059">
              <a:extLst>
                <a:ext uri="{FF2B5EF4-FFF2-40B4-BE49-F238E27FC236}">
                  <a16:creationId xmlns:a16="http://schemas.microsoft.com/office/drawing/2014/main" id="{823BAF8E-0B1C-A3A6-3482-CC30845BC2EB}"/>
                </a:ext>
              </a:extLst>
            </p:cNvPr>
            <p:cNvSpPr/>
            <p:nvPr/>
          </p:nvSpPr>
          <p:spPr>
            <a:xfrm>
              <a:off x="9109427" y="3600924"/>
              <a:ext cx="2423" cy="1349"/>
            </a:xfrm>
            <a:custGeom>
              <a:avLst/>
              <a:gdLst>
                <a:gd name="connsiteX0" fmla="*/ 0 w 2423"/>
                <a:gd name="connsiteY0" fmla="*/ 602 h 1349"/>
                <a:gd name="connsiteX1" fmla="*/ 602 w 2423"/>
                <a:gd name="connsiteY1" fmla="*/ 0 h 1349"/>
                <a:gd name="connsiteX2" fmla="*/ 1823 w 2423"/>
                <a:gd name="connsiteY2" fmla="*/ 0 h 1349"/>
                <a:gd name="connsiteX3" fmla="*/ 2423 w 2423"/>
                <a:gd name="connsiteY3" fmla="*/ 602 h 1349"/>
                <a:gd name="connsiteX4" fmla="*/ 2423 w 2423"/>
                <a:gd name="connsiteY4" fmla="*/ 749 h 1349"/>
                <a:gd name="connsiteX5" fmla="*/ 1823 w 2423"/>
                <a:gd name="connsiteY5" fmla="*/ 1350 h 1349"/>
                <a:gd name="connsiteX6" fmla="*/ 602 w 2423"/>
                <a:gd name="connsiteY6" fmla="*/ 1350 h 1349"/>
                <a:gd name="connsiteX7" fmla="*/ 0 w 2423"/>
                <a:gd name="connsiteY7" fmla="*/ 749 h 1349"/>
                <a:gd name="connsiteX8" fmla="*/ 0 w 2423"/>
                <a:gd name="connsiteY8" fmla="*/ 602 h 1349"/>
                <a:gd name="connsiteX9" fmla="*/ 0 w 2423"/>
                <a:gd name="connsiteY9" fmla="*/ 602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3" h="1349">
                  <a:moveTo>
                    <a:pt x="0" y="602"/>
                  </a:moveTo>
                  <a:cubicBezTo>
                    <a:pt x="0" y="269"/>
                    <a:pt x="271" y="0"/>
                    <a:pt x="602" y="0"/>
                  </a:cubicBezTo>
                  <a:lnTo>
                    <a:pt x="1823" y="0"/>
                  </a:lnTo>
                  <a:cubicBezTo>
                    <a:pt x="2155" y="0"/>
                    <a:pt x="2423" y="269"/>
                    <a:pt x="2423" y="602"/>
                  </a:cubicBezTo>
                  <a:lnTo>
                    <a:pt x="2423" y="749"/>
                  </a:lnTo>
                  <a:cubicBezTo>
                    <a:pt x="2423" y="1081"/>
                    <a:pt x="2155" y="1350"/>
                    <a:pt x="1823" y="1350"/>
                  </a:cubicBezTo>
                  <a:lnTo>
                    <a:pt x="602" y="1350"/>
                  </a:lnTo>
                  <a:cubicBezTo>
                    <a:pt x="271" y="1350"/>
                    <a:pt x="0" y="1081"/>
                    <a:pt x="0" y="749"/>
                  </a:cubicBezTo>
                  <a:lnTo>
                    <a:pt x="0" y="602"/>
                  </a:lnTo>
                  <a:lnTo>
                    <a:pt x="0" y="602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1" name="Freeform: Shape 3060">
              <a:extLst>
                <a:ext uri="{FF2B5EF4-FFF2-40B4-BE49-F238E27FC236}">
                  <a16:creationId xmlns:a16="http://schemas.microsoft.com/office/drawing/2014/main" id="{24D698B3-9017-53DE-634F-51C13C35D1E6}"/>
                </a:ext>
              </a:extLst>
            </p:cNvPr>
            <p:cNvSpPr/>
            <p:nvPr/>
          </p:nvSpPr>
          <p:spPr>
            <a:xfrm>
              <a:off x="9124693" y="3607927"/>
              <a:ext cx="2421" cy="1349"/>
            </a:xfrm>
            <a:custGeom>
              <a:avLst/>
              <a:gdLst>
                <a:gd name="connsiteX0" fmla="*/ 2422 w 2421"/>
                <a:gd name="connsiteY0" fmla="*/ 676 h 1349"/>
                <a:gd name="connsiteX1" fmla="*/ 1748 w 2421"/>
                <a:gd name="connsiteY1" fmla="*/ 0 h 1349"/>
                <a:gd name="connsiteX2" fmla="*/ 674 w 2421"/>
                <a:gd name="connsiteY2" fmla="*/ 0 h 1349"/>
                <a:gd name="connsiteX3" fmla="*/ 0 w 2421"/>
                <a:gd name="connsiteY3" fmla="*/ 676 h 1349"/>
                <a:gd name="connsiteX4" fmla="*/ 674 w 2421"/>
                <a:gd name="connsiteY4" fmla="*/ 1350 h 1349"/>
                <a:gd name="connsiteX5" fmla="*/ 1748 w 2421"/>
                <a:gd name="connsiteY5" fmla="*/ 1350 h 1349"/>
                <a:gd name="connsiteX6" fmla="*/ 2422 w 2421"/>
                <a:gd name="connsiteY6" fmla="*/ 676 h 1349"/>
                <a:gd name="connsiteX7" fmla="*/ 2422 w 2421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1" h="1349">
                  <a:moveTo>
                    <a:pt x="2422" y="676"/>
                  </a:moveTo>
                  <a:cubicBezTo>
                    <a:pt x="2422" y="303"/>
                    <a:pt x="2121" y="0"/>
                    <a:pt x="1748" y="0"/>
                  </a:cubicBezTo>
                  <a:lnTo>
                    <a:pt x="674" y="0"/>
                  </a:lnTo>
                  <a:cubicBezTo>
                    <a:pt x="301" y="0"/>
                    <a:pt x="0" y="303"/>
                    <a:pt x="0" y="676"/>
                  </a:cubicBezTo>
                  <a:cubicBezTo>
                    <a:pt x="0" y="1049"/>
                    <a:pt x="301" y="1350"/>
                    <a:pt x="674" y="1350"/>
                  </a:cubicBezTo>
                  <a:lnTo>
                    <a:pt x="1748" y="1350"/>
                  </a:lnTo>
                  <a:cubicBezTo>
                    <a:pt x="2121" y="1350"/>
                    <a:pt x="2422" y="1049"/>
                    <a:pt x="2422" y="676"/>
                  </a:cubicBezTo>
                  <a:lnTo>
                    <a:pt x="2422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2" name="Freeform: Shape 3061">
              <a:extLst>
                <a:ext uri="{FF2B5EF4-FFF2-40B4-BE49-F238E27FC236}">
                  <a16:creationId xmlns:a16="http://schemas.microsoft.com/office/drawing/2014/main" id="{6D45F00F-DC95-BECD-F45C-FBD331CDC248}"/>
                </a:ext>
              </a:extLst>
            </p:cNvPr>
            <p:cNvSpPr/>
            <p:nvPr/>
          </p:nvSpPr>
          <p:spPr>
            <a:xfrm>
              <a:off x="9100052" y="3607927"/>
              <a:ext cx="2421" cy="1349"/>
            </a:xfrm>
            <a:custGeom>
              <a:avLst/>
              <a:gdLst>
                <a:gd name="connsiteX0" fmla="*/ 2422 w 2421"/>
                <a:gd name="connsiteY0" fmla="*/ 676 h 1349"/>
                <a:gd name="connsiteX1" fmla="*/ 1746 w 2421"/>
                <a:gd name="connsiteY1" fmla="*/ 0 h 1349"/>
                <a:gd name="connsiteX2" fmla="*/ 674 w 2421"/>
                <a:gd name="connsiteY2" fmla="*/ 0 h 1349"/>
                <a:gd name="connsiteX3" fmla="*/ 0 w 2421"/>
                <a:gd name="connsiteY3" fmla="*/ 676 h 1349"/>
                <a:gd name="connsiteX4" fmla="*/ 674 w 2421"/>
                <a:gd name="connsiteY4" fmla="*/ 1350 h 1349"/>
                <a:gd name="connsiteX5" fmla="*/ 1746 w 2421"/>
                <a:gd name="connsiteY5" fmla="*/ 1350 h 1349"/>
                <a:gd name="connsiteX6" fmla="*/ 2422 w 2421"/>
                <a:gd name="connsiteY6" fmla="*/ 676 h 1349"/>
                <a:gd name="connsiteX7" fmla="*/ 2422 w 2421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1" h="1349">
                  <a:moveTo>
                    <a:pt x="2422" y="676"/>
                  </a:moveTo>
                  <a:cubicBezTo>
                    <a:pt x="2422" y="303"/>
                    <a:pt x="2119" y="0"/>
                    <a:pt x="1746" y="0"/>
                  </a:cubicBezTo>
                  <a:lnTo>
                    <a:pt x="674" y="0"/>
                  </a:lnTo>
                  <a:cubicBezTo>
                    <a:pt x="301" y="0"/>
                    <a:pt x="0" y="303"/>
                    <a:pt x="0" y="676"/>
                  </a:cubicBezTo>
                  <a:cubicBezTo>
                    <a:pt x="0" y="1049"/>
                    <a:pt x="301" y="1350"/>
                    <a:pt x="674" y="1350"/>
                  </a:cubicBezTo>
                  <a:lnTo>
                    <a:pt x="1746" y="1350"/>
                  </a:lnTo>
                  <a:cubicBezTo>
                    <a:pt x="2119" y="1350"/>
                    <a:pt x="2422" y="1049"/>
                    <a:pt x="2422" y="676"/>
                  </a:cubicBezTo>
                  <a:lnTo>
                    <a:pt x="2422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3" name="Freeform: Shape 3062">
              <a:extLst>
                <a:ext uri="{FF2B5EF4-FFF2-40B4-BE49-F238E27FC236}">
                  <a16:creationId xmlns:a16="http://schemas.microsoft.com/office/drawing/2014/main" id="{8EDBBEEC-24A6-D1F7-CBA8-79CAF827DD53}"/>
                </a:ext>
              </a:extLst>
            </p:cNvPr>
            <p:cNvSpPr/>
            <p:nvPr/>
          </p:nvSpPr>
          <p:spPr>
            <a:xfrm>
              <a:off x="9119970" y="3604446"/>
              <a:ext cx="2783" cy="1349"/>
            </a:xfrm>
            <a:custGeom>
              <a:avLst/>
              <a:gdLst>
                <a:gd name="connsiteX0" fmla="*/ 2784 w 2783"/>
                <a:gd name="connsiteY0" fmla="*/ 635 h 1349"/>
                <a:gd name="connsiteX1" fmla="*/ 2149 w 2783"/>
                <a:gd name="connsiteY1" fmla="*/ 0 h 1349"/>
                <a:gd name="connsiteX2" fmla="*/ 635 w 2783"/>
                <a:gd name="connsiteY2" fmla="*/ 0 h 1349"/>
                <a:gd name="connsiteX3" fmla="*/ 0 w 2783"/>
                <a:gd name="connsiteY3" fmla="*/ 635 h 1349"/>
                <a:gd name="connsiteX4" fmla="*/ 0 w 2783"/>
                <a:gd name="connsiteY4" fmla="*/ 715 h 1349"/>
                <a:gd name="connsiteX5" fmla="*/ 635 w 2783"/>
                <a:gd name="connsiteY5" fmla="*/ 1350 h 1349"/>
                <a:gd name="connsiteX6" fmla="*/ 2149 w 2783"/>
                <a:gd name="connsiteY6" fmla="*/ 1350 h 1349"/>
                <a:gd name="connsiteX7" fmla="*/ 2784 w 2783"/>
                <a:gd name="connsiteY7" fmla="*/ 715 h 1349"/>
                <a:gd name="connsiteX8" fmla="*/ 2784 w 2783"/>
                <a:gd name="connsiteY8" fmla="*/ 635 h 1349"/>
                <a:gd name="connsiteX9" fmla="*/ 2784 w 2783"/>
                <a:gd name="connsiteY9" fmla="*/ 635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3" h="1349">
                  <a:moveTo>
                    <a:pt x="2784" y="635"/>
                  </a:moveTo>
                  <a:cubicBezTo>
                    <a:pt x="2784" y="285"/>
                    <a:pt x="2499" y="0"/>
                    <a:pt x="2149" y="0"/>
                  </a:cubicBezTo>
                  <a:lnTo>
                    <a:pt x="635" y="0"/>
                  </a:lnTo>
                  <a:cubicBezTo>
                    <a:pt x="283" y="0"/>
                    <a:pt x="0" y="285"/>
                    <a:pt x="0" y="635"/>
                  </a:cubicBezTo>
                  <a:lnTo>
                    <a:pt x="0" y="715"/>
                  </a:lnTo>
                  <a:cubicBezTo>
                    <a:pt x="0" y="1067"/>
                    <a:pt x="283" y="1350"/>
                    <a:pt x="635" y="1350"/>
                  </a:cubicBezTo>
                  <a:lnTo>
                    <a:pt x="2149" y="1350"/>
                  </a:lnTo>
                  <a:cubicBezTo>
                    <a:pt x="2499" y="1350"/>
                    <a:pt x="2784" y="1067"/>
                    <a:pt x="2784" y="715"/>
                  </a:cubicBezTo>
                  <a:lnTo>
                    <a:pt x="2784" y="635"/>
                  </a:lnTo>
                  <a:lnTo>
                    <a:pt x="2784" y="635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4" name="Freeform: Shape 3063">
              <a:extLst>
                <a:ext uri="{FF2B5EF4-FFF2-40B4-BE49-F238E27FC236}">
                  <a16:creationId xmlns:a16="http://schemas.microsoft.com/office/drawing/2014/main" id="{1FADE194-CF71-6F91-7FF5-336C4F479016}"/>
                </a:ext>
              </a:extLst>
            </p:cNvPr>
            <p:cNvSpPr/>
            <p:nvPr/>
          </p:nvSpPr>
          <p:spPr>
            <a:xfrm>
              <a:off x="9096942" y="3607927"/>
              <a:ext cx="2421" cy="1349"/>
            </a:xfrm>
            <a:custGeom>
              <a:avLst/>
              <a:gdLst>
                <a:gd name="connsiteX0" fmla="*/ 2422 w 2421"/>
                <a:gd name="connsiteY0" fmla="*/ 676 h 1349"/>
                <a:gd name="connsiteX1" fmla="*/ 1748 w 2421"/>
                <a:gd name="connsiteY1" fmla="*/ 0 h 1349"/>
                <a:gd name="connsiteX2" fmla="*/ 674 w 2421"/>
                <a:gd name="connsiteY2" fmla="*/ 0 h 1349"/>
                <a:gd name="connsiteX3" fmla="*/ 0 w 2421"/>
                <a:gd name="connsiteY3" fmla="*/ 676 h 1349"/>
                <a:gd name="connsiteX4" fmla="*/ 674 w 2421"/>
                <a:gd name="connsiteY4" fmla="*/ 1350 h 1349"/>
                <a:gd name="connsiteX5" fmla="*/ 1748 w 2421"/>
                <a:gd name="connsiteY5" fmla="*/ 1350 h 1349"/>
                <a:gd name="connsiteX6" fmla="*/ 2422 w 2421"/>
                <a:gd name="connsiteY6" fmla="*/ 676 h 1349"/>
                <a:gd name="connsiteX7" fmla="*/ 2422 w 2421"/>
                <a:gd name="connsiteY7" fmla="*/ 67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1" h="1349">
                  <a:moveTo>
                    <a:pt x="2422" y="676"/>
                  </a:moveTo>
                  <a:cubicBezTo>
                    <a:pt x="2422" y="303"/>
                    <a:pt x="2121" y="0"/>
                    <a:pt x="1748" y="0"/>
                  </a:cubicBezTo>
                  <a:lnTo>
                    <a:pt x="674" y="0"/>
                  </a:lnTo>
                  <a:cubicBezTo>
                    <a:pt x="301" y="0"/>
                    <a:pt x="0" y="303"/>
                    <a:pt x="0" y="676"/>
                  </a:cubicBezTo>
                  <a:cubicBezTo>
                    <a:pt x="0" y="1049"/>
                    <a:pt x="301" y="1350"/>
                    <a:pt x="674" y="1350"/>
                  </a:cubicBezTo>
                  <a:lnTo>
                    <a:pt x="1748" y="1350"/>
                  </a:lnTo>
                  <a:cubicBezTo>
                    <a:pt x="2121" y="1350"/>
                    <a:pt x="2422" y="1049"/>
                    <a:pt x="2422" y="676"/>
                  </a:cubicBezTo>
                  <a:lnTo>
                    <a:pt x="2422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5" name="Freeform: Shape 3064">
              <a:extLst>
                <a:ext uri="{FF2B5EF4-FFF2-40B4-BE49-F238E27FC236}">
                  <a16:creationId xmlns:a16="http://schemas.microsoft.com/office/drawing/2014/main" id="{FCC4E2A2-DBB2-4E09-B075-A0CF7519E5B6}"/>
                </a:ext>
              </a:extLst>
            </p:cNvPr>
            <p:cNvSpPr/>
            <p:nvPr/>
          </p:nvSpPr>
          <p:spPr>
            <a:xfrm>
              <a:off x="9117296" y="3604446"/>
              <a:ext cx="2168" cy="1349"/>
            </a:xfrm>
            <a:custGeom>
              <a:avLst/>
              <a:gdLst>
                <a:gd name="connsiteX0" fmla="*/ 2169 w 2168"/>
                <a:gd name="connsiteY0" fmla="*/ 627 h 1349"/>
                <a:gd name="connsiteX1" fmla="*/ 1542 w 2168"/>
                <a:gd name="connsiteY1" fmla="*/ 0 h 1349"/>
                <a:gd name="connsiteX2" fmla="*/ 627 w 2168"/>
                <a:gd name="connsiteY2" fmla="*/ 0 h 1349"/>
                <a:gd name="connsiteX3" fmla="*/ 0 w 2168"/>
                <a:gd name="connsiteY3" fmla="*/ 627 h 1349"/>
                <a:gd name="connsiteX4" fmla="*/ 0 w 2168"/>
                <a:gd name="connsiteY4" fmla="*/ 722 h 1349"/>
                <a:gd name="connsiteX5" fmla="*/ 627 w 2168"/>
                <a:gd name="connsiteY5" fmla="*/ 1350 h 1349"/>
                <a:gd name="connsiteX6" fmla="*/ 1542 w 2168"/>
                <a:gd name="connsiteY6" fmla="*/ 1350 h 1349"/>
                <a:gd name="connsiteX7" fmla="*/ 2169 w 2168"/>
                <a:gd name="connsiteY7" fmla="*/ 722 h 1349"/>
                <a:gd name="connsiteX8" fmla="*/ 2169 w 2168"/>
                <a:gd name="connsiteY8" fmla="*/ 627 h 1349"/>
                <a:gd name="connsiteX9" fmla="*/ 2169 w 2168"/>
                <a:gd name="connsiteY9" fmla="*/ 62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8" h="1349">
                  <a:moveTo>
                    <a:pt x="2169" y="627"/>
                  </a:moveTo>
                  <a:cubicBezTo>
                    <a:pt x="2169" y="281"/>
                    <a:pt x="1889" y="0"/>
                    <a:pt x="1542" y="0"/>
                  </a:cubicBezTo>
                  <a:lnTo>
                    <a:pt x="627" y="0"/>
                  </a:lnTo>
                  <a:cubicBezTo>
                    <a:pt x="280" y="0"/>
                    <a:pt x="0" y="281"/>
                    <a:pt x="0" y="627"/>
                  </a:cubicBezTo>
                  <a:lnTo>
                    <a:pt x="0" y="722"/>
                  </a:lnTo>
                  <a:cubicBezTo>
                    <a:pt x="0" y="1070"/>
                    <a:pt x="280" y="1350"/>
                    <a:pt x="627" y="1350"/>
                  </a:cubicBezTo>
                  <a:lnTo>
                    <a:pt x="1542" y="1350"/>
                  </a:lnTo>
                  <a:cubicBezTo>
                    <a:pt x="1889" y="1350"/>
                    <a:pt x="2169" y="1070"/>
                    <a:pt x="2169" y="722"/>
                  </a:cubicBezTo>
                  <a:lnTo>
                    <a:pt x="2169" y="627"/>
                  </a:lnTo>
                  <a:lnTo>
                    <a:pt x="2169" y="62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6" name="Freeform: Shape 3065">
              <a:extLst>
                <a:ext uri="{FF2B5EF4-FFF2-40B4-BE49-F238E27FC236}">
                  <a16:creationId xmlns:a16="http://schemas.microsoft.com/office/drawing/2014/main" id="{77612FB1-5BE1-56CD-085F-7B591AAA4789}"/>
                </a:ext>
              </a:extLst>
            </p:cNvPr>
            <p:cNvSpPr/>
            <p:nvPr/>
          </p:nvSpPr>
          <p:spPr>
            <a:xfrm>
              <a:off x="9109427" y="3604446"/>
              <a:ext cx="7433" cy="1349"/>
            </a:xfrm>
            <a:custGeom>
              <a:avLst/>
              <a:gdLst>
                <a:gd name="connsiteX0" fmla="*/ 7434 w 7433"/>
                <a:gd name="connsiteY0" fmla="*/ 660 h 1349"/>
                <a:gd name="connsiteX1" fmla="*/ 6774 w 7433"/>
                <a:gd name="connsiteY1" fmla="*/ 0 h 1349"/>
                <a:gd name="connsiteX2" fmla="*/ 661 w 7433"/>
                <a:gd name="connsiteY2" fmla="*/ 0 h 1349"/>
                <a:gd name="connsiteX3" fmla="*/ 0 w 7433"/>
                <a:gd name="connsiteY3" fmla="*/ 660 h 1349"/>
                <a:gd name="connsiteX4" fmla="*/ 0 w 7433"/>
                <a:gd name="connsiteY4" fmla="*/ 690 h 1349"/>
                <a:gd name="connsiteX5" fmla="*/ 661 w 7433"/>
                <a:gd name="connsiteY5" fmla="*/ 1350 h 1349"/>
                <a:gd name="connsiteX6" fmla="*/ 6774 w 7433"/>
                <a:gd name="connsiteY6" fmla="*/ 1350 h 1349"/>
                <a:gd name="connsiteX7" fmla="*/ 7434 w 7433"/>
                <a:gd name="connsiteY7" fmla="*/ 690 h 1349"/>
                <a:gd name="connsiteX8" fmla="*/ 7434 w 7433"/>
                <a:gd name="connsiteY8" fmla="*/ 660 h 1349"/>
                <a:gd name="connsiteX9" fmla="*/ 7434 w 7433"/>
                <a:gd name="connsiteY9" fmla="*/ 66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3" h="1349">
                  <a:moveTo>
                    <a:pt x="7434" y="660"/>
                  </a:moveTo>
                  <a:cubicBezTo>
                    <a:pt x="7434" y="296"/>
                    <a:pt x="7138" y="0"/>
                    <a:pt x="6774" y="0"/>
                  </a:cubicBezTo>
                  <a:lnTo>
                    <a:pt x="661" y="0"/>
                  </a:lnTo>
                  <a:cubicBezTo>
                    <a:pt x="296" y="0"/>
                    <a:pt x="0" y="296"/>
                    <a:pt x="0" y="660"/>
                  </a:cubicBezTo>
                  <a:lnTo>
                    <a:pt x="0" y="690"/>
                  </a:lnTo>
                  <a:cubicBezTo>
                    <a:pt x="0" y="1054"/>
                    <a:pt x="296" y="1350"/>
                    <a:pt x="661" y="1350"/>
                  </a:cubicBezTo>
                  <a:lnTo>
                    <a:pt x="6774" y="1350"/>
                  </a:lnTo>
                  <a:cubicBezTo>
                    <a:pt x="7138" y="1350"/>
                    <a:pt x="7434" y="1054"/>
                    <a:pt x="7434" y="690"/>
                  </a:cubicBezTo>
                  <a:lnTo>
                    <a:pt x="7434" y="660"/>
                  </a:lnTo>
                  <a:lnTo>
                    <a:pt x="7434" y="66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7" name="Freeform: Shape 3066">
              <a:extLst>
                <a:ext uri="{FF2B5EF4-FFF2-40B4-BE49-F238E27FC236}">
                  <a16:creationId xmlns:a16="http://schemas.microsoft.com/office/drawing/2014/main" id="{D2FB5CB0-0102-74BF-1329-6331AC0244D0}"/>
                </a:ext>
              </a:extLst>
            </p:cNvPr>
            <p:cNvSpPr/>
            <p:nvPr/>
          </p:nvSpPr>
          <p:spPr>
            <a:xfrm>
              <a:off x="9090720" y="3620810"/>
              <a:ext cx="9059" cy="1349"/>
            </a:xfrm>
            <a:custGeom>
              <a:avLst/>
              <a:gdLst>
                <a:gd name="connsiteX0" fmla="*/ 9059 w 9059"/>
                <a:gd name="connsiteY0" fmla="*/ 631 h 1349"/>
                <a:gd name="connsiteX1" fmla="*/ 8430 w 9059"/>
                <a:gd name="connsiteY1" fmla="*/ 0 h 1349"/>
                <a:gd name="connsiteX2" fmla="*/ 629 w 9059"/>
                <a:gd name="connsiteY2" fmla="*/ 0 h 1349"/>
                <a:gd name="connsiteX3" fmla="*/ 0 w 9059"/>
                <a:gd name="connsiteY3" fmla="*/ 631 h 1349"/>
                <a:gd name="connsiteX4" fmla="*/ 0 w 9059"/>
                <a:gd name="connsiteY4" fmla="*/ 721 h 1349"/>
                <a:gd name="connsiteX5" fmla="*/ 629 w 9059"/>
                <a:gd name="connsiteY5" fmla="*/ 1350 h 1349"/>
                <a:gd name="connsiteX6" fmla="*/ 8430 w 9059"/>
                <a:gd name="connsiteY6" fmla="*/ 1350 h 1349"/>
                <a:gd name="connsiteX7" fmla="*/ 9059 w 9059"/>
                <a:gd name="connsiteY7" fmla="*/ 721 h 1349"/>
                <a:gd name="connsiteX8" fmla="*/ 9059 w 9059"/>
                <a:gd name="connsiteY8" fmla="*/ 631 h 1349"/>
                <a:gd name="connsiteX9" fmla="*/ 9059 w 9059"/>
                <a:gd name="connsiteY9" fmla="*/ 631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9059" y="631"/>
                  </a:moveTo>
                  <a:cubicBezTo>
                    <a:pt x="9059" y="283"/>
                    <a:pt x="8778" y="0"/>
                    <a:pt x="8430" y="0"/>
                  </a:cubicBezTo>
                  <a:lnTo>
                    <a:pt x="629" y="0"/>
                  </a:lnTo>
                  <a:cubicBezTo>
                    <a:pt x="281" y="0"/>
                    <a:pt x="0" y="283"/>
                    <a:pt x="0" y="631"/>
                  </a:cubicBezTo>
                  <a:lnTo>
                    <a:pt x="0" y="721"/>
                  </a:lnTo>
                  <a:cubicBezTo>
                    <a:pt x="0" y="1068"/>
                    <a:pt x="281" y="1350"/>
                    <a:pt x="629" y="1350"/>
                  </a:cubicBezTo>
                  <a:lnTo>
                    <a:pt x="8430" y="1350"/>
                  </a:lnTo>
                  <a:cubicBezTo>
                    <a:pt x="8778" y="1350"/>
                    <a:pt x="9059" y="1068"/>
                    <a:pt x="9059" y="721"/>
                  </a:cubicBezTo>
                  <a:lnTo>
                    <a:pt x="9059" y="631"/>
                  </a:lnTo>
                  <a:lnTo>
                    <a:pt x="9059" y="631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8" name="Freeform: Shape 3067">
              <a:extLst>
                <a:ext uri="{FF2B5EF4-FFF2-40B4-BE49-F238E27FC236}">
                  <a16:creationId xmlns:a16="http://schemas.microsoft.com/office/drawing/2014/main" id="{65304B26-8733-F617-40E4-361473F05A0D}"/>
                </a:ext>
              </a:extLst>
            </p:cNvPr>
            <p:cNvSpPr/>
            <p:nvPr/>
          </p:nvSpPr>
          <p:spPr>
            <a:xfrm>
              <a:off x="9118056" y="3617289"/>
              <a:ext cx="9059" cy="1349"/>
            </a:xfrm>
            <a:custGeom>
              <a:avLst/>
              <a:gdLst>
                <a:gd name="connsiteX0" fmla="*/ 0 w 9059"/>
                <a:gd name="connsiteY0" fmla="*/ 629 h 1349"/>
                <a:gd name="connsiteX1" fmla="*/ 631 w 9059"/>
                <a:gd name="connsiteY1" fmla="*/ 0 h 1349"/>
                <a:gd name="connsiteX2" fmla="*/ 8430 w 9059"/>
                <a:gd name="connsiteY2" fmla="*/ 0 h 1349"/>
                <a:gd name="connsiteX3" fmla="*/ 9059 w 9059"/>
                <a:gd name="connsiteY3" fmla="*/ 629 h 1349"/>
                <a:gd name="connsiteX4" fmla="*/ 9059 w 9059"/>
                <a:gd name="connsiteY4" fmla="*/ 719 h 1349"/>
                <a:gd name="connsiteX5" fmla="*/ 8430 w 9059"/>
                <a:gd name="connsiteY5" fmla="*/ 1350 h 1349"/>
                <a:gd name="connsiteX6" fmla="*/ 631 w 9059"/>
                <a:gd name="connsiteY6" fmla="*/ 1350 h 1349"/>
                <a:gd name="connsiteX7" fmla="*/ 0 w 9059"/>
                <a:gd name="connsiteY7" fmla="*/ 719 h 1349"/>
                <a:gd name="connsiteX8" fmla="*/ 0 w 9059"/>
                <a:gd name="connsiteY8" fmla="*/ 629 h 1349"/>
                <a:gd name="connsiteX9" fmla="*/ 0 w 9059"/>
                <a:gd name="connsiteY9" fmla="*/ 629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59" h="1349">
                  <a:moveTo>
                    <a:pt x="0" y="629"/>
                  </a:moveTo>
                  <a:cubicBezTo>
                    <a:pt x="0" y="281"/>
                    <a:pt x="283" y="0"/>
                    <a:pt x="631" y="0"/>
                  </a:cubicBezTo>
                  <a:lnTo>
                    <a:pt x="8430" y="0"/>
                  </a:lnTo>
                  <a:cubicBezTo>
                    <a:pt x="8778" y="0"/>
                    <a:pt x="9059" y="281"/>
                    <a:pt x="9059" y="629"/>
                  </a:cubicBezTo>
                  <a:lnTo>
                    <a:pt x="9059" y="719"/>
                  </a:lnTo>
                  <a:cubicBezTo>
                    <a:pt x="9059" y="1067"/>
                    <a:pt x="8778" y="1350"/>
                    <a:pt x="8430" y="1350"/>
                  </a:cubicBezTo>
                  <a:lnTo>
                    <a:pt x="631" y="1350"/>
                  </a:lnTo>
                  <a:cubicBezTo>
                    <a:pt x="283" y="1350"/>
                    <a:pt x="0" y="1067"/>
                    <a:pt x="0" y="719"/>
                  </a:cubicBezTo>
                  <a:lnTo>
                    <a:pt x="0" y="629"/>
                  </a:lnTo>
                  <a:lnTo>
                    <a:pt x="0" y="62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9" name="Freeform: Shape 3068">
              <a:extLst>
                <a:ext uri="{FF2B5EF4-FFF2-40B4-BE49-F238E27FC236}">
                  <a16:creationId xmlns:a16="http://schemas.microsoft.com/office/drawing/2014/main" id="{A8015742-064B-389E-43AA-0B79811585E3}"/>
                </a:ext>
              </a:extLst>
            </p:cNvPr>
            <p:cNvSpPr/>
            <p:nvPr/>
          </p:nvSpPr>
          <p:spPr>
            <a:xfrm>
              <a:off x="9100358" y="3620810"/>
              <a:ext cx="5074" cy="1349"/>
            </a:xfrm>
            <a:custGeom>
              <a:avLst/>
              <a:gdLst>
                <a:gd name="connsiteX0" fmla="*/ 5075 w 5074"/>
                <a:gd name="connsiteY0" fmla="*/ 617 h 1349"/>
                <a:gd name="connsiteX1" fmla="*/ 4458 w 5074"/>
                <a:gd name="connsiteY1" fmla="*/ 0 h 1349"/>
                <a:gd name="connsiteX2" fmla="*/ 617 w 5074"/>
                <a:gd name="connsiteY2" fmla="*/ 0 h 1349"/>
                <a:gd name="connsiteX3" fmla="*/ 0 w 5074"/>
                <a:gd name="connsiteY3" fmla="*/ 617 h 1349"/>
                <a:gd name="connsiteX4" fmla="*/ 0 w 5074"/>
                <a:gd name="connsiteY4" fmla="*/ 733 h 1349"/>
                <a:gd name="connsiteX5" fmla="*/ 617 w 5074"/>
                <a:gd name="connsiteY5" fmla="*/ 1350 h 1349"/>
                <a:gd name="connsiteX6" fmla="*/ 4458 w 5074"/>
                <a:gd name="connsiteY6" fmla="*/ 1350 h 1349"/>
                <a:gd name="connsiteX7" fmla="*/ 5075 w 5074"/>
                <a:gd name="connsiteY7" fmla="*/ 733 h 1349"/>
                <a:gd name="connsiteX8" fmla="*/ 5075 w 5074"/>
                <a:gd name="connsiteY8" fmla="*/ 617 h 1349"/>
                <a:gd name="connsiteX9" fmla="*/ 5075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5075" y="617"/>
                  </a:moveTo>
                  <a:cubicBezTo>
                    <a:pt x="5075" y="276"/>
                    <a:pt x="4799" y="0"/>
                    <a:pt x="4458" y="0"/>
                  </a:cubicBezTo>
                  <a:lnTo>
                    <a:pt x="617" y="0"/>
                  </a:lnTo>
                  <a:cubicBezTo>
                    <a:pt x="276" y="0"/>
                    <a:pt x="0" y="276"/>
                    <a:pt x="0" y="617"/>
                  </a:cubicBezTo>
                  <a:lnTo>
                    <a:pt x="0" y="733"/>
                  </a:lnTo>
                  <a:cubicBezTo>
                    <a:pt x="0" y="1074"/>
                    <a:pt x="276" y="1350"/>
                    <a:pt x="617" y="1350"/>
                  </a:cubicBezTo>
                  <a:lnTo>
                    <a:pt x="4458" y="1350"/>
                  </a:lnTo>
                  <a:cubicBezTo>
                    <a:pt x="4799" y="1350"/>
                    <a:pt x="5075" y="1074"/>
                    <a:pt x="5075" y="733"/>
                  </a:cubicBezTo>
                  <a:lnTo>
                    <a:pt x="5075" y="617"/>
                  </a:lnTo>
                  <a:lnTo>
                    <a:pt x="5075" y="61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0" name="Freeform: Shape 3069">
              <a:extLst>
                <a:ext uri="{FF2B5EF4-FFF2-40B4-BE49-F238E27FC236}">
                  <a16:creationId xmlns:a16="http://schemas.microsoft.com/office/drawing/2014/main" id="{AAC74518-7ADC-9632-5097-4DB9A635E067}"/>
                </a:ext>
              </a:extLst>
            </p:cNvPr>
            <p:cNvSpPr/>
            <p:nvPr/>
          </p:nvSpPr>
          <p:spPr>
            <a:xfrm>
              <a:off x="9112402" y="3617289"/>
              <a:ext cx="5074" cy="1349"/>
            </a:xfrm>
            <a:custGeom>
              <a:avLst/>
              <a:gdLst>
                <a:gd name="connsiteX0" fmla="*/ 0 w 5074"/>
                <a:gd name="connsiteY0" fmla="*/ 617 h 1349"/>
                <a:gd name="connsiteX1" fmla="*/ 617 w 5074"/>
                <a:gd name="connsiteY1" fmla="*/ 0 h 1349"/>
                <a:gd name="connsiteX2" fmla="*/ 4458 w 5074"/>
                <a:gd name="connsiteY2" fmla="*/ 0 h 1349"/>
                <a:gd name="connsiteX3" fmla="*/ 5075 w 5074"/>
                <a:gd name="connsiteY3" fmla="*/ 617 h 1349"/>
                <a:gd name="connsiteX4" fmla="*/ 5075 w 5074"/>
                <a:gd name="connsiteY4" fmla="*/ 733 h 1349"/>
                <a:gd name="connsiteX5" fmla="*/ 4458 w 5074"/>
                <a:gd name="connsiteY5" fmla="*/ 1350 h 1349"/>
                <a:gd name="connsiteX6" fmla="*/ 617 w 5074"/>
                <a:gd name="connsiteY6" fmla="*/ 1350 h 1349"/>
                <a:gd name="connsiteX7" fmla="*/ 0 w 5074"/>
                <a:gd name="connsiteY7" fmla="*/ 733 h 1349"/>
                <a:gd name="connsiteX8" fmla="*/ 0 w 5074"/>
                <a:gd name="connsiteY8" fmla="*/ 617 h 1349"/>
                <a:gd name="connsiteX9" fmla="*/ 0 w 5074"/>
                <a:gd name="connsiteY9" fmla="*/ 61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4" h="1349">
                  <a:moveTo>
                    <a:pt x="0" y="617"/>
                  </a:moveTo>
                  <a:cubicBezTo>
                    <a:pt x="0" y="276"/>
                    <a:pt x="276" y="0"/>
                    <a:pt x="617" y="0"/>
                  </a:cubicBezTo>
                  <a:lnTo>
                    <a:pt x="4458" y="0"/>
                  </a:lnTo>
                  <a:cubicBezTo>
                    <a:pt x="4799" y="0"/>
                    <a:pt x="5075" y="276"/>
                    <a:pt x="5075" y="617"/>
                  </a:cubicBezTo>
                  <a:lnTo>
                    <a:pt x="5075" y="733"/>
                  </a:lnTo>
                  <a:cubicBezTo>
                    <a:pt x="5075" y="1074"/>
                    <a:pt x="4799" y="1350"/>
                    <a:pt x="4458" y="1350"/>
                  </a:cubicBezTo>
                  <a:lnTo>
                    <a:pt x="617" y="1350"/>
                  </a:lnTo>
                  <a:cubicBezTo>
                    <a:pt x="276" y="1350"/>
                    <a:pt x="0" y="1074"/>
                    <a:pt x="0" y="733"/>
                  </a:cubicBezTo>
                  <a:lnTo>
                    <a:pt x="0" y="617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1" name="Freeform: Shape 3070">
              <a:extLst>
                <a:ext uri="{FF2B5EF4-FFF2-40B4-BE49-F238E27FC236}">
                  <a16:creationId xmlns:a16="http://schemas.microsoft.com/office/drawing/2014/main" id="{3D123749-779F-16DB-F1CA-A294075051D4}"/>
                </a:ext>
              </a:extLst>
            </p:cNvPr>
            <p:cNvSpPr/>
            <p:nvPr/>
          </p:nvSpPr>
          <p:spPr>
            <a:xfrm>
              <a:off x="9119067" y="3624291"/>
              <a:ext cx="5074" cy="1351"/>
            </a:xfrm>
            <a:custGeom>
              <a:avLst/>
              <a:gdLst>
                <a:gd name="connsiteX0" fmla="*/ 5075 w 5074"/>
                <a:gd name="connsiteY0" fmla="*/ 676 h 1351"/>
                <a:gd name="connsiteX1" fmla="*/ 4399 w 5074"/>
                <a:gd name="connsiteY1" fmla="*/ 0 h 1351"/>
                <a:gd name="connsiteX2" fmla="*/ 674 w 5074"/>
                <a:gd name="connsiteY2" fmla="*/ 0 h 1351"/>
                <a:gd name="connsiteX3" fmla="*/ 0 w 5074"/>
                <a:gd name="connsiteY3" fmla="*/ 676 h 1351"/>
                <a:gd name="connsiteX4" fmla="*/ 674 w 5074"/>
                <a:gd name="connsiteY4" fmla="*/ 1352 h 1351"/>
                <a:gd name="connsiteX5" fmla="*/ 4399 w 5074"/>
                <a:gd name="connsiteY5" fmla="*/ 1352 h 1351"/>
                <a:gd name="connsiteX6" fmla="*/ 5075 w 5074"/>
                <a:gd name="connsiteY6" fmla="*/ 676 h 1351"/>
                <a:gd name="connsiteX7" fmla="*/ 5075 w 5074"/>
                <a:gd name="connsiteY7" fmla="*/ 676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74" h="1351">
                  <a:moveTo>
                    <a:pt x="5075" y="676"/>
                  </a:moveTo>
                  <a:cubicBezTo>
                    <a:pt x="5075" y="303"/>
                    <a:pt x="4772" y="0"/>
                    <a:pt x="4399" y="0"/>
                  </a:cubicBezTo>
                  <a:lnTo>
                    <a:pt x="674" y="0"/>
                  </a:lnTo>
                  <a:cubicBezTo>
                    <a:pt x="301" y="0"/>
                    <a:pt x="0" y="303"/>
                    <a:pt x="0" y="676"/>
                  </a:cubicBezTo>
                  <a:cubicBezTo>
                    <a:pt x="0" y="1049"/>
                    <a:pt x="301" y="1352"/>
                    <a:pt x="674" y="1352"/>
                  </a:cubicBezTo>
                  <a:lnTo>
                    <a:pt x="4399" y="1352"/>
                  </a:lnTo>
                  <a:cubicBezTo>
                    <a:pt x="4772" y="1352"/>
                    <a:pt x="5075" y="1049"/>
                    <a:pt x="5075" y="676"/>
                  </a:cubicBezTo>
                  <a:lnTo>
                    <a:pt x="5075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2" name="Freeform: Shape 3071">
              <a:extLst>
                <a:ext uri="{FF2B5EF4-FFF2-40B4-BE49-F238E27FC236}">
                  <a16:creationId xmlns:a16="http://schemas.microsoft.com/office/drawing/2014/main" id="{939FF648-C791-B692-E0E9-F6E3CE043416}"/>
                </a:ext>
              </a:extLst>
            </p:cNvPr>
            <p:cNvSpPr/>
            <p:nvPr/>
          </p:nvSpPr>
          <p:spPr>
            <a:xfrm>
              <a:off x="9123718" y="3620810"/>
              <a:ext cx="3396" cy="1349"/>
            </a:xfrm>
            <a:custGeom>
              <a:avLst/>
              <a:gdLst>
                <a:gd name="connsiteX0" fmla="*/ 3397 w 3396"/>
                <a:gd name="connsiteY0" fmla="*/ 658 h 1349"/>
                <a:gd name="connsiteX1" fmla="*/ 2741 w 3396"/>
                <a:gd name="connsiteY1" fmla="*/ 0 h 1349"/>
                <a:gd name="connsiteX2" fmla="*/ 658 w 3396"/>
                <a:gd name="connsiteY2" fmla="*/ 0 h 1349"/>
                <a:gd name="connsiteX3" fmla="*/ 0 w 3396"/>
                <a:gd name="connsiteY3" fmla="*/ 658 h 1349"/>
                <a:gd name="connsiteX4" fmla="*/ 0 w 3396"/>
                <a:gd name="connsiteY4" fmla="*/ 694 h 1349"/>
                <a:gd name="connsiteX5" fmla="*/ 658 w 3396"/>
                <a:gd name="connsiteY5" fmla="*/ 1350 h 1349"/>
                <a:gd name="connsiteX6" fmla="*/ 2741 w 3396"/>
                <a:gd name="connsiteY6" fmla="*/ 1350 h 1349"/>
                <a:gd name="connsiteX7" fmla="*/ 3397 w 3396"/>
                <a:gd name="connsiteY7" fmla="*/ 694 h 1349"/>
                <a:gd name="connsiteX8" fmla="*/ 3397 w 3396"/>
                <a:gd name="connsiteY8" fmla="*/ 658 h 1349"/>
                <a:gd name="connsiteX9" fmla="*/ 3397 w 3396"/>
                <a:gd name="connsiteY9" fmla="*/ 658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6" h="1349">
                  <a:moveTo>
                    <a:pt x="3397" y="658"/>
                  </a:moveTo>
                  <a:cubicBezTo>
                    <a:pt x="3397" y="296"/>
                    <a:pt x="3103" y="0"/>
                    <a:pt x="2741" y="0"/>
                  </a:cubicBezTo>
                  <a:lnTo>
                    <a:pt x="658" y="0"/>
                  </a:lnTo>
                  <a:cubicBezTo>
                    <a:pt x="294" y="0"/>
                    <a:pt x="0" y="296"/>
                    <a:pt x="0" y="658"/>
                  </a:cubicBezTo>
                  <a:lnTo>
                    <a:pt x="0" y="694"/>
                  </a:lnTo>
                  <a:cubicBezTo>
                    <a:pt x="0" y="1056"/>
                    <a:pt x="294" y="1350"/>
                    <a:pt x="658" y="1350"/>
                  </a:cubicBezTo>
                  <a:lnTo>
                    <a:pt x="2741" y="1350"/>
                  </a:lnTo>
                  <a:cubicBezTo>
                    <a:pt x="3103" y="1350"/>
                    <a:pt x="3397" y="1056"/>
                    <a:pt x="3397" y="694"/>
                  </a:cubicBezTo>
                  <a:lnTo>
                    <a:pt x="3397" y="658"/>
                  </a:lnTo>
                  <a:lnTo>
                    <a:pt x="3397" y="658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3" name="Freeform: Shape 3072">
              <a:extLst>
                <a:ext uri="{FF2B5EF4-FFF2-40B4-BE49-F238E27FC236}">
                  <a16:creationId xmlns:a16="http://schemas.microsoft.com/office/drawing/2014/main" id="{E7D7BF1C-73BC-8DE0-1C7D-F42880F5F580}"/>
                </a:ext>
              </a:extLst>
            </p:cNvPr>
            <p:cNvSpPr/>
            <p:nvPr/>
          </p:nvSpPr>
          <p:spPr>
            <a:xfrm>
              <a:off x="9105987" y="3620810"/>
              <a:ext cx="2421" cy="1349"/>
            </a:xfrm>
            <a:custGeom>
              <a:avLst/>
              <a:gdLst>
                <a:gd name="connsiteX0" fmla="*/ 2422 w 2421"/>
                <a:gd name="connsiteY0" fmla="*/ 602 h 1349"/>
                <a:gd name="connsiteX1" fmla="*/ 1821 w 2421"/>
                <a:gd name="connsiteY1" fmla="*/ 0 h 1349"/>
                <a:gd name="connsiteX2" fmla="*/ 600 w 2421"/>
                <a:gd name="connsiteY2" fmla="*/ 0 h 1349"/>
                <a:gd name="connsiteX3" fmla="*/ 0 w 2421"/>
                <a:gd name="connsiteY3" fmla="*/ 602 h 1349"/>
                <a:gd name="connsiteX4" fmla="*/ 0 w 2421"/>
                <a:gd name="connsiteY4" fmla="*/ 749 h 1349"/>
                <a:gd name="connsiteX5" fmla="*/ 600 w 2421"/>
                <a:gd name="connsiteY5" fmla="*/ 1350 h 1349"/>
                <a:gd name="connsiteX6" fmla="*/ 1821 w 2421"/>
                <a:gd name="connsiteY6" fmla="*/ 1350 h 1349"/>
                <a:gd name="connsiteX7" fmla="*/ 2422 w 2421"/>
                <a:gd name="connsiteY7" fmla="*/ 749 h 1349"/>
                <a:gd name="connsiteX8" fmla="*/ 2422 w 2421"/>
                <a:gd name="connsiteY8" fmla="*/ 602 h 1349"/>
                <a:gd name="connsiteX9" fmla="*/ 2422 w 2421"/>
                <a:gd name="connsiteY9" fmla="*/ 602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1" h="1349">
                  <a:moveTo>
                    <a:pt x="2422" y="602"/>
                  </a:moveTo>
                  <a:cubicBezTo>
                    <a:pt x="2422" y="269"/>
                    <a:pt x="2153" y="0"/>
                    <a:pt x="1821" y="0"/>
                  </a:cubicBezTo>
                  <a:lnTo>
                    <a:pt x="600" y="0"/>
                  </a:lnTo>
                  <a:cubicBezTo>
                    <a:pt x="269" y="0"/>
                    <a:pt x="0" y="269"/>
                    <a:pt x="0" y="602"/>
                  </a:cubicBezTo>
                  <a:lnTo>
                    <a:pt x="0" y="749"/>
                  </a:lnTo>
                  <a:cubicBezTo>
                    <a:pt x="0" y="1081"/>
                    <a:pt x="269" y="1350"/>
                    <a:pt x="600" y="1350"/>
                  </a:cubicBezTo>
                  <a:lnTo>
                    <a:pt x="1821" y="1350"/>
                  </a:lnTo>
                  <a:cubicBezTo>
                    <a:pt x="2153" y="1350"/>
                    <a:pt x="2422" y="1081"/>
                    <a:pt x="2422" y="749"/>
                  </a:cubicBezTo>
                  <a:lnTo>
                    <a:pt x="2422" y="602"/>
                  </a:lnTo>
                  <a:lnTo>
                    <a:pt x="2422" y="602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4" name="Freeform: Shape 3073">
              <a:extLst>
                <a:ext uri="{FF2B5EF4-FFF2-40B4-BE49-F238E27FC236}">
                  <a16:creationId xmlns:a16="http://schemas.microsoft.com/office/drawing/2014/main" id="{007CBAC4-AA65-1652-0069-37CE0FCF34E3}"/>
                </a:ext>
              </a:extLst>
            </p:cNvPr>
            <p:cNvSpPr/>
            <p:nvPr/>
          </p:nvSpPr>
          <p:spPr>
            <a:xfrm>
              <a:off x="9109427" y="3617289"/>
              <a:ext cx="2423" cy="1349"/>
            </a:xfrm>
            <a:custGeom>
              <a:avLst/>
              <a:gdLst>
                <a:gd name="connsiteX0" fmla="*/ 0 w 2423"/>
                <a:gd name="connsiteY0" fmla="*/ 601 h 1349"/>
                <a:gd name="connsiteX1" fmla="*/ 602 w 2423"/>
                <a:gd name="connsiteY1" fmla="*/ 0 h 1349"/>
                <a:gd name="connsiteX2" fmla="*/ 1823 w 2423"/>
                <a:gd name="connsiteY2" fmla="*/ 0 h 1349"/>
                <a:gd name="connsiteX3" fmla="*/ 2423 w 2423"/>
                <a:gd name="connsiteY3" fmla="*/ 601 h 1349"/>
                <a:gd name="connsiteX4" fmla="*/ 2423 w 2423"/>
                <a:gd name="connsiteY4" fmla="*/ 747 h 1349"/>
                <a:gd name="connsiteX5" fmla="*/ 1823 w 2423"/>
                <a:gd name="connsiteY5" fmla="*/ 1350 h 1349"/>
                <a:gd name="connsiteX6" fmla="*/ 602 w 2423"/>
                <a:gd name="connsiteY6" fmla="*/ 1350 h 1349"/>
                <a:gd name="connsiteX7" fmla="*/ 0 w 2423"/>
                <a:gd name="connsiteY7" fmla="*/ 747 h 1349"/>
                <a:gd name="connsiteX8" fmla="*/ 0 w 2423"/>
                <a:gd name="connsiteY8" fmla="*/ 601 h 1349"/>
                <a:gd name="connsiteX9" fmla="*/ 0 w 2423"/>
                <a:gd name="connsiteY9" fmla="*/ 601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3" h="1349">
                  <a:moveTo>
                    <a:pt x="0" y="601"/>
                  </a:moveTo>
                  <a:cubicBezTo>
                    <a:pt x="0" y="269"/>
                    <a:pt x="271" y="0"/>
                    <a:pt x="602" y="0"/>
                  </a:cubicBezTo>
                  <a:lnTo>
                    <a:pt x="1823" y="0"/>
                  </a:lnTo>
                  <a:cubicBezTo>
                    <a:pt x="2155" y="0"/>
                    <a:pt x="2423" y="269"/>
                    <a:pt x="2423" y="601"/>
                  </a:cubicBezTo>
                  <a:lnTo>
                    <a:pt x="2423" y="747"/>
                  </a:lnTo>
                  <a:cubicBezTo>
                    <a:pt x="2423" y="1081"/>
                    <a:pt x="2155" y="1350"/>
                    <a:pt x="1823" y="1350"/>
                  </a:cubicBezTo>
                  <a:lnTo>
                    <a:pt x="602" y="1350"/>
                  </a:lnTo>
                  <a:cubicBezTo>
                    <a:pt x="271" y="1350"/>
                    <a:pt x="0" y="1081"/>
                    <a:pt x="0" y="747"/>
                  </a:cubicBezTo>
                  <a:lnTo>
                    <a:pt x="0" y="601"/>
                  </a:lnTo>
                  <a:lnTo>
                    <a:pt x="0" y="601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5" name="Freeform: Shape 3074">
              <a:extLst>
                <a:ext uri="{FF2B5EF4-FFF2-40B4-BE49-F238E27FC236}">
                  <a16:creationId xmlns:a16="http://schemas.microsoft.com/office/drawing/2014/main" id="{E332BE64-D793-0334-6C6B-547C5DB473C2}"/>
                </a:ext>
              </a:extLst>
            </p:cNvPr>
            <p:cNvSpPr/>
            <p:nvPr/>
          </p:nvSpPr>
          <p:spPr>
            <a:xfrm>
              <a:off x="9124693" y="3624291"/>
              <a:ext cx="2421" cy="1351"/>
            </a:xfrm>
            <a:custGeom>
              <a:avLst/>
              <a:gdLst>
                <a:gd name="connsiteX0" fmla="*/ 2422 w 2421"/>
                <a:gd name="connsiteY0" fmla="*/ 676 h 1351"/>
                <a:gd name="connsiteX1" fmla="*/ 1748 w 2421"/>
                <a:gd name="connsiteY1" fmla="*/ 0 h 1351"/>
                <a:gd name="connsiteX2" fmla="*/ 674 w 2421"/>
                <a:gd name="connsiteY2" fmla="*/ 0 h 1351"/>
                <a:gd name="connsiteX3" fmla="*/ 0 w 2421"/>
                <a:gd name="connsiteY3" fmla="*/ 676 h 1351"/>
                <a:gd name="connsiteX4" fmla="*/ 674 w 2421"/>
                <a:gd name="connsiteY4" fmla="*/ 1352 h 1351"/>
                <a:gd name="connsiteX5" fmla="*/ 1748 w 2421"/>
                <a:gd name="connsiteY5" fmla="*/ 1352 h 1351"/>
                <a:gd name="connsiteX6" fmla="*/ 2422 w 2421"/>
                <a:gd name="connsiteY6" fmla="*/ 676 h 1351"/>
                <a:gd name="connsiteX7" fmla="*/ 2422 w 2421"/>
                <a:gd name="connsiteY7" fmla="*/ 676 h 1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1" h="1351">
                  <a:moveTo>
                    <a:pt x="2422" y="676"/>
                  </a:moveTo>
                  <a:cubicBezTo>
                    <a:pt x="2422" y="303"/>
                    <a:pt x="2121" y="0"/>
                    <a:pt x="1748" y="0"/>
                  </a:cubicBezTo>
                  <a:lnTo>
                    <a:pt x="674" y="0"/>
                  </a:lnTo>
                  <a:cubicBezTo>
                    <a:pt x="301" y="0"/>
                    <a:pt x="0" y="303"/>
                    <a:pt x="0" y="676"/>
                  </a:cubicBezTo>
                  <a:cubicBezTo>
                    <a:pt x="0" y="1049"/>
                    <a:pt x="301" y="1352"/>
                    <a:pt x="674" y="1352"/>
                  </a:cubicBezTo>
                  <a:lnTo>
                    <a:pt x="1748" y="1352"/>
                  </a:lnTo>
                  <a:cubicBezTo>
                    <a:pt x="2121" y="1352"/>
                    <a:pt x="2422" y="1049"/>
                    <a:pt x="2422" y="676"/>
                  </a:cubicBezTo>
                  <a:lnTo>
                    <a:pt x="2422" y="67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6" name="Freeform: Shape 3075">
              <a:extLst>
                <a:ext uri="{FF2B5EF4-FFF2-40B4-BE49-F238E27FC236}">
                  <a16:creationId xmlns:a16="http://schemas.microsoft.com/office/drawing/2014/main" id="{5C23DD60-F54A-C1FF-A400-5CE97C702B5D}"/>
                </a:ext>
              </a:extLst>
            </p:cNvPr>
            <p:cNvSpPr/>
            <p:nvPr/>
          </p:nvSpPr>
          <p:spPr>
            <a:xfrm>
              <a:off x="9119970" y="3620810"/>
              <a:ext cx="2783" cy="1349"/>
            </a:xfrm>
            <a:custGeom>
              <a:avLst/>
              <a:gdLst>
                <a:gd name="connsiteX0" fmla="*/ 2784 w 2783"/>
                <a:gd name="connsiteY0" fmla="*/ 636 h 1349"/>
                <a:gd name="connsiteX1" fmla="*/ 2149 w 2783"/>
                <a:gd name="connsiteY1" fmla="*/ 0 h 1349"/>
                <a:gd name="connsiteX2" fmla="*/ 635 w 2783"/>
                <a:gd name="connsiteY2" fmla="*/ 0 h 1349"/>
                <a:gd name="connsiteX3" fmla="*/ 0 w 2783"/>
                <a:gd name="connsiteY3" fmla="*/ 636 h 1349"/>
                <a:gd name="connsiteX4" fmla="*/ 0 w 2783"/>
                <a:gd name="connsiteY4" fmla="*/ 715 h 1349"/>
                <a:gd name="connsiteX5" fmla="*/ 635 w 2783"/>
                <a:gd name="connsiteY5" fmla="*/ 1350 h 1349"/>
                <a:gd name="connsiteX6" fmla="*/ 2149 w 2783"/>
                <a:gd name="connsiteY6" fmla="*/ 1350 h 1349"/>
                <a:gd name="connsiteX7" fmla="*/ 2784 w 2783"/>
                <a:gd name="connsiteY7" fmla="*/ 715 h 1349"/>
                <a:gd name="connsiteX8" fmla="*/ 2784 w 2783"/>
                <a:gd name="connsiteY8" fmla="*/ 636 h 1349"/>
                <a:gd name="connsiteX9" fmla="*/ 2784 w 2783"/>
                <a:gd name="connsiteY9" fmla="*/ 636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3" h="1349">
                  <a:moveTo>
                    <a:pt x="2784" y="636"/>
                  </a:moveTo>
                  <a:cubicBezTo>
                    <a:pt x="2784" y="285"/>
                    <a:pt x="2499" y="0"/>
                    <a:pt x="2149" y="0"/>
                  </a:cubicBezTo>
                  <a:lnTo>
                    <a:pt x="635" y="0"/>
                  </a:lnTo>
                  <a:cubicBezTo>
                    <a:pt x="283" y="0"/>
                    <a:pt x="0" y="285"/>
                    <a:pt x="0" y="636"/>
                  </a:cubicBezTo>
                  <a:lnTo>
                    <a:pt x="0" y="715"/>
                  </a:lnTo>
                  <a:cubicBezTo>
                    <a:pt x="0" y="1067"/>
                    <a:pt x="283" y="1350"/>
                    <a:pt x="635" y="1350"/>
                  </a:cubicBezTo>
                  <a:lnTo>
                    <a:pt x="2149" y="1350"/>
                  </a:lnTo>
                  <a:cubicBezTo>
                    <a:pt x="2499" y="1350"/>
                    <a:pt x="2784" y="1067"/>
                    <a:pt x="2784" y="715"/>
                  </a:cubicBezTo>
                  <a:lnTo>
                    <a:pt x="2784" y="636"/>
                  </a:lnTo>
                  <a:lnTo>
                    <a:pt x="2784" y="636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7" name="Freeform: Shape 3076">
              <a:extLst>
                <a:ext uri="{FF2B5EF4-FFF2-40B4-BE49-F238E27FC236}">
                  <a16:creationId xmlns:a16="http://schemas.microsoft.com/office/drawing/2014/main" id="{95092F40-F71B-3C73-B40E-E9AB3C03634F}"/>
                </a:ext>
              </a:extLst>
            </p:cNvPr>
            <p:cNvSpPr/>
            <p:nvPr/>
          </p:nvSpPr>
          <p:spPr>
            <a:xfrm>
              <a:off x="9117296" y="3620810"/>
              <a:ext cx="2168" cy="1349"/>
            </a:xfrm>
            <a:custGeom>
              <a:avLst/>
              <a:gdLst>
                <a:gd name="connsiteX0" fmla="*/ 2169 w 2168"/>
                <a:gd name="connsiteY0" fmla="*/ 627 h 1349"/>
                <a:gd name="connsiteX1" fmla="*/ 1542 w 2168"/>
                <a:gd name="connsiteY1" fmla="*/ 0 h 1349"/>
                <a:gd name="connsiteX2" fmla="*/ 627 w 2168"/>
                <a:gd name="connsiteY2" fmla="*/ 0 h 1349"/>
                <a:gd name="connsiteX3" fmla="*/ 0 w 2168"/>
                <a:gd name="connsiteY3" fmla="*/ 627 h 1349"/>
                <a:gd name="connsiteX4" fmla="*/ 0 w 2168"/>
                <a:gd name="connsiteY4" fmla="*/ 724 h 1349"/>
                <a:gd name="connsiteX5" fmla="*/ 627 w 2168"/>
                <a:gd name="connsiteY5" fmla="*/ 1350 h 1349"/>
                <a:gd name="connsiteX6" fmla="*/ 1542 w 2168"/>
                <a:gd name="connsiteY6" fmla="*/ 1350 h 1349"/>
                <a:gd name="connsiteX7" fmla="*/ 2169 w 2168"/>
                <a:gd name="connsiteY7" fmla="*/ 724 h 1349"/>
                <a:gd name="connsiteX8" fmla="*/ 2169 w 2168"/>
                <a:gd name="connsiteY8" fmla="*/ 627 h 1349"/>
                <a:gd name="connsiteX9" fmla="*/ 2169 w 2168"/>
                <a:gd name="connsiteY9" fmla="*/ 627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8" h="1349">
                  <a:moveTo>
                    <a:pt x="2169" y="627"/>
                  </a:moveTo>
                  <a:cubicBezTo>
                    <a:pt x="2169" y="281"/>
                    <a:pt x="1889" y="0"/>
                    <a:pt x="1542" y="0"/>
                  </a:cubicBezTo>
                  <a:lnTo>
                    <a:pt x="627" y="0"/>
                  </a:lnTo>
                  <a:cubicBezTo>
                    <a:pt x="280" y="0"/>
                    <a:pt x="0" y="281"/>
                    <a:pt x="0" y="627"/>
                  </a:cubicBezTo>
                  <a:lnTo>
                    <a:pt x="0" y="724"/>
                  </a:lnTo>
                  <a:cubicBezTo>
                    <a:pt x="0" y="1070"/>
                    <a:pt x="280" y="1350"/>
                    <a:pt x="627" y="1350"/>
                  </a:cubicBezTo>
                  <a:lnTo>
                    <a:pt x="1542" y="1350"/>
                  </a:lnTo>
                  <a:cubicBezTo>
                    <a:pt x="1889" y="1350"/>
                    <a:pt x="2169" y="1070"/>
                    <a:pt x="2169" y="724"/>
                  </a:cubicBezTo>
                  <a:lnTo>
                    <a:pt x="2169" y="627"/>
                  </a:lnTo>
                  <a:lnTo>
                    <a:pt x="2169" y="627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8" name="Freeform: Shape 3077">
              <a:extLst>
                <a:ext uri="{FF2B5EF4-FFF2-40B4-BE49-F238E27FC236}">
                  <a16:creationId xmlns:a16="http://schemas.microsoft.com/office/drawing/2014/main" id="{159D8DF9-EE9A-624D-17A7-2A46D065F463}"/>
                </a:ext>
              </a:extLst>
            </p:cNvPr>
            <p:cNvSpPr/>
            <p:nvPr/>
          </p:nvSpPr>
          <p:spPr>
            <a:xfrm>
              <a:off x="9109427" y="3620810"/>
              <a:ext cx="7433" cy="1349"/>
            </a:xfrm>
            <a:custGeom>
              <a:avLst/>
              <a:gdLst>
                <a:gd name="connsiteX0" fmla="*/ 7434 w 7433"/>
                <a:gd name="connsiteY0" fmla="*/ 660 h 1349"/>
                <a:gd name="connsiteX1" fmla="*/ 6774 w 7433"/>
                <a:gd name="connsiteY1" fmla="*/ 0 h 1349"/>
                <a:gd name="connsiteX2" fmla="*/ 661 w 7433"/>
                <a:gd name="connsiteY2" fmla="*/ 0 h 1349"/>
                <a:gd name="connsiteX3" fmla="*/ 0 w 7433"/>
                <a:gd name="connsiteY3" fmla="*/ 660 h 1349"/>
                <a:gd name="connsiteX4" fmla="*/ 0 w 7433"/>
                <a:gd name="connsiteY4" fmla="*/ 690 h 1349"/>
                <a:gd name="connsiteX5" fmla="*/ 661 w 7433"/>
                <a:gd name="connsiteY5" fmla="*/ 1350 h 1349"/>
                <a:gd name="connsiteX6" fmla="*/ 6774 w 7433"/>
                <a:gd name="connsiteY6" fmla="*/ 1350 h 1349"/>
                <a:gd name="connsiteX7" fmla="*/ 7434 w 7433"/>
                <a:gd name="connsiteY7" fmla="*/ 690 h 1349"/>
                <a:gd name="connsiteX8" fmla="*/ 7434 w 7433"/>
                <a:gd name="connsiteY8" fmla="*/ 660 h 1349"/>
                <a:gd name="connsiteX9" fmla="*/ 7434 w 7433"/>
                <a:gd name="connsiteY9" fmla="*/ 66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3" h="1349">
                  <a:moveTo>
                    <a:pt x="7434" y="660"/>
                  </a:moveTo>
                  <a:cubicBezTo>
                    <a:pt x="7434" y="296"/>
                    <a:pt x="7138" y="0"/>
                    <a:pt x="6774" y="0"/>
                  </a:cubicBezTo>
                  <a:lnTo>
                    <a:pt x="661" y="0"/>
                  </a:lnTo>
                  <a:cubicBezTo>
                    <a:pt x="296" y="0"/>
                    <a:pt x="0" y="296"/>
                    <a:pt x="0" y="660"/>
                  </a:cubicBezTo>
                  <a:lnTo>
                    <a:pt x="0" y="690"/>
                  </a:lnTo>
                  <a:cubicBezTo>
                    <a:pt x="0" y="1056"/>
                    <a:pt x="296" y="1350"/>
                    <a:pt x="661" y="1350"/>
                  </a:cubicBezTo>
                  <a:lnTo>
                    <a:pt x="6774" y="1350"/>
                  </a:lnTo>
                  <a:cubicBezTo>
                    <a:pt x="7138" y="1350"/>
                    <a:pt x="7434" y="1056"/>
                    <a:pt x="7434" y="690"/>
                  </a:cubicBezTo>
                  <a:lnTo>
                    <a:pt x="7434" y="660"/>
                  </a:lnTo>
                  <a:lnTo>
                    <a:pt x="7434" y="660"/>
                  </a:lnTo>
                  <a:close/>
                </a:path>
              </a:pathLst>
            </a:custGeom>
            <a:solidFill>
              <a:srgbClr val="8DAFD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9" name="Freeform: Shape 3078">
              <a:extLst>
                <a:ext uri="{FF2B5EF4-FFF2-40B4-BE49-F238E27FC236}">
                  <a16:creationId xmlns:a16="http://schemas.microsoft.com/office/drawing/2014/main" id="{632AFAC0-0A76-4F84-EB73-050F201E6CFB}"/>
                </a:ext>
              </a:extLst>
            </p:cNvPr>
            <p:cNvSpPr/>
            <p:nvPr/>
          </p:nvSpPr>
          <p:spPr>
            <a:xfrm>
              <a:off x="9100975" y="3617289"/>
              <a:ext cx="7433" cy="1349"/>
            </a:xfrm>
            <a:custGeom>
              <a:avLst/>
              <a:gdLst>
                <a:gd name="connsiteX0" fmla="*/ 0 w 7433"/>
                <a:gd name="connsiteY0" fmla="*/ 660 h 1349"/>
                <a:gd name="connsiteX1" fmla="*/ 661 w 7433"/>
                <a:gd name="connsiteY1" fmla="*/ 0 h 1349"/>
                <a:gd name="connsiteX2" fmla="*/ 6774 w 7433"/>
                <a:gd name="connsiteY2" fmla="*/ 0 h 1349"/>
                <a:gd name="connsiteX3" fmla="*/ 7434 w 7433"/>
                <a:gd name="connsiteY3" fmla="*/ 660 h 1349"/>
                <a:gd name="connsiteX4" fmla="*/ 7434 w 7433"/>
                <a:gd name="connsiteY4" fmla="*/ 690 h 1349"/>
                <a:gd name="connsiteX5" fmla="*/ 6774 w 7433"/>
                <a:gd name="connsiteY5" fmla="*/ 1350 h 1349"/>
                <a:gd name="connsiteX6" fmla="*/ 661 w 7433"/>
                <a:gd name="connsiteY6" fmla="*/ 1350 h 1349"/>
                <a:gd name="connsiteX7" fmla="*/ 0 w 7433"/>
                <a:gd name="connsiteY7" fmla="*/ 690 h 1349"/>
                <a:gd name="connsiteX8" fmla="*/ 0 w 7433"/>
                <a:gd name="connsiteY8" fmla="*/ 660 h 1349"/>
                <a:gd name="connsiteX9" fmla="*/ 0 w 7433"/>
                <a:gd name="connsiteY9" fmla="*/ 660 h 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33" h="1349">
                  <a:moveTo>
                    <a:pt x="0" y="660"/>
                  </a:moveTo>
                  <a:cubicBezTo>
                    <a:pt x="0" y="294"/>
                    <a:pt x="296" y="0"/>
                    <a:pt x="661" y="0"/>
                  </a:cubicBezTo>
                  <a:lnTo>
                    <a:pt x="6774" y="0"/>
                  </a:lnTo>
                  <a:cubicBezTo>
                    <a:pt x="7138" y="0"/>
                    <a:pt x="7434" y="294"/>
                    <a:pt x="7434" y="660"/>
                  </a:cubicBezTo>
                  <a:lnTo>
                    <a:pt x="7434" y="690"/>
                  </a:lnTo>
                  <a:cubicBezTo>
                    <a:pt x="7434" y="1054"/>
                    <a:pt x="7138" y="1350"/>
                    <a:pt x="6774" y="1350"/>
                  </a:cubicBezTo>
                  <a:lnTo>
                    <a:pt x="661" y="1350"/>
                  </a:lnTo>
                  <a:cubicBezTo>
                    <a:pt x="296" y="1350"/>
                    <a:pt x="0" y="1054"/>
                    <a:pt x="0" y="690"/>
                  </a:cubicBezTo>
                  <a:lnTo>
                    <a:pt x="0" y="660"/>
                  </a:lnTo>
                  <a:lnTo>
                    <a:pt x="0" y="660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0" name="Freeform: Shape 3079">
              <a:extLst>
                <a:ext uri="{FF2B5EF4-FFF2-40B4-BE49-F238E27FC236}">
                  <a16:creationId xmlns:a16="http://schemas.microsoft.com/office/drawing/2014/main" id="{AA1B80A8-CD94-43CE-590E-13E51374D9A4}"/>
                </a:ext>
              </a:extLst>
            </p:cNvPr>
            <p:cNvSpPr/>
            <p:nvPr/>
          </p:nvSpPr>
          <p:spPr>
            <a:xfrm>
              <a:off x="9135077" y="3573214"/>
              <a:ext cx="3250" cy="3559"/>
            </a:xfrm>
            <a:custGeom>
              <a:avLst/>
              <a:gdLst>
                <a:gd name="connsiteX0" fmla="*/ 3132 w 3250"/>
                <a:gd name="connsiteY0" fmla="*/ 787 h 3559"/>
                <a:gd name="connsiteX1" fmla="*/ 3091 w 3250"/>
                <a:gd name="connsiteY1" fmla="*/ 118 h 3559"/>
                <a:gd name="connsiteX2" fmla="*/ 2422 w 3250"/>
                <a:gd name="connsiteY2" fmla="*/ 161 h 3559"/>
                <a:gd name="connsiteX3" fmla="*/ 119 w 3250"/>
                <a:gd name="connsiteY3" fmla="*/ 2773 h 3559"/>
                <a:gd name="connsiteX4" fmla="*/ 160 w 3250"/>
                <a:gd name="connsiteY4" fmla="*/ 3441 h 3559"/>
                <a:gd name="connsiteX5" fmla="*/ 829 w 3250"/>
                <a:gd name="connsiteY5" fmla="*/ 3400 h 3559"/>
                <a:gd name="connsiteX6" fmla="*/ 3132 w 3250"/>
                <a:gd name="connsiteY6" fmla="*/ 787 h 3559"/>
                <a:gd name="connsiteX7" fmla="*/ 3132 w 3250"/>
                <a:gd name="connsiteY7" fmla="*/ 787 h 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0" h="3559">
                  <a:moveTo>
                    <a:pt x="3132" y="787"/>
                  </a:moveTo>
                  <a:cubicBezTo>
                    <a:pt x="3306" y="591"/>
                    <a:pt x="3286" y="292"/>
                    <a:pt x="3091" y="118"/>
                  </a:cubicBezTo>
                  <a:cubicBezTo>
                    <a:pt x="2894" y="-54"/>
                    <a:pt x="2596" y="-36"/>
                    <a:pt x="2422" y="161"/>
                  </a:cubicBezTo>
                  <a:lnTo>
                    <a:pt x="119" y="2773"/>
                  </a:lnTo>
                  <a:cubicBezTo>
                    <a:pt x="-55" y="2970"/>
                    <a:pt x="-35" y="3267"/>
                    <a:pt x="160" y="3441"/>
                  </a:cubicBezTo>
                  <a:cubicBezTo>
                    <a:pt x="355" y="3613"/>
                    <a:pt x="655" y="3595"/>
                    <a:pt x="829" y="3400"/>
                  </a:cubicBezTo>
                  <a:lnTo>
                    <a:pt x="3132" y="787"/>
                  </a:lnTo>
                  <a:lnTo>
                    <a:pt x="3132" y="787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1" name="Freeform: Shape 3080">
              <a:extLst>
                <a:ext uri="{FF2B5EF4-FFF2-40B4-BE49-F238E27FC236}">
                  <a16:creationId xmlns:a16="http://schemas.microsoft.com/office/drawing/2014/main" id="{A80B421B-1CC5-2EBC-3D08-11FA178FBDA4}"/>
                </a:ext>
              </a:extLst>
            </p:cNvPr>
            <p:cNvSpPr/>
            <p:nvPr/>
          </p:nvSpPr>
          <p:spPr>
            <a:xfrm>
              <a:off x="9131354" y="3571651"/>
              <a:ext cx="4628" cy="5121"/>
            </a:xfrm>
            <a:custGeom>
              <a:avLst/>
              <a:gdLst>
                <a:gd name="connsiteX0" fmla="*/ 119 w 4628"/>
                <a:gd name="connsiteY0" fmla="*/ 786 h 5121"/>
                <a:gd name="connsiteX1" fmla="*/ 160 w 4628"/>
                <a:gd name="connsiteY1" fmla="*/ 117 h 5121"/>
                <a:gd name="connsiteX2" fmla="*/ 829 w 4628"/>
                <a:gd name="connsiteY2" fmla="*/ 160 h 5121"/>
                <a:gd name="connsiteX3" fmla="*/ 4510 w 4628"/>
                <a:gd name="connsiteY3" fmla="*/ 4335 h 5121"/>
                <a:gd name="connsiteX4" fmla="*/ 4469 w 4628"/>
                <a:gd name="connsiteY4" fmla="*/ 5004 h 5121"/>
                <a:gd name="connsiteX5" fmla="*/ 3801 w 4628"/>
                <a:gd name="connsiteY5" fmla="*/ 4962 h 5121"/>
                <a:gd name="connsiteX6" fmla="*/ 119 w 4628"/>
                <a:gd name="connsiteY6" fmla="*/ 786 h 5121"/>
                <a:gd name="connsiteX7" fmla="*/ 119 w 4628"/>
                <a:gd name="connsiteY7" fmla="*/ 786 h 5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8" h="5121">
                  <a:moveTo>
                    <a:pt x="119" y="786"/>
                  </a:moveTo>
                  <a:cubicBezTo>
                    <a:pt x="-55" y="591"/>
                    <a:pt x="-35" y="291"/>
                    <a:pt x="160" y="117"/>
                  </a:cubicBezTo>
                  <a:cubicBezTo>
                    <a:pt x="355" y="-55"/>
                    <a:pt x="655" y="-35"/>
                    <a:pt x="829" y="160"/>
                  </a:cubicBezTo>
                  <a:lnTo>
                    <a:pt x="4510" y="4335"/>
                  </a:lnTo>
                  <a:cubicBezTo>
                    <a:pt x="4683" y="4532"/>
                    <a:pt x="4665" y="4830"/>
                    <a:pt x="4469" y="5004"/>
                  </a:cubicBezTo>
                  <a:cubicBezTo>
                    <a:pt x="4272" y="5176"/>
                    <a:pt x="3973" y="5158"/>
                    <a:pt x="3801" y="4962"/>
                  </a:cubicBezTo>
                  <a:lnTo>
                    <a:pt x="119" y="786"/>
                  </a:lnTo>
                  <a:lnTo>
                    <a:pt x="119" y="786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2" name="Freeform: Shape 3081">
              <a:extLst>
                <a:ext uri="{FF2B5EF4-FFF2-40B4-BE49-F238E27FC236}">
                  <a16:creationId xmlns:a16="http://schemas.microsoft.com/office/drawing/2014/main" id="{9DCB6EC7-5853-6752-63B8-F9FFEA8DBB20}"/>
                </a:ext>
              </a:extLst>
            </p:cNvPr>
            <p:cNvSpPr/>
            <p:nvPr/>
          </p:nvSpPr>
          <p:spPr>
            <a:xfrm>
              <a:off x="9130141" y="3569514"/>
              <a:ext cx="9398" cy="9396"/>
            </a:xfrm>
            <a:custGeom>
              <a:avLst/>
              <a:gdLst>
                <a:gd name="connsiteX0" fmla="*/ 7822 w 9398"/>
                <a:gd name="connsiteY0" fmla="*/ 0 h 9396"/>
                <a:gd name="connsiteX1" fmla="*/ 9398 w 9398"/>
                <a:gd name="connsiteY1" fmla="*/ 1576 h 9396"/>
                <a:gd name="connsiteX2" fmla="*/ 9398 w 9398"/>
                <a:gd name="connsiteY2" fmla="*/ 7821 h 9396"/>
                <a:gd name="connsiteX3" fmla="*/ 7822 w 9398"/>
                <a:gd name="connsiteY3" fmla="*/ 9396 h 9396"/>
                <a:gd name="connsiteX4" fmla="*/ 1577 w 9398"/>
                <a:gd name="connsiteY4" fmla="*/ 9396 h 9396"/>
                <a:gd name="connsiteX5" fmla="*/ 0 w 9398"/>
                <a:gd name="connsiteY5" fmla="*/ 7821 h 9396"/>
                <a:gd name="connsiteX6" fmla="*/ 0 w 9398"/>
                <a:gd name="connsiteY6" fmla="*/ 1576 h 9396"/>
                <a:gd name="connsiteX7" fmla="*/ 1577 w 9398"/>
                <a:gd name="connsiteY7" fmla="*/ 0 h 9396"/>
                <a:gd name="connsiteX8" fmla="*/ 7822 w 9398"/>
                <a:gd name="connsiteY8" fmla="*/ 0 h 9396"/>
                <a:gd name="connsiteX9" fmla="*/ 7822 w 9398"/>
                <a:gd name="connsiteY9" fmla="*/ 647 h 9396"/>
                <a:gd name="connsiteX10" fmla="*/ 1577 w 9398"/>
                <a:gd name="connsiteY10" fmla="*/ 647 h 9396"/>
                <a:gd name="connsiteX11" fmla="*/ 651 w 9398"/>
                <a:gd name="connsiteY11" fmla="*/ 1576 h 9396"/>
                <a:gd name="connsiteX12" fmla="*/ 651 w 9398"/>
                <a:gd name="connsiteY12" fmla="*/ 7821 h 9396"/>
                <a:gd name="connsiteX13" fmla="*/ 1577 w 9398"/>
                <a:gd name="connsiteY13" fmla="*/ 8749 h 9396"/>
                <a:gd name="connsiteX14" fmla="*/ 7822 w 9398"/>
                <a:gd name="connsiteY14" fmla="*/ 8749 h 9396"/>
                <a:gd name="connsiteX15" fmla="*/ 8751 w 9398"/>
                <a:gd name="connsiteY15" fmla="*/ 7821 h 9396"/>
                <a:gd name="connsiteX16" fmla="*/ 8751 w 9398"/>
                <a:gd name="connsiteY16" fmla="*/ 1576 h 9396"/>
                <a:gd name="connsiteX17" fmla="*/ 7822 w 9398"/>
                <a:gd name="connsiteY17" fmla="*/ 647 h 9396"/>
                <a:gd name="connsiteX18" fmla="*/ 7822 w 9398"/>
                <a:gd name="connsiteY18" fmla="*/ 647 h 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398" h="9396">
                  <a:moveTo>
                    <a:pt x="7822" y="0"/>
                  </a:moveTo>
                  <a:cubicBezTo>
                    <a:pt x="8694" y="0"/>
                    <a:pt x="9398" y="706"/>
                    <a:pt x="9398" y="1576"/>
                  </a:cubicBezTo>
                  <a:lnTo>
                    <a:pt x="9398" y="7821"/>
                  </a:lnTo>
                  <a:cubicBezTo>
                    <a:pt x="9398" y="8692"/>
                    <a:pt x="8694" y="9396"/>
                    <a:pt x="7822" y="9396"/>
                  </a:cubicBezTo>
                  <a:lnTo>
                    <a:pt x="1577" y="9396"/>
                  </a:lnTo>
                  <a:cubicBezTo>
                    <a:pt x="708" y="9396"/>
                    <a:pt x="0" y="8692"/>
                    <a:pt x="0" y="7821"/>
                  </a:cubicBezTo>
                  <a:lnTo>
                    <a:pt x="0" y="1576"/>
                  </a:lnTo>
                  <a:cubicBezTo>
                    <a:pt x="0" y="706"/>
                    <a:pt x="708" y="0"/>
                    <a:pt x="1577" y="0"/>
                  </a:cubicBezTo>
                  <a:lnTo>
                    <a:pt x="7822" y="0"/>
                  </a:lnTo>
                  <a:close/>
                  <a:moveTo>
                    <a:pt x="7822" y="647"/>
                  </a:moveTo>
                  <a:lnTo>
                    <a:pt x="1577" y="647"/>
                  </a:lnTo>
                  <a:cubicBezTo>
                    <a:pt x="1065" y="647"/>
                    <a:pt x="651" y="1063"/>
                    <a:pt x="651" y="1576"/>
                  </a:cubicBezTo>
                  <a:lnTo>
                    <a:pt x="651" y="7821"/>
                  </a:lnTo>
                  <a:cubicBezTo>
                    <a:pt x="651" y="8333"/>
                    <a:pt x="1065" y="8749"/>
                    <a:pt x="1577" y="8749"/>
                  </a:cubicBezTo>
                  <a:lnTo>
                    <a:pt x="7822" y="8749"/>
                  </a:lnTo>
                  <a:cubicBezTo>
                    <a:pt x="8335" y="8749"/>
                    <a:pt x="8751" y="8333"/>
                    <a:pt x="8751" y="7821"/>
                  </a:cubicBezTo>
                  <a:lnTo>
                    <a:pt x="8751" y="1576"/>
                  </a:lnTo>
                  <a:cubicBezTo>
                    <a:pt x="8751" y="1063"/>
                    <a:pt x="8335" y="647"/>
                    <a:pt x="7822" y="647"/>
                  </a:cubicBezTo>
                  <a:lnTo>
                    <a:pt x="7822" y="64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3" name="Freeform: Shape 3082">
              <a:extLst>
                <a:ext uri="{FF2B5EF4-FFF2-40B4-BE49-F238E27FC236}">
                  <a16:creationId xmlns:a16="http://schemas.microsoft.com/office/drawing/2014/main" id="{25CCD46B-ADF7-DEDF-D781-2DB2CEDB1360}"/>
                </a:ext>
              </a:extLst>
            </p:cNvPr>
            <p:cNvSpPr/>
            <p:nvPr/>
          </p:nvSpPr>
          <p:spPr>
            <a:xfrm>
              <a:off x="9135077" y="3588786"/>
              <a:ext cx="3250" cy="3559"/>
            </a:xfrm>
            <a:custGeom>
              <a:avLst/>
              <a:gdLst>
                <a:gd name="connsiteX0" fmla="*/ 3132 w 3250"/>
                <a:gd name="connsiteY0" fmla="*/ 786 h 3559"/>
                <a:gd name="connsiteX1" fmla="*/ 3091 w 3250"/>
                <a:gd name="connsiteY1" fmla="*/ 119 h 3559"/>
                <a:gd name="connsiteX2" fmla="*/ 2422 w 3250"/>
                <a:gd name="connsiteY2" fmla="*/ 160 h 3559"/>
                <a:gd name="connsiteX3" fmla="*/ 119 w 3250"/>
                <a:gd name="connsiteY3" fmla="*/ 2773 h 3559"/>
                <a:gd name="connsiteX4" fmla="*/ 160 w 3250"/>
                <a:gd name="connsiteY4" fmla="*/ 3440 h 3559"/>
                <a:gd name="connsiteX5" fmla="*/ 829 w 3250"/>
                <a:gd name="connsiteY5" fmla="*/ 3399 h 3559"/>
                <a:gd name="connsiteX6" fmla="*/ 3132 w 3250"/>
                <a:gd name="connsiteY6" fmla="*/ 786 h 3559"/>
                <a:gd name="connsiteX7" fmla="*/ 3132 w 3250"/>
                <a:gd name="connsiteY7" fmla="*/ 786 h 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0" h="3559">
                  <a:moveTo>
                    <a:pt x="3132" y="786"/>
                  </a:moveTo>
                  <a:cubicBezTo>
                    <a:pt x="3306" y="590"/>
                    <a:pt x="3286" y="291"/>
                    <a:pt x="3091" y="119"/>
                  </a:cubicBezTo>
                  <a:cubicBezTo>
                    <a:pt x="2894" y="-55"/>
                    <a:pt x="2596" y="-35"/>
                    <a:pt x="2422" y="160"/>
                  </a:cubicBezTo>
                  <a:lnTo>
                    <a:pt x="119" y="2773"/>
                  </a:lnTo>
                  <a:cubicBezTo>
                    <a:pt x="-55" y="2969"/>
                    <a:pt x="-35" y="3268"/>
                    <a:pt x="160" y="3440"/>
                  </a:cubicBezTo>
                  <a:cubicBezTo>
                    <a:pt x="355" y="3614"/>
                    <a:pt x="655" y="3594"/>
                    <a:pt x="829" y="3399"/>
                  </a:cubicBezTo>
                  <a:lnTo>
                    <a:pt x="3132" y="786"/>
                  </a:lnTo>
                  <a:lnTo>
                    <a:pt x="3132" y="786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4" name="Freeform: Shape 3083">
              <a:extLst>
                <a:ext uri="{FF2B5EF4-FFF2-40B4-BE49-F238E27FC236}">
                  <a16:creationId xmlns:a16="http://schemas.microsoft.com/office/drawing/2014/main" id="{C240B584-4F07-7979-3EB7-E99F485E53FA}"/>
                </a:ext>
              </a:extLst>
            </p:cNvPr>
            <p:cNvSpPr/>
            <p:nvPr/>
          </p:nvSpPr>
          <p:spPr>
            <a:xfrm>
              <a:off x="9131354" y="3587223"/>
              <a:ext cx="4628" cy="5122"/>
            </a:xfrm>
            <a:custGeom>
              <a:avLst/>
              <a:gdLst>
                <a:gd name="connsiteX0" fmla="*/ 119 w 4628"/>
                <a:gd name="connsiteY0" fmla="*/ 787 h 5122"/>
                <a:gd name="connsiteX1" fmla="*/ 160 w 4628"/>
                <a:gd name="connsiteY1" fmla="*/ 119 h 5122"/>
                <a:gd name="connsiteX2" fmla="*/ 829 w 4628"/>
                <a:gd name="connsiteY2" fmla="*/ 160 h 5122"/>
                <a:gd name="connsiteX3" fmla="*/ 4510 w 4628"/>
                <a:gd name="connsiteY3" fmla="*/ 4337 h 5122"/>
                <a:gd name="connsiteX4" fmla="*/ 4469 w 4628"/>
                <a:gd name="connsiteY4" fmla="*/ 5003 h 5122"/>
                <a:gd name="connsiteX5" fmla="*/ 3801 w 4628"/>
                <a:gd name="connsiteY5" fmla="*/ 4962 h 5122"/>
                <a:gd name="connsiteX6" fmla="*/ 119 w 4628"/>
                <a:gd name="connsiteY6" fmla="*/ 787 h 5122"/>
                <a:gd name="connsiteX7" fmla="*/ 119 w 4628"/>
                <a:gd name="connsiteY7" fmla="*/ 787 h 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8" h="5122">
                  <a:moveTo>
                    <a:pt x="119" y="787"/>
                  </a:moveTo>
                  <a:cubicBezTo>
                    <a:pt x="-55" y="590"/>
                    <a:pt x="-35" y="291"/>
                    <a:pt x="160" y="119"/>
                  </a:cubicBezTo>
                  <a:cubicBezTo>
                    <a:pt x="355" y="-55"/>
                    <a:pt x="655" y="-35"/>
                    <a:pt x="829" y="160"/>
                  </a:cubicBezTo>
                  <a:lnTo>
                    <a:pt x="4510" y="4337"/>
                  </a:lnTo>
                  <a:cubicBezTo>
                    <a:pt x="4683" y="4532"/>
                    <a:pt x="4665" y="4831"/>
                    <a:pt x="4469" y="5003"/>
                  </a:cubicBezTo>
                  <a:cubicBezTo>
                    <a:pt x="4272" y="5177"/>
                    <a:pt x="3973" y="5158"/>
                    <a:pt x="3801" y="4962"/>
                  </a:cubicBezTo>
                  <a:lnTo>
                    <a:pt x="119" y="787"/>
                  </a:lnTo>
                  <a:lnTo>
                    <a:pt x="119" y="787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5" name="Freeform: Shape 3084">
              <a:extLst>
                <a:ext uri="{FF2B5EF4-FFF2-40B4-BE49-F238E27FC236}">
                  <a16:creationId xmlns:a16="http://schemas.microsoft.com/office/drawing/2014/main" id="{368D2FCF-5CF4-ED21-79D9-EBCBFAD727EA}"/>
                </a:ext>
              </a:extLst>
            </p:cNvPr>
            <p:cNvSpPr/>
            <p:nvPr/>
          </p:nvSpPr>
          <p:spPr>
            <a:xfrm>
              <a:off x="9130141" y="3585087"/>
              <a:ext cx="9398" cy="9396"/>
            </a:xfrm>
            <a:custGeom>
              <a:avLst/>
              <a:gdLst>
                <a:gd name="connsiteX0" fmla="*/ 7822 w 9398"/>
                <a:gd name="connsiteY0" fmla="*/ 0 h 9396"/>
                <a:gd name="connsiteX1" fmla="*/ 9398 w 9398"/>
                <a:gd name="connsiteY1" fmla="*/ 1576 h 9396"/>
                <a:gd name="connsiteX2" fmla="*/ 9398 w 9398"/>
                <a:gd name="connsiteY2" fmla="*/ 7821 h 9396"/>
                <a:gd name="connsiteX3" fmla="*/ 7822 w 9398"/>
                <a:gd name="connsiteY3" fmla="*/ 9396 h 9396"/>
                <a:gd name="connsiteX4" fmla="*/ 1577 w 9398"/>
                <a:gd name="connsiteY4" fmla="*/ 9396 h 9396"/>
                <a:gd name="connsiteX5" fmla="*/ 0 w 9398"/>
                <a:gd name="connsiteY5" fmla="*/ 7821 h 9396"/>
                <a:gd name="connsiteX6" fmla="*/ 0 w 9398"/>
                <a:gd name="connsiteY6" fmla="*/ 1576 h 9396"/>
                <a:gd name="connsiteX7" fmla="*/ 1577 w 9398"/>
                <a:gd name="connsiteY7" fmla="*/ 0 h 9396"/>
                <a:gd name="connsiteX8" fmla="*/ 7822 w 9398"/>
                <a:gd name="connsiteY8" fmla="*/ 0 h 9396"/>
                <a:gd name="connsiteX9" fmla="*/ 7822 w 9398"/>
                <a:gd name="connsiteY9" fmla="*/ 647 h 9396"/>
                <a:gd name="connsiteX10" fmla="*/ 1577 w 9398"/>
                <a:gd name="connsiteY10" fmla="*/ 647 h 9396"/>
                <a:gd name="connsiteX11" fmla="*/ 651 w 9398"/>
                <a:gd name="connsiteY11" fmla="*/ 1576 h 9396"/>
                <a:gd name="connsiteX12" fmla="*/ 651 w 9398"/>
                <a:gd name="connsiteY12" fmla="*/ 7821 h 9396"/>
                <a:gd name="connsiteX13" fmla="*/ 1577 w 9398"/>
                <a:gd name="connsiteY13" fmla="*/ 8747 h 9396"/>
                <a:gd name="connsiteX14" fmla="*/ 7822 w 9398"/>
                <a:gd name="connsiteY14" fmla="*/ 8747 h 9396"/>
                <a:gd name="connsiteX15" fmla="*/ 8751 w 9398"/>
                <a:gd name="connsiteY15" fmla="*/ 7821 h 9396"/>
                <a:gd name="connsiteX16" fmla="*/ 8751 w 9398"/>
                <a:gd name="connsiteY16" fmla="*/ 1576 h 9396"/>
                <a:gd name="connsiteX17" fmla="*/ 7822 w 9398"/>
                <a:gd name="connsiteY17" fmla="*/ 647 h 9396"/>
                <a:gd name="connsiteX18" fmla="*/ 7822 w 9398"/>
                <a:gd name="connsiteY18" fmla="*/ 647 h 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398" h="9396">
                  <a:moveTo>
                    <a:pt x="7822" y="0"/>
                  </a:moveTo>
                  <a:cubicBezTo>
                    <a:pt x="8694" y="0"/>
                    <a:pt x="9398" y="704"/>
                    <a:pt x="9398" y="1576"/>
                  </a:cubicBezTo>
                  <a:lnTo>
                    <a:pt x="9398" y="7821"/>
                  </a:lnTo>
                  <a:cubicBezTo>
                    <a:pt x="9398" y="8690"/>
                    <a:pt x="8694" y="9396"/>
                    <a:pt x="7822" y="9396"/>
                  </a:cubicBezTo>
                  <a:lnTo>
                    <a:pt x="1577" y="9396"/>
                  </a:lnTo>
                  <a:cubicBezTo>
                    <a:pt x="708" y="9396"/>
                    <a:pt x="0" y="8690"/>
                    <a:pt x="0" y="7821"/>
                  </a:cubicBezTo>
                  <a:lnTo>
                    <a:pt x="0" y="1576"/>
                  </a:lnTo>
                  <a:cubicBezTo>
                    <a:pt x="0" y="704"/>
                    <a:pt x="708" y="0"/>
                    <a:pt x="1577" y="0"/>
                  </a:cubicBezTo>
                  <a:lnTo>
                    <a:pt x="7822" y="0"/>
                  </a:lnTo>
                  <a:close/>
                  <a:moveTo>
                    <a:pt x="7822" y="647"/>
                  </a:moveTo>
                  <a:lnTo>
                    <a:pt x="1577" y="647"/>
                  </a:lnTo>
                  <a:cubicBezTo>
                    <a:pt x="1065" y="647"/>
                    <a:pt x="651" y="1063"/>
                    <a:pt x="651" y="1576"/>
                  </a:cubicBezTo>
                  <a:lnTo>
                    <a:pt x="651" y="7821"/>
                  </a:lnTo>
                  <a:cubicBezTo>
                    <a:pt x="651" y="8333"/>
                    <a:pt x="1065" y="8747"/>
                    <a:pt x="1577" y="8747"/>
                  </a:cubicBezTo>
                  <a:lnTo>
                    <a:pt x="7822" y="8747"/>
                  </a:lnTo>
                  <a:cubicBezTo>
                    <a:pt x="8335" y="8747"/>
                    <a:pt x="8751" y="8333"/>
                    <a:pt x="8751" y="7821"/>
                  </a:cubicBezTo>
                  <a:lnTo>
                    <a:pt x="8751" y="1576"/>
                  </a:lnTo>
                  <a:cubicBezTo>
                    <a:pt x="8751" y="1063"/>
                    <a:pt x="8335" y="647"/>
                    <a:pt x="7822" y="647"/>
                  </a:cubicBezTo>
                  <a:lnTo>
                    <a:pt x="7822" y="64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6" name="Freeform: Shape 3085">
              <a:extLst>
                <a:ext uri="{FF2B5EF4-FFF2-40B4-BE49-F238E27FC236}">
                  <a16:creationId xmlns:a16="http://schemas.microsoft.com/office/drawing/2014/main" id="{19DAFFD6-35FC-E90A-B518-613A1AD5F8EF}"/>
                </a:ext>
              </a:extLst>
            </p:cNvPr>
            <p:cNvSpPr/>
            <p:nvPr/>
          </p:nvSpPr>
          <p:spPr>
            <a:xfrm>
              <a:off x="9135077" y="3603581"/>
              <a:ext cx="3250" cy="3559"/>
            </a:xfrm>
            <a:custGeom>
              <a:avLst/>
              <a:gdLst>
                <a:gd name="connsiteX0" fmla="*/ 3132 w 3250"/>
                <a:gd name="connsiteY0" fmla="*/ 787 h 3559"/>
                <a:gd name="connsiteX1" fmla="*/ 3091 w 3250"/>
                <a:gd name="connsiteY1" fmla="*/ 118 h 3559"/>
                <a:gd name="connsiteX2" fmla="*/ 2422 w 3250"/>
                <a:gd name="connsiteY2" fmla="*/ 161 h 3559"/>
                <a:gd name="connsiteX3" fmla="*/ 119 w 3250"/>
                <a:gd name="connsiteY3" fmla="*/ 2773 h 3559"/>
                <a:gd name="connsiteX4" fmla="*/ 160 w 3250"/>
                <a:gd name="connsiteY4" fmla="*/ 3441 h 3559"/>
                <a:gd name="connsiteX5" fmla="*/ 829 w 3250"/>
                <a:gd name="connsiteY5" fmla="*/ 3398 h 3559"/>
                <a:gd name="connsiteX6" fmla="*/ 3132 w 3250"/>
                <a:gd name="connsiteY6" fmla="*/ 787 h 3559"/>
                <a:gd name="connsiteX7" fmla="*/ 3132 w 3250"/>
                <a:gd name="connsiteY7" fmla="*/ 787 h 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0" h="3559">
                  <a:moveTo>
                    <a:pt x="3132" y="787"/>
                  </a:moveTo>
                  <a:cubicBezTo>
                    <a:pt x="3306" y="591"/>
                    <a:pt x="3286" y="292"/>
                    <a:pt x="3091" y="118"/>
                  </a:cubicBezTo>
                  <a:cubicBezTo>
                    <a:pt x="2894" y="-54"/>
                    <a:pt x="2596" y="-36"/>
                    <a:pt x="2422" y="161"/>
                  </a:cubicBezTo>
                  <a:lnTo>
                    <a:pt x="119" y="2773"/>
                  </a:lnTo>
                  <a:cubicBezTo>
                    <a:pt x="-55" y="2970"/>
                    <a:pt x="-35" y="3267"/>
                    <a:pt x="160" y="3441"/>
                  </a:cubicBezTo>
                  <a:cubicBezTo>
                    <a:pt x="355" y="3613"/>
                    <a:pt x="655" y="3595"/>
                    <a:pt x="829" y="3398"/>
                  </a:cubicBezTo>
                  <a:lnTo>
                    <a:pt x="3132" y="787"/>
                  </a:lnTo>
                  <a:lnTo>
                    <a:pt x="3132" y="787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7" name="Freeform: Shape 3086">
              <a:extLst>
                <a:ext uri="{FF2B5EF4-FFF2-40B4-BE49-F238E27FC236}">
                  <a16:creationId xmlns:a16="http://schemas.microsoft.com/office/drawing/2014/main" id="{AF426EB4-E808-33DF-D6CE-2088B00E6F33}"/>
                </a:ext>
              </a:extLst>
            </p:cNvPr>
            <p:cNvSpPr/>
            <p:nvPr/>
          </p:nvSpPr>
          <p:spPr>
            <a:xfrm>
              <a:off x="9131354" y="3602018"/>
              <a:ext cx="4628" cy="5122"/>
            </a:xfrm>
            <a:custGeom>
              <a:avLst/>
              <a:gdLst>
                <a:gd name="connsiteX0" fmla="*/ 119 w 4628"/>
                <a:gd name="connsiteY0" fmla="*/ 787 h 5122"/>
                <a:gd name="connsiteX1" fmla="*/ 160 w 4628"/>
                <a:gd name="connsiteY1" fmla="*/ 118 h 5122"/>
                <a:gd name="connsiteX2" fmla="*/ 829 w 4628"/>
                <a:gd name="connsiteY2" fmla="*/ 161 h 5122"/>
                <a:gd name="connsiteX3" fmla="*/ 4510 w 4628"/>
                <a:gd name="connsiteY3" fmla="*/ 4336 h 5122"/>
                <a:gd name="connsiteX4" fmla="*/ 4469 w 4628"/>
                <a:gd name="connsiteY4" fmla="*/ 5004 h 5122"/>
                <a:gd name="connsiteX5" fmla="*/ 3801 w 4628"/>
                <a:gd name="connsiteY5" fmla="*/ 4961 h 5122"/>
                <a:gd name="connsiteX6" fmla="*/ 119 w 4628"/>
                <a:gd name="connsiteY6" fmla="*/ 787 h 5122"/>
                <a:gd name="connsiteX7" fmla="*/ 119 w 4628"/>
                <a:gd name="connsiteY7" fmla="*/ 787 h 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8" h="5122">
                  <a:moveTo>
                    <a:pt x="119" y="787"/>
                  </a:moveTo>
                  <a:cubicBezTo>
                    <a:pt x="-55" y="591"/>
                    <a:pt x="-35" y="292"/>
                    <a:pt x="160" y="118"/>
                  </a:cubicBezTo>
                  <a:cubicBezTo>
                    <a:pt x="355" y="-54"/>
                    <a:pt x="655" y="-36"/>
                    <a:pt x="829" y="161"/>
                  </a:cubicBezTo>
                  <a:lnTo>
                    <a:pt x="4510" y="4336"/>
                  </a:lnTo>
                  <a:cubicBezTo>
                    <a:pt x="4683" y="4533"/>
                    <a:pt x="4665" y="4830"/>
                    <a:pt x="4469" y="5004"/>
                  </a:cubicBezTo>
                  <a:cubicBezTo>
                    <a:pt x="4272" y="5176"/>
                    <a:pt x="3973" y="5158"/>
                    <a:pt x="3801" y="4961"/>
                  </a:cubicBezTo>
                  <a:lnTo>
                    <a:pt x="119" y="787"/>
                  </a:lnTo>
                  <a:lnTo>
                    <a:pt x="119" y="787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8" name="Freeform: Shape 3087">
              <a:extLst>
                <a:ext uri="{FF2B5EF4-FFF2-40B4-BE49-F238E27FC236}">
                  <a16:creationId xmlns:a16="http://schemas.microsoft.com/office/drawing/2014/main" id="{9EE5BBD4-3345-6B51-E920-0D968497DF0E}"/>
                </a:ext>
              </a:extLst>
            </p:cNvPr>
            <p:cNvSpPr/>
            <p:nvPr/>
          </p:nvSpPr>
          <p:spPr>
            <a:xfrm>
              <a:off x="9130141" y="3599880"/>
              <a:ext cx="9398" cy="9396"/>
            </a:xfrm>
            <a:custGeom>
              <a:avLst/>
              <a:gdLst>
                <a:gd name="connsiteX0" fmla="*/ 7822 w 9398"/>
                <a:gd name="connsiteY0" fmla="*/ 0 h 9396"/>
                <a:gd name="connsiteX1" fmla="*/ 9398 w 9398"/>
                <a:gd name="connsiteY1" fmla="*/ 1576 h 9396"/>
                <a:gd name="connsiteX2" fmla="*/ 9398 w 9398"/>
                <a:gd name="connsiteY2" fmla="*/ 7821 h 9396"/>
                <a:gd name="connsiteX3" fmla="*/ 7822 w 9398"/>
                <a:gd name="connsiteY3" fmla="*/ 9396 h 9396"/>
                <a:gd name="connsiteX4" fmla="*/ 1577 w 9398"/>
                <a:gd name="connsiteY4" fmla="*/ 9396 h 9396"/>
                <a:gd name="connsiteX5" fmla="*/ 0 w 9398"/>
                <a:gd name="connsiteY5" fmla="*/ 7821 h 9396"/>
                <a:gd name="connsiteX6" fmla="*/ 0 w 9398"/>
                <a:gd name="connsiteY6" fmla="*/ 1576 h 9396"/>
                <a:gd name="connsiteX7" fmla="*/ 1577 w 9398"/>
                <a:gd name="connsiteY7" fmla="*/ 0 h 9396"/>
                <a:gd name="connsiteX8" fmla="*/ 7822 w 9398"/>
                <a:gd name="connsiteY8" fmla="*/ 0 h 9396"/>
                <a:gd name="connsiteX9" fmla="*/ 7822 w 9398"/>
                <a:gd name="connsiteY9" fmla="*/ 647 h 9396"/>
                <a:gd name="connsiteX10" fmla="*/ 1577 w 9398"/>
                <a:gd name="connsiteY10" fmla="*/ 647 h 9396"/>
                <a:gd name="connsiteX11" fmla="*/ 651 w 9398"/>
                <a:gd name="connsiteY11" fmla="*/ 1576 h 9396"/>
                <a:gd name="connsiteX12" fmla="*/ 651 w 9398"/>
                <a:gd name="connsiteY12" fmla="*/ 7821 h 9396"/>
                <a:gd name="connsiteX13" fmla="*/ 1577 w 9398"/>
                <a:gd name="connsiteY13" fmla="*/ 8749 h 9396"/>
                <a:gd name="connsiteX14" fmla="*/ 7822 w 9398"/>
                <a:gd name="connsiteY14" fmla="*/ 8749 h 9396"/>
                <a:gd name="connsiteX15" fmla="*/ 8751 w 9398"/>
                <a:gd name="connsiteY15" fmla="*/ 7821 h 9396"/>
                <a:gd name="connsiteX16" fmla="*/ 8751 w 9398"/>
                <a:gd name="connsiteY16" fmla="*/ 1576 h 9396"/>
                <a:gd name="connsiteX17" fmla="*/ 7822 w 9398"/>
                <a:gd name="connsiteY17" fmla="*/ 647 h 9396"/>
                <a:gd name="connsiteX18" fmla="*/ 7822 w 9398"/>
                <a:gd name="connsiteY18" fmla="*/ 647 h 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398" h="9396">
                  <a:moveTo>
                    <a:pt x="7822" y="0"/>
                  </a:moveTo>
                  <a:cubicBezTo>
                    <a:pt x="8694" y="0"/>
                    <a:pt x="9398" y="704"/>
                    <a:pt x="9398" y="1576"/>
                  </a:cubicBezTo>
                  <a:lnTo>
                    <a:pt x="9398" y="7821"/>
                  </a:lnTo>
                  <a:cubicBezTo>
                    <a:pt x="9398" y="8692"/>
                    <a:pt x="8694" y="9396"/>
                    <a:pt x="7822" y="9396"/>
                  </a:cubicBezTo>
                  <a:lnTo>
                    <a:pt x="1577" y="9396"/>
                  </a:lnTo>
                  <a:cubicBezTo>
                    <a:pt x="708" y="9396"/>
                    <a:pt x="0" y="8692"/>
                    <a:pt x="0" y="7821"/>
                  </a:cubicBezTo>
                  <a:lnTo>
                    <a:pt x="0" y="1576"/>
                  </a:lnTo>
                  <a:cubicBezTo>
                    <a:pt x="0" y="704"/>
                    <a:pt x="708" y="0"/>
                    <a:pt x="1577" y="0"/>
                  </a:cubicBezTo>
                  <a:lnTo>
                    <a:pt x="7822" y="0"/>
                  </a:lnTo>
                  <a:close/>
                  <a:moveTo>
                    <a:pt x="7822" y="647"/>
                  </a:moveTo>
                  <a:lnTo>
                    <a:pt x="1577" y="647"/>
                  </a:lnTo>
                  <a:cubicBezTo>
                    <a:pt x="1065" y="647"/>
                    <a:pt x="651" y="1063"/>
                    <a:pt x="651" y="1576"/>
                  </a:cubicBezTo>
                  <a:lnTo>
                    <a:pt x="651" y="7821"/>
                  </a:lnTo>
                  <a:cubicBezTo>
                    <a:pt x="651" y="8333"/>
                    <a:pt x="1065" y="8749"/>
                    <a:pt x="1577" y="8749"/>
                  </a:cubicBezTo>
                  <a:lnTo>
                    <a:pt x="7822" y="8749"/>
                  </a:lnTo>
                  <a:cubicBezTo>
                    <a:pt x="8335" y="8749"/>
                    <a:pt x="8751" y="8333"/>
                    <a:pt x="8751" y="7821"/>
                  </a:cubicBezTo>
                  <a:lnTo>
                    <a:pt x="8751" y="1576"/>
                  </a:lnTo>
                  <a:cubicBezTo>
                    <a:pt x="8751" y="1063"/>
                    <a:pt x="8335" y="647"/>
                    <a:pt x="7822" y="647"/>
                  </a:cubicBezTo>
                  <a:lnTo>
                    <a:pt x="7822" y="647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9" name="Freeform: Shape 3088">
              <a:extLst>
                <a:ext uri="{FF2B5EF4-FFF2-40B4-BE49-F238E27FC236}">
                  <a16:creationId xmlns:a16="http://schemas.microsoft.com/office/drawing/2014/main" id="{F1709AE1-4489-B191-26D7-5D144BE7813C}"/>
                </a:ext>
              </a:extLst>
            </p:cNvPr>
            <p:cNvSpPr/>
            <p:nvPr/>
          </p:nvSpPr>
          <p:spPr>
            <a:xfrm>
              <a:off x="9135077" y="3619945"/>
              <a:ext cx="3250" cy="3559"/>
            </a:xfrm>
            <a:custGeom>
              <a:avLst/>
              <a:gdLst>
                <a:gd name="connsiteX0" fmla="*/ 3132 w 3250"/>
                <a:gd name="connsiteY0" fmla="*/ 786 h 3559"/>
                <a:gd name="connsiteX1" fmla="*/ 3091 w 3250"/>
                <a:gd name="connsiteY1" fmla="*/ 119 h 3559"/>
                <a:gd name="connsiteX2" fmla="*/ 2422 w 3250"/>
                <a:gd name="connsiteY2" fmla="*/ 160 h 3559"/>
                <a:gd name="connsiteX3" fmla="*/ 119 w 3250"/>
                <a:gd name="connsiteY3" fmla="*/ 2772 h 3559"/>
                <a:gd name="connsiteX4" fmla="*/ 160 w 3250"/>
                <a:gd name="connsiteY4" fmla="*/ 3440 h 3559"/>
                <a:gd name="connsiteX5" fmla="*/ 829 w 3250"/>
                <a:gd name="connsiteY5" fmla="*/ 3399 h 3559"/>
                <a:gd name="connsiteX6" fmla="*/ 3132 w 3250"/>
                <a:gd name="connsiteY6" fmla="*/ 786 h 3559"/>
                <a:gd name="connsiteX7" fmla="*/ 3132 w 3250"/>
                <a:gd name="connsiteY7" fmla="*/ 786 h 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0" h="3559">
                  <a:moveTo>
                    <a:pt x="3132" y="786"/>
                  </a:moveTo>
                  <a:cubicBezTo>
                    <a:pt x="3306" y="590"/>
                    <a:pt x="3286" y="291"/>
                    <a:pt x="3091" y="119"/>
                  </a:cubicBezTo>
                  <a:cubicBezTo>
                    <a:pt x="2894" y="-55"/>
                    <a:pt x="2596" y="-35"/>
                    <a:pt x="2422" y="160"/>
                  </a:cubicBezTo>
                  <a:lnTo>
                    <a:pt x="119" y="2772"/>
                  </a:lnTo>
                  <a:cubicBezTo>
                    <a:pt x="-55" y="2969"/>
                    <a:pt x="-35" y="3268"/>
                    <a:pt x="160" y="3440"/>
                  </a:cubicBezTo>
                  <a:cubicBezTo>
                    <a:pt x="355" y="3614"/>
                    <a:pt x="655" y="3594"/>
                    <a:pt x="829" y="3399"/>
                  </a:cubicBezTo>
                  <a:lnTo>
                    <a:pt x="3132" y="786"/>
                  </a:lnTo>
                  <a:lnTo>
                    <a:pt x="3132" y="786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0" name="Freeform: Shape 3089">
              <a:extLst>
                <a:ext uri="{FF2B5EF4-FFF2-40B4-BE49-F238E27FC236}">
                  <a16:creationId xmlns:a16="http://schemas.microsoft.com/office/drawing/2014/main" id="{5DDCA981-76BE-B98E-C6D4-6DEEDC35A796}"/>
                </a:ext>
              </a:extLst>
            </p:cNvPr>
            <p:cNvSpPr/>
            <p:nvPr/>
          </p:nvSpPr>
          <p:spPr>
            <a:xfrm>
              <a:off x="9131354" y="3618382"/>
              <a:ext cx="4628" cy="5122"/>
            </a:xfrm>
            <a:custGeom>
              <a:avLst/>
              <a:gdLst>
                <a:gd name="connsiteX0" fmla="*/ 119 w 4628"/>
                <a:gd name="connsiteY0" fmla="*/ 786 h 5122"/>
                <a:gd name="connsiteX1" fmla="*/ 160 w 4628"/>
                <a:gd name="connsiteY1" fmla="*/ 119 h 5122"/>
                <a:gd name="connsiteX2" fmla="*/ 829 w 4628"/>
                <a:gd name="connsiteY2" fmla="*/ 160 h 5122"/>
                <a:gd name="connsiteX3" fmla="*/ 4510 w 4628"/>
                <a:gd name="connsiteY3" fmla="*/ 4335 h 5122"/>
                <a:gd name="connsiteX4" fmla="*/ 4469 w 4628"/>
                <a:gd name="connsiteY4" fmla="*/ 5003 h 5122"/>
                <a:gd name="connsiteX5" fmla="*/ 3801 w 4628"/>
                <a:gd name="connsiteY5" fmla="*/ 4962 h 5122"/>
                <a:gd name="connsiteX6" fmla="*/ 119 w 4628"/>
                <a:gd name="connsiteY6" fmla="*/ 786 h 5122"/>
                <a:gd name="connsiteX7" fmla="*/ 119 w 4628"/>
                <a:gd name="connsiteY7" fmla="*/ 786 h 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8" h="5122">
                  <a:moveTo>
                    <a:pt x="119" y="786"/>
                  </a:moveTo>
                  <a:cubicBezTo>
                    <a:pt x="-55" y="590"/>
                    <a:pt x="-35" y="291"/>
                    <a:pt x="160" y="119"/>
                  </a:cubicBezTo>
                  <a:cubicBezTo>
                    <a:pt x="355" y="-55"/>
                    <a:pt x="655" y="-35"/>
                    <a:pt x="829" y="160"/>
                  </a:cubicBezTo>
                  <a:lnTo>
                    <a:pt x="4510" y="4335"/>
                  </a:lnTo>
                  <a:cubicBezTo>
                    <a:pt x="4683" y="4532"/>
                    <a:pt x="4665" y="4831"/>
                    <a:pt x="4469" y="5003"/>
                  </a:cubicBezTo>
                  <a:cubicBezTo>
                    <a:pt x="4272" y="5177"/>
                    <a:pt x="3973" y="5158"/>
                    <a:pt x="3801" y="4962"/>
                  </a:cubicBezTo>
                  <a:lnTo>
                    <a:pt x="119" y="786"/>
                  </a:lnTo>
                  <a:lnTo>
                    <a:pt x="119" y="786"/>
                  </a:lnTo>
                  <a:close/>
                </a:path>
              </a:pathLst>
            </a:custGeom>
            <a:solidFill>
              <a:srgbClr val="8BADD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1" name="Freeform: Shape 3090">
              <a:extLst>
                <a:ext uri="{FF2B5EF4-FFF2-40B4-BE49-F238E27FC236}">
                  <a16:creationId xmlns:a16="http://schemas.microsoft.com/office/drawing/2014/main" id="{9C6FB04D-EA94-C00C-B995-2B7B546502BF}"/>
                </a:ext>
              </a:extLst>
            </p:cNvPr>
            <p:cNvSpPr/>
            <p:nvPr/>
          </p:nvSpPr>
          <p:spPr>
            <a:xfrm>
              <a:off x="9130141" y="3616244"/>
              <a:ext cx="9398" cy="9398"/>
            </a:xfrm>
            <a:custGeom>
              <a:avLst/>
              <a:gdLst>
                <a:gd name="connsiteX0" fmla="*/ 7822 w 9398"/>
                <a:gd name="connsiteY0" fmla="*/ 0 h 9398"/>
                <a:gd name="connsiteX1" fmla="*/ 9398 w 9398"/>
                <a:gd name="connsiteY1" fmla="*/ 1576 h 9398"/>
                <a:gd name="connsiteX2" fmla="*/ 9398 w 9398"/>
                <a:gd name="connsiteY2" fmla="*/ 7823 h 9398"/>
                <a:gd name="connsiteX3" fmla="*/ 7822 w 9398"/>
                <a:gd name="connsiteY3" fmla="*/ 9398 h 9398"/>
                <a:gd name="connsiteX4" fmla="*/ 1577 w 9398"/>
                <a:gd name="connsiteY4" fmla="*/ 9398 h 9398"/>
                <a:gd name="connsiteX5" fmla="*/ 0 w 9398"/>
                <a:gd name="connsiteY5" fmla="*/ 7823 h 9398"/>
                <a:gd name="connsiteX6" fmla="*/ 0 w 9398"/>
                <a:gd name="connsiteY6" fmla="*/ 1576 h 9398"/>
                <a:gd name="connsiteX7" fmla="*/ 1577 w 9398"/>
                <a:gd name="connsiteY7" fmla="*/ 0 h 9398"/>
                <a:gd name="connsiteX8" fmla="*/ 7822 w 9398"/>
                <a:gd name="connsiteY8" fmla="*/ 0 h 9398"/>
                <a:gd name="connsiteX9" fmla="*/ 7822 w 9398"/>
                <a:gd name="connsiteY9" fmla="*/ 649 h 9398"/>
                <a:gd name="connsiteX10" fmla="*/ 1577 w 9398"/>
                <a:gd name="connsiteY10" fmla="*/ 649 h 9398"/>
                <a:gd name="connsiteX11" fmla="*/ 651 w 9398"/>
                <a:gd name="connsiteY11" fmla="*/ 1576 h 9398"/>
                <a:gd name="connsiteX12" fmla="*/ 651 w 9398"/>
                <a:gd name="connsiteY12" fmla="*/ 7823 h 9398"/>
                <a:gd name="connsiteX13" fmla="*/ 1577 w 9398"/>
                <a:gd name="connsiteY13" fmla="*/ 8749 h 9398"/>
                <a:gd name="connsiteX14" fmla="*/ 7822 w 9398"/>
                <a:gd name="connsiteY14" fmla="*/ 8749 h 9398"/>
                <a:gd name="connsiteX15" fmla="*/ 8751 w 9398"/>
                <a:gd name="connsiteY15" fmla="*/ 7823 h 9398"/>
                <a:gd name="connsiteX16" fmla="*/ 8751 w 9398"/>
                <a:gd name="connsiteY16" fmla="*/ 1576 h 9398"/>
                <a:gd name="connsiteX17" fmla="*/ 7822 w 9398"/>
                <a:gd name="connsiteY17" fmla="*/ 649 h 9398"/>
                <a:gd name="connsiteX18" fmla="*/ 7822 w 9398"/>
                <a:gd name="connsiteY18" fmla="*/ 649 h 9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398" h="9398">
                  <a:moveTo>
                    <a:pt x="7822" y="0"/>
                  </a:moveTo>
                  <a:cubicBezTo>
                    <a:pt x="8694" y="0"/>
                    <a:pt x="9398" y="706"/>
                    <a:pt x="9398" y="1576"/>
                  </a:cubicBezTo>
                  <a:lnTo>
                    <a:pt x="9398" y="7823"/>
                  </a:lnTo>
                  <a:cubicBezTo>
                    <a:pt x="9398" y="8692"/>
                    <a:pt x="8694" y="9398"/>
                    <a:pt x="7822" y="9398"/>
                  </a:cubicBezTo>
                  <a:lnTo>
                    <a:pt x="1577" y="9398"/>
                  </a:lnTo>
                  <a:cubicBezTo>
                    <a:pt x="708" y="9398"/>
                    <a:pt x="0" y="8692"/>
                    <a:pt x="0" y="7823"/>
                  </a:cubicBezTo>
                  <a:lnTo>
                    <a:pt x="0" y="1576"/>
                  </a:lnTo>
                  <a:cubicBezTo>
                    <a:pt x="0" y="706"/>
                    <a:pt x="708" y="0"/>
                    <a:pt x="1577" y="0"/>
                  </a:cubicBezTo>
                  <a:lnTo>
                    <a:pt x="7822" y="0"/>
                  </a:lnTo>
                  <a:close/>
                  <a:moveTo>
                    <a:pt x="7822" y="649"/>
                  </a:moveTo>
                  <a:lnTo>
                    <a:pt x="1577" y="649"/>
                  </a:lnTo>
                  <a:cubicBezTo>
                    <a:pt x="1065" y="649"/>
                    <a:pt x="651" y="1065"/>
                    <a:pt x="651" y="1576"/>
                  </a:cubicBezTo>
                  <a:lnTo>
                    <a:pt x="651" y="7823"/>
                  </a:lnTo>
                  <a:cubicBezTo>
                    <a:pt x="651" y="8333"/>
                    <a:pt x="1065" y="8749"/>
                    <a:pt x="1577" y="8749"/>
                  </a:cubicBezTo>
                  <a:lnTo>
                    <a:pt x="7822" y="8749"/>
                  </a:lnTo>
                  <a:cubicBezTo>
                    <a:pt x="8335" y="8749"/>
                    <a:pt x="8751" y="8333"/>
                    <a:pt x="8751" y="7823"/>
                  </a:cubicBezTo>
                  <a:lnTo>
                    <a:pt x="8751" y="1576"/>
                  </a:lnTo>
                  <a:cubicBezTo>
                    <a:pt x="8751" y="1065"/>
                    <a:pt x="8335" y="649"/>
                    <a:pt x="7822" y="649"/>
                  </a:cubicBezTo>
                  <a:lnTo>
                    <a:pt x="7822" y="649"/>
                  </a:lnTo>
                  <a:close/>
                </a:path>
              </a:pathLst>
            </a:custGeom>
            <a:solidFill>
              <a:srgbClr val="5992D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2" name="Freeform: Shape 3091">
              <a:extLst>
                <a:ext uri="{FF2B5EF4-FFF2-40B4-BE49-F238E27FC236}">
                  <a16:creationId xmlns:a16="http://schemas.microsoft.com/office/drawing/2014/main" id="{120751A3-BA9F-E9E5-0C8F-0CA46ABDF700}"/>
                </a:ext>
              </a:extLst>
            </p:cNvPr>
            <p:cNvSpPr/>
            <p:nvPr/>
          </p:nvSpPr>
          <p:spPr>
            <a:xfrm>
              <a:off x="9098835" y="3683646"/>
              <a:ext cx="74387" cy="159730"/>
            </a:xfrm>
            <a:custGeom>
              <a:avLst/>
              <a:gdLst>
                <a:gd name="connsiteX0" fmla="*/ 65111 w 74387"/>
                <a:gd name="connsiteY0" fmla="*/ 4589 h 159730"/>
                <a:gd name="connsiteX1" fmla="*/ 74387 w 74387"/>
                <a:gd name="connsiteY1" fmla="*/ 154538 h 159730"/>
                <a:gd name="connsiteX2" fmla="*/ 63335 w 74387"/>
                <a:gd name="connsiteY2" fmla="*/ 155466 h 159730"/>
                <a:gd name="connsiteX3" fmla="*/ 38564 w 74387"/>
                <a:gd name="connsiteY3" fmla="*/ 30145 h 159730"/>
                <a:gd name="connsiteX4" fmla="*/ 10972 w 74387"/>
                <a:gd name="connsiteY4" fmla="*/ 159730 h 159730"/>
                <a:gd name="connsiteX5" fmla="*/ 0 w 74387"/>
                <a:gd name="connsiteY5" fmla="*/ 158011 h 159730"/>
                <a:gd name="connsiteX6" fmla="*/ 10648 w 74387"/>
                <a:gd name="connsiteY6" fmla="*/ 0 h 159730"/>
                <a:gd name="connsiteX7" fmla="*/ 65111 w 74387"/>
                <a:gd name="connsiteY7" fmla="*/ 4589 h 159730"/>
                <a:gd name="connsiteX8" fmla="*/ 65111 w 74387"/>
                <a:gd name="connsiteY8" fmla="*/ 4589 h 15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387" h="159730">
                  <a:moveTo>
                    <a:pt x="65111" y="4589"/>
                  </a:moveTo>
                  <a:lnTo>
                    <a:pt x="74387" y="154538"/>
                  </a:lnTo>
                  <a:lnTo>
                    <a:pt x="63335" y="155466"/>
                  </a:lnTo>
                  <a:lnTo>
                    <a:pt x="38564" y="30145"/>
                  </a:lnTo>
                  <a:lnTo>
                    <a:pt x="10972" y="159730"/>
                  </a:lnTo>
                  <a:lnTo>
                    <a:pt x="0" y="158011"/>
                  </a:lnTo>
                  <a:lnTo>
                    <a:pt x="10648" y="0"/>
                  </a:lnTo>
                  <a:lnTo>
                    <a:pt x="65111" y="4589"/>
                  </a:lnTo>
                  <a:lnTo>
                    <a:pt x="65111" y="4589"/>
                  </a:lnTo>
                  <a:close/>
                </a:path>
              </a:pathLst>
            </a:custGeom>
            <a:solidFill>
              <a:srgbClr val="04244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3" name="Freeform: Shape 3092">
              <a:extLst>
                <a:ext uri="{FF2B5EF4-FFF2-40B4-BE49-F238E27FC236}">
                  <a16:creationId xmlns:a16="http://schemas.microsoft.com/office/drawing/2014/main" id="{7A214FF2-EB52-3B2A-07B1-C34BFB426938}"/>
                </a:ext>
              </a:extLst>
            </p:cNvPr>
            <p:cNvSpPr/>
            <p:nvPr/>
          </p:nvSpPr>
          <p:spPr>
            <a:xfrm>
              <a:off x="9109807" y="3704545"/>
              <a:ext cx="27592" cy="138831"/>
            </a:xfrm>
            <a:custGeom>
              <a:avLst/>
              <a:gdLst>
                <a:gd name="connsiteX0" fmla="*/ 27592 w 27592"/>
                <a:gd name="connsiteY0" fmla="*/ 9246 h 138831"/>
                <a:gd name="connsiteX1" fmla="*/ 26291 w 27592"/>
                <a:gd name="connsiteY1" fmla="*/ 0 h 138831"/>
                <a:gd name="connsiteX2" fmla="*/ 0 w 27592"/>
                <a:gd name="connsiteY2" fmla="*/ 138832 h 138831"/>
                <a:gd name="connsiteX3" fmla="*/ 27592 w 27592"/>
                <a:gd name="connsiteY3" fmla="*/ 9246 h 138831"/>
                <a:gd name="connsiteX4" fmla="*/ 27592 w 27592"/>
                <a:gd name="connsiteY4" fmla="*/ 9246 h 13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92" h="138831">
                  <a:moveTo>
                    <a:pt x="27592" y="9246"/>
                  </a:moveTo>
                  <a:lnTo>
                    <a:pt x="26291" y="0"/>
                  </a:lnTo>
                  <a:lnTo>
                    <a:pt x="0" y="138832"/>
                  </a:lnTo>
                  <a:lnTo>
                    <a:pt x="27592" y="9246"/>
                  </a:lnTo>
                  <a:lnTo>
                    <a:pt x="27592" y="9246"/>
                  </a:lnTo>
                  <a:close/>
                </a:path>
              </a:pathLst>
            </a:custGeom>
            <a:solidFill>
              <a:srgbClr val="01152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4" name="Freeform: Shape 3093">
              <a:extLst>
                <a:ext uri="{FF2B5EF4-FFF2-40B4-BE49-F238E27FC236}">
                  <a16:creationId xmlns:a16="http://schemas.microsoft.com/office/drawing/2014/main" id="{47B06C88-9BE4-F92B-0EBE-7C831009D152}"/>
                </a:ext>
              </a:extLst>
            </p:cNvPr>
            <p:cNvSpPr/>
            <p:nvPr/>
          </p:nvSpPr>
          <p:spPr>
            <a:xfrm>
              <a:off x="9160623" y="3834757"/>
              <a:ext cx="17704" cy="15836"/>
            </a:xfrm>
            <a:custGeom>
              <a:avLst/>
              <a:gdLst>
                <a:gd name="connsiteX0" fmla="*/ 0 w 17704"/>
                <a:gd name="connsiteY0" fmla="*/ 15159 h 15836"/>
                <a:gd name="connsiteX1" fmla="*/ 310 w 17704"/>
                <a:gd name="connsiteY1" fmla="*/ 9730 h 15836"/>
                <a:gd name="connsiteX2" fmla="*/ 704 w 17704"/>
                <a:gd name="connsiteY2" fmla="*/ 1981 h 15836"/>
                <a:gd name="connsiteX3" fmla="*/ 6521 w 17704"/>
                <a:gd name="connsiteY3" fmla="*/ 5 h 15836"/>
                <a:gd name="connsiteX4" fmla="*/ 12913 w 17704"/>
                <a:gd name="connsiteY4" fmla="*/ 950 h 15836"/>
                <a:gd name="connsiteX5" fmla="*/ 14406 w 17704"/>
                <a:gd name="connsiteY5" fmla="*/ 7571 h 15836"/>
                <a:gd name="connsiteX6" fmla="*/ 16765 w 17704"/>
                <a:gd name="connsiteY6" fmla="*/ 13030 h 15836"/>
                <a:gd name="connsiteX7" fmla="*/ 17705 w 17704"/>
                <a:gd name="connsiteY7" fmla="*/ 15837 h 15836"/>
                <a:gd name="connsiteX8" fmla="*/ 0 w 17704"/>
                <a:gd name="connsiteY8" fmla="*/ 15159 h 15836"/>
                <a:gd name="connsiteX9" fmla="*/ 0 w 17704"/>
                <a:gd name="connsiteY9" fmla="*/ 15159 h 15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704" h="15836">
                  <a:moveTo>
                    <a:pt x="0" y="15159"/>
                  </a:moveTo>
                  <a:lnTo>
                    <a:pt x="310" y="9730"/>
                  </a:lnTo>
                  <a:lnTo>
                    <a:pt x="704" y="1981"/>
                  </a:lnTo>
                  <a:cubicBezTo>
                    <a:pt x="704" y="1981"/>
                    <a:pt x="3884" y="-118"/>
                    <a:pt x="6521" y="5"/>
                  </a:cubicBezTo>
                  <a:cubicBezTo>
                    <a:pt x="9158" y="131"/>
                    <a:pt x="12913" y="950"/>
                    <a:pt x="12913" y="950"/>
                  </a:cubicBezTo>
                  <a:lnTo>
                    <a:pt x="14406" y="7571"/>
                  </a:lnTo>
                  <a:lnTo>
                    <a:pt x="16765" y="13030"/>
                  </a:lnTo>
                  <a:lnTo>
                    <a:pt x="17705" y="15837"/>
                  </a:lnTo>
                  <a:lnTo>
                    <a:pt x="0" y="15159"/>
                  </a:lnTo>
                  <a:lnTo>
                    <a:pt x="0" y="15159"/>
                  </a:lnTo>
                  <a:close/>
                </a:path>
              </a:pathLst>
            </a:custGeom>
            <a:solidFill>
              <a:srgbClr val="30303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5" name="Freeform: Shape 3094">
              <a:extLst>
                <a:ext uri="{FF2B5EF4-FFF2-40B4-BE49-F238E27FC236}">
                  <a16:creationId xmlns:a16="http://schemas.microsoft.com/office/drawing/2014/main" id="{491A3474-0956-BBB8-2335-49B0D6AD019B}"/>
                </a:ext>
              </a:extLst>
            </p:cNvPr>
            <p:cNvSpPr/>
            <p:nvPr/>
          </p:nvSpPr>
          <p:spPr>
            <a:xfrm>
              <a:off x="9160379" y="3849152"/>
              <a:ext cx="18057" cy="2846"/>
            </a:xfrm>
            <a:custGeom>
              <a:avLst/>
              <a:gdLst>
                <a:gd name="connsiteX0" fmla="*/ 0 w 18057"/>
                <a:gd name="connsiteY0" fmla="*/ 2847 h 2846"/>
                <a:gd name="connsiteX1" fmla="*/ 287 w 18057"/>
                <a:gd name="connsiteY1" fmla="*/ 0 h 2846"/>
                <a:gd name="connsiteX2" fmla="*/ 17464 w 18057"/>
                <a:gd name="connsiteY2" fmla="*/ 0 h 2846"/>
                <a:gd name="connsiteX3" fmla="*/ 18058 w 18057"/>
                <a:gd name="connsiteY3" fmla="*/ 2847 h 2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57" h="2846">
                  <a:moveTo>
                    <a:pt x="0" y="2847"/>
                  </a:moveTo>
                  <a:cubicBezTo>
                    <a:pt x="0" y="1755"/>
                    <a:pt x="287" y="0"/>
                    <a:pt x="287" y="0"/>
                  </a:cubicBezTo>
                  <a:lnTo>
                    <a:pt x="17464" y="0"/>
                  </a:lnTo>
                  <a:cubicBezTo>
                    <a:pt x="17464" y="0"/>
                    <a:pt x="17948" y="-5"/>
                    <a:pt x="18058" y="2847"/>
                  </a:cubicBezTo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6" name="Freeform: Shape 3095">
              <a:extLst>
                <a:ext uri="{FF2B5EF4-FFF2-40B4-BE49-F238E27FC236}">
                  <a16:creationId xmlns:a16="http://schemas.microsoft.com/office/drawing/2014/main" id="{E3293D57-B2E6-F51D-2153-1975888154E8}"/>
                </a:ext>
              </a:extLst>
            </p:cNvPr>
            <p:cNvSpPr/>
            <p:nvPr/>
          </p:nvSpPr>
          <p:spPr>
            <a:xfrm>
              <a:off x="9094009" y="3834757"/>
              <a:ext cx="17704" cy="15836"/>
            </a:xfrm>
            <a:custGeom>
              <a:avLst/>
              <a:gdLst>
                <a:gd name="connsiteX0" fmla="*/ 17705 w 17704"/>
                <a:gd name="connsiteY0" fmla="*/ 15159 h 15836"/>
                <a:gd name="connsiteX1" fmla="*/ 17393 w 17704"/>
                <a:gd name="connsiteY1" fmla="*/ 9730 h 15836"/>
                <a:gd name="connsiteX2" fmla="*/ 17000 w 17704"/>
                <a:gd name="connsiteY2" fmla="*/ 1981 h 15836"/>
                <a:gd name="connsiteX3" fmla="*/ 11182 w 17704"/>
                <a:gd name="connsiteY3" fmla="*/ 5 h 15836"/>
                <a:gd name="connsiteX4" fmla="*/ 4791 w 17704"/>
                <a:gd name="connsiteY4" fmla="*/ 950 h 15836"/>
                <a:gd name="connsiteX5" fmla="*/ 3298 w 17704"/>
                <a:gd name="connsiteY5" fmla="*/ 7571 h 15836"/>
                <a:gd name="connsiteX6" fmla="*/ 939 w 17704"/>
                <a:gd name="connsiteY6" fmla="*/ 13030 h 15836"/>
                <a:gd name="connsiteX7" fmla="*/ 0 w 17704"/>
                <a:gd name="connsiteY7" fmla="*/ 15837 h 15836"/>
                <a:gd name="connsiteX8" fmla="*/ 17705 w 17704"/>
                <a:gd name="connsiteY8" fmla="*/ 15159 h 15836"/>
                <a:gd name="connsiteX9" fmla="*/ 17705 w 17704"/>
                <a:gd name="connsiteY9" fmla="*/ 15159 h 15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704" h="15836">
                  <a:moveTo>
                    <a:pt x="17705" y="15159"/>
                  </a:moveTo>
                  <a:lnTo>
                    <a:pt x="17393" y="9730"/>
                  </a:lnTo>
                  <a:lnTo>
                    <a:pt x="17000" y="1981"/>
                  </a:lnTo>
                  <a:cubicBezTo>
                    <a:pt x="17000" y="1981"/>
                    <a:pt x="13820" y="-118"/>
                    <a:pt x="11182" y="5"/>
                  </a:cubicBezTo>
                  <a:cubicBezTo>
                    <a:pt x="8545" y="131"/>
                    <a:pt x="4791" y="950"/>
                    <a:pt x="4791" y="950"/>
                  </a:cubicBezTo>
                  <a:lnTo>
                    <a:pt x="3298" y="7571"/>
                  </a:lnTo>
                  <a:lnTo>
                    <a:pt x="939" y="13030"/>
                  </a:lnTo>
                  <a:lnTo>
                    <a:pt x="0" y="15837"/>
                  </a:lnTo>
                  <a:lnTo>
                    <a:pt x="17705" y="15159"/>
                  </a:lnTo>
                  <a:lnTo>
                    <a:pt x="17705" y="15159"/>
                  </a:lnTo>
                  <a:close/>
                </a:path>
              </a:pathLst>
            </a:custGeom>
            <a:solidFill>
              <a:srgbClr val="30303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7" name="Freeform: Shape 3096">
              <a:extLst>
                <a:ext uri="{FF2B5EF4-FFF2-40B4-BE49-F238E27FC236}">
                  <a16:creationId xmlns:a16="http://schemas.microsoft.com/office/drawing/2014/main" id="{1D8DAD31-677A-B0C5-9C6D-A4ED8EE89D4B}"/>
                </a:ext>
              </a:extLst>
            </p:cNvPr>
            <p:cNvSpPr/>
            <p:nvPr/>
          </p:nvSpPr>
          <p:spPr>
            <a:xfrm>
              <a:off x="9093900" y="3849152"/>
              <a:ext cx="18055" cy="2846"/>
            </a:xfrm>
            <a:custGeom>
              <a:avLst/>
              <a:gdLst>
                <a:gd name="connsiteX0" fmla="*/ 18056 w 18055"/>
                <a:gd name="connsiteY0" fmla="*/ 2847 h 2846"/>
                <a:gd name="connsiteX1" fmla="*/ 17769 w 18055"/>
                <a:gd name="connsiteY1" fmla="*/ 0 h 2846"/>
                <a:gd name="connsiteX2" fmla="*/ 591 w 18055"/>
                <a:gd name="connsiteY2" fmla="*/ 0 h 2846"/>
                <a:gd name="connsiteX3" fmla="*/ 0 w 18055"/>
                <a:gd name="connsiteY3" fmla="*/ 2847 h 2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55" h="2846">
                  <a:moveTo>
                    <a:pt x="18056" y="2847"/>
                  </a:moveTo>
                  <a:cubicBezTo>
                    <a:pt x="18056" y="1755"/>
                    <a:pt x="17769" y="0"/>
                    <a:pt x="17769" y="0"/>
                  </a:cubicBezTo>
                  <a:lnTo>
                    <a:pt x="591" y="0"/>
                  </a:lnTo>
                  <a:cubicBezTo>
                    <a:pt x="591" y="0"/>
                    <a:pt x="109" y="-5"/>
                    <a:pt x="0" y="2847"/>
                  </a:cubicBezTo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8" name="Freeform: Shape 3097">
              <a:extLst>
                <a:ext uri="{FF2B5EF4-FFF2-40B4-BE49-F238E27FC236}">
                  <a16:creationId xmlns:a16="http://schemas.microsoft.com/office/drawing/2014/main" id="{1A9C93BB-E0C5-BD0A-5347-EDBE1D839CA7}"/>
                </a:ext>
              </a:extLst>
            </p:cNvPr>
            <p:cNvSpPr/>
            <p:nvPr/>
          </p:nvSpPr>
          <p:spPr>
            <a:xfrm>
              <a:off x="9102126" y="3602365"/>
              <a:ext cx="72585" cy="121390"/>
            </a:xfrm>
            <a:custGeom>
              <a:avLst/>
              <a:gdLst>
                <a:gd name="connsiteX0" fmla="*/ 51492 w 72585"/>
                <a:gd name="connsiteY0" fmla="*/ 1737 h 121390"/>
                <a:gd name="connsiteX1" fmla="*/ 58362 w 72585"/>
                <a:gd name="connsiteY1" fmla="*/ 7328 h 121390"/>
                <a:gd name="connsiteX2" fmla="*/ 72586 w 72585"/>
                <a:gd name="connsiteY2" fmla="*/ 14175 h 121390"/>
                <a:gd name="connsiteX3" fmla="*/ 64382 w 72585"/>
                <a:gd name="connsiteY3" fmla="*/ 66167 h 121390"/>
                <a:gd name="connsiteX4" fmla="*/ 66993 w 72585"/>
                <a:gd name="connsiteY4" fmla="*/ 121390 h 121390"/>
                <a:gd name="connsiteX5" fmla="*/ 36834 w 72585"/>
                <a:gd name="connsiteY5" fmla="*/ 117917 h 121390"/>
                <a:gd name="connsiteX6" fmla="*/ 35257 w 72585"/>
                <a:gd name="connsiteY6" fmla="*/ 91696 h 121390"/>
                <a:gd name="connsiteX7" fmla="*/ 26217 w 72585"/>
                <a:gd name="connsiteY7" fmla="*/ 112154 h 121390"/>
                <a:gd name="connsiteX8" fmla="*/ 0 w 72585"/>
                <a:gd name="connsiteY8" fmla="*/ 108583 h 121390"/>
                <a:gd name="connsiteX9" fmla="*/ 13619 w 72585"/>
                <a:gd name="connsiteY9" fmla="*/ 58034 h 121390"/>
                <a:gd name="connsiteX10" fmla="*/ 10527 w 72585"/>
                <a:gd name="connsiteY10" fmla="*/ 2212 h 121390"/>
                <a:gd name="connsiteX11" fmla="*/ 28022 w 72585"/>
                <a:gd name="connsiteY11" fmla="*/ 3318 h 121390"/>
                <a:gd name="connsiteX12" fmla="*/ 32346 w 72585"/>
                <a:gd name="connsiteY12" fmla="*/ 0 h 121390"/>
                <a:gd name="connsiteX13" fmla="*/ 51492 w 72585"/>
                <a:gd name="connsiteY13" fmla="*/ 1737 h 121390"/>
                <a:gd name="connsiteX14" fmla="*/ 51492 w 72585"/>
                <a:gd name="connsiteY14" fmla="*/ 1737 h 121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2585" h="121390">
                  <a:moveTo>
                    <a:pt x="51492" y="1737"/>
                  </a:moveTo>
                  <a:lnTo>
                    <a:pt x="58362" y="7328"/>
                  </a:lnTo>
                  <a:lnTo>
                    <a:pt x="72586" y="14175"/>
                  </a:lnTo>
                  <a:lnTo>
                    <a:pt x="64382" y="66167"/>
                  </a:lnTo>
                  <a:lnTo>
                    <a:pt x="66993" y="121390"/>
                  </a:lnTo>
                  <a:lnTo>
                    <a:pt x="36834" y="117917"/>
                  </a:lnTo>
                  <a:lnTo>
                    <a:pt x="35257" y="91696"/>
                  </a:lnTo>
                  <a:lnTo>
                    <a:pt x="26217" y="112154"/>
                  </a:lnTo>
                  <a:lnTo>
                    <a:pt x="0" y="108583"/>
                  </a:lnTo>
                  <a:lnTo>
                    <a:pt x="13619" y="58034"/>
                  </a:lnTo>
                  <a:lnTo>
                    <a:pt x="10527" y="2212"/>
                  </a:lnTo>
                  <a:lnTo>
                    <a:pt x="28022" y="3318"/>
                  </a:lnTo>
                  <a:lnTo>
                    <a:pt x="32346" y="0"/>
                  </a:lnTo>
                  <a:lnTo>
                    <a:pt x="51492" y="1737"/>
                  </a:lnTo>
                  <a:lnTo>
                    <a:pt x="51492" y="1737"/>
                  </a:lnTo>
                  <a:close/>
                </a:path>
              </a:pathLst>
            </a:custGeom>
            <a:solidFill>
              <a:srgbClr val="2464A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9" name="Freeform: Shape 3098">
              <a:extLst>
                <a:ext uri="{FF2B5EF4-FFF2-40B4-BE49-F238E27FC236}">
                  <a16:creationId xmlns:a16="http://schemas.microsoft.com/office/drawing/2014/main" id="{06B31D37-512B-893C-88FB-1AF016A46992}"/>
                </a:ext>
              </a:extLst>
            </p:cNvPr>
            <p:cNvSpPr/>
            <p:nvPr/>
          </p:nvSpPr>
          <p:spPr>
            <a:xfrm>
              <a:off x="9077122" y="3587392"/>
              <a:ext cx="41100" cy="44068"/>
            </a:xfrm>
            <a:custGeom>
              <a:avLst/>
              <a:gdLst>
                <a:gd name="connsiteX0" fmla="*/ 35531 w 41100"/>
                <a:gd name="connsiteY0" fmla="*/ 17185 h 44068"/>
                <a:gd name="connsiteX1" fmla="*/ 20388 w 41100"/>
                <a:gd name="connsiteY1" fmla="*/ 15582 h 44068"/>
                <a:gd name="connsiteX2" fmla="*/ 10345 w 41100"/>
                <a:gd name="connsiteY2" fmla="*/ 0 h 44068"/>
                <a:gd name="connsiteX3" fmla="*/ 0 w 41100"/>
                <a:gd name="connsiteY3" fmla="*/ 6249 h 44068"/>
                <a:gd name="connsiteX4" fmla="*/ 7629 w 41100"/>
                <a:gd name="connsiteY4" fmla="*/ 27922 h 44068"/>
                <a:gd name="connsiteX5" fmla="*/ 37021 w 41100"/>
                <a:gd name="connsiteY5" fmla="*/ 44069 h 44068"/>
                <a:gd name="connsiteX6" fmla="*/ 41100 w 41100"/>
                <a:gd name="connsiteY6" fmla="*/ 29148 h 44068"/>
                <a:gd name="connsiteX7" fmla="*/ 35531 w 41100"/>
                <a:gd name="connsiteY7" fmla="*/ 17185 h 44068"/>
                <a:gd name="connsiteX8" fmla="*/ 35531 w 41100"/>
                <a:gd name="connsiteY8" fmla="*/ 17185 h 44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100" h="44068">
                  <a:moveTo>
                    <a:pt x="35531" y="17185"/>
                  </a:moveTo>
                  <a:lnTo>
                    <a:pt x="20388" y="15582"/>
                  </a:lnTo>
                  <a:lnTo>
                    <a:pt x="10345" y="0"/>
                  </a:lnTo>
                  <a:lnTo>
                    <a:pt x="0" y="6249"/>
                  </a:lnTo>
                  <a:cubicBezTo>
                    <a:pt x="0" y="6249"/>
                    <a:pt x="5849" y="26142"/>
                    <a:pt x="7629" y="27922"/>
                  </a:cubicBezTo>
                  <a:cubicBezTo>
                    <a:pt x="11461" y="31753"/>
                    <a:pt x="37021" y="44069"/>
                    <a:pt x="37021" y="44069"/>
                  </a:cubicBezTo>
                  <a:lnTo>
                    <a:pt x="41100" y="29148"/>
                  </a:lnTo>
                  <a:lnTo>
                    <a:pt x="35531" y="17185"/>
                  </a:lnTo>
                  <a:lnTo>
                    <a:pt x="35531" y="17185"/>
                  </a:lnTo>
                  <a:close/>
                </a:path>
              </a:pathLst>
            </a:custGeom>
            <a:solidFill>
              <a:srgbClr val="2464A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0" name="Freeform: Shape 3099">
              <a:extLst>
                <a:ext uri="{FF2B5EF4-FFF2-40B4-BE49-F238E27FC236}">
                  <a16:creationId xmlns:a16="http://schemas.microsoft.com/office/drawing/2014/main" id="{F15EC8AF-837C-05E6-6193-E3C923F5F6FF}"/>
                </a:ext>
              </a:extLst>
            </p:cNvPr>
            <p:cNvSpPr/>
            <p:nvPr/>
          </p:nvSpPr>
          <p:spPr>
            <a:xfrm>
              <a:off x="9077122" y="3583992"/>
              <a:ext cx="10344" cy="8356"/>
            </a:xfrm>
            <a:custGeom>
              <a:avLst/>
              <a:gdLst>
                <a:gd name="connsiteX0" fmla="*/ 10345 w 10344"/>
                <a:gd name="connsiteY0" fmla="*/ 3400 h 8356"/>
                <a:gd name="connsiteX1" fmla="*/ 8613 w 10344"/>
                <a:gd name="connsiteY1" fmla="*/ 0 h 8356"/>
                <a:gd name="connsiteX2" fmla="*/ 0 w 10344"/>
                <a:gd name="connsiteY2" fmla="*/ 4367 h 8356"/>
                <a:gd name="connsiteX3" fmla="*/ 2138 w 10344"/>
                <a:gd name="connsiteY3" fmla="*/ 8357 h 8356"/>
                <a:gd name="connsiteX4" fmla="*/ 10345 w 10344"/>
                <a:gd name="connsiteY4" fmla="*/ 3400 h 8356"/>
                <a:gd name="connsiteX5" fmla="*/ 10345 w 10344"/>
                <a:gd name="connsiteY5" fmla="*/ 3400 h 8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4" h="8356">
                  <a:moveTo>
                    <a:pt x="10345" y="3400"/>
                  </a:moveTo>
                  <a:lnTo>
                    <a:pt x="8613" y="0"/>
                  </a:lnTo>
                  <a:lnTo>
                    <a:pt x="0" y="4367"/>
                  </a:lnTo>
                  <a:lnTo>
                    <a:pt x="2138" y="8357"/>
                  </a:lnTo>
                  <a:lnTo>
                    <a:pt x="10345" y="3400"/>
                  </a:lnTo>
                  <a:lnTo>
                    <a:pt x="10345" y="3400"/>
                  </a:lnTo>
                  <a:close/>
                </a:path>
              </a:pathLst>
            </a:custGeom>
            <a:solidFill>
              <a:srgbClr val="DDDDD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1" name="Freeform: Shape 3100">
              <a:extLst>
                <a:ext uri="{FF2B5EF4-FFF2-40B4-BE49-F238E27FC236}">
                  <a16:creationId xmlns:a16="http://schemas.microsoft.com/office/drawing/2014/main" id="{0B892786-DDDC-9732-5991-A4CBD562C23C}"/>
                </a:ext>
              </a:extLst>
            </p:cNvPr>
            <p:cNvSpPr/>
            <p:nvPr/>
          </p:nvSpPr>
          <p:spPr>
            <a:xfrm>
              <a:off x="9075704" y="3569146"/>
              <a:ext cx="13103" cy="18081"/>
            </a:xfrm>
            <a:custGeom>
              <a:avLst/>
              <a:gdLst>
                <a:gd name="connsiteX0" fmla="*/ 10031 w 13103"/>
                <a:gd name="connsiteY0" fmla="*/ 14846 h 18081"/>
                <a:gd name="connsiteX1" fmla="*/ 13103 w 13103"/>
                <a:gd name="connsiteY1" fmla="*/ 8192 h 18081"/>
                <a:gd name="connsiteX2" fmla="*/ 10730 w 13103"/>
                <a:gd name="connsiteY2" fmla="*/ 2115 h 18081"/>
                <a:gd name="connsiteX3" fmla="*/ 10734 w 13103"/>
                <a:gd name="connsiteY3" fmla="*/ 0 h 18081"/>
                <a:gd name="connsiteX4" fmla="*/ 3791 w 13103"/>
                <a:gd name="connsiteY4" fmla="*/ 2861 h 18081"/>
                <a:gd name="connsiteX5" fmla="*/ 1533 w 13103"/>
                <a:gd name="connsiteY5" fmla="*/ 4245 h 18081"/>
                <a:gd name="connsiteX6" fmla="*/ 0 w 13103"/>
                <a:gd name="connsiteY6" fmla="*/ 9726 h 18081"/>
                <a:gd name="connsiteX7" fmla="*/ 2318 w 13103"/>
                <a:gd name="connsiteY7" fmla="*/ 14166 h 18081"/>
                <a:gd name="connsiteX8" fmla="*/ 3648 w 13103"/>
                <a:gd name="connsiteY8" fmla="*/ 18081 h 18081"/>
                <a:gd name="connsiteX9" fmla="*/ 10031 w 13103"/>
                <a:gd name="connsiteY9" fmla="*/ 14846 h 18081"/>
                <a:gd name="connsiteX10" fmla="*/ 10031 w 13103"/>
                <a:gd name="connsiteY10" fmla="*/ 14846 h 18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103" h="18081">
                  <a:moveTo>
                    <a:pt x="10031" y="14846"/>
                  </a:moveTo>
                  <a:lnTo>
                    <a:pt x="13103" y="8192"/>
                  </a:lnTo>
                  <a:lnTo>
                    <a:pt x="10730" y="2115"/>
                  </a:lnTo>
                  <a:lnTo>
                    <a:pt x="10734" y="0"/>
                  </a:lnTo>
                  <a:lnTo>
                    <a:pt x="3791" y="2861"/>
                  </a:lnTo>
                  <a:lnTo>
                    <a:pt x="1533" y="4245"/>
                  </a:lnTo>
                  <a:lnTo>
                    <a:pt x="0" y="9726"/>
                  </a:lnTo>
                  <a:lnTo>
                    <a:pt x="2318" y="14166"/>
                  </a:lnTo>
                  <a:lnTo>
                    <a:pt x="3648" y="18081"/>
                  </a:lnTo>
                  <a:lnTo>
                    <a:pt x="10031" y="14846"/>
                  </a:lnTo>
                  <a:lnTo>
                    <a:pt x="10031" y="14846"/>
                  </a:lnTo>
                  <a:close/>
                </a:path>
              </a:pathLst>
            </a:custGeom>
            <a:solidFill>
              <a:srgbClr val="FFE2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2" name="Freeform: Shape 3101">
              <a:extLst>
                <a:ext uri="{FF2B5EF4-FFF2-40B4-BE49-F238E27FC236}">
                  <a16:creationId xmlns:a16="http://schemas.microsoft.com/office/drawing/2014/main" id="{547B03F9-E304-D6AE-D652-81DC1E13266D}"/>
                </a:ext>
              </a:extLst>
            </p:cNvPr>
            <p:cNvSpPr/>
            <p:nvPr/>
          </p:nvSpPr>
          <p:spPr>
            <a:xfrm>
              <a:off x="9085161" y="3570051"/>
              <a:ext cx="2853" cy="5257"/>
            </a:xfrm>
            <a:custGeom>
              <a:avLst/>
              <a:gdLst>
                <a:gd name="connsiteX0" fmla="*/ 1271 w 2853"/>
                <a:gd name="connsiteY0" fmla="*/ 1212 h 5257"/>
                <a:gd name="connsiteX1" fmla="*/ 1258 w 2853"/>
                <a:gd name="connsiteY1" fmla="*/ 0 h 5257"/>
                <a:gd name="connsiteX2" fmla="*/ 0 w 2853"/>
                <a:gd name="connsiteY2" fmla="*/ 900 h 5257"/>
                <a:gd name="connsiteX3" fmla="*/ 2854 w 2853"/>
                <a:gd name="connsiteY3" fmla="*/ 5257 h 5257"/>
                <a:gd name="connsiteX4" fmla="*/ 1271 w 2853"/>
                <a:gd name="connsiteY4" fmla="*/ 1212 h 5257"/>
                <a:gd name="connsiteX5" fmla="*/ 1271 w 2853"/>
                <a:gd name="connsiteY5" fmla="*/ 1212 h 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3" h="5257">
                  <a:moveTo>
                    <a:pt x="1271" y="1212"/>
                  </a:moveTo>
                  <a:lnTo>
                    <a:pt x="1258" y="0"/>
                  </a:lnTo>
                  <a:lnTo>
                    <a:pt x="0" y="900"/>
                  </a:lnTo>
                  <a:lnTo>
                    <a:pt x="2854" y="5257"/>
                  </a:lnTo>
                  <a:lnTo>
                    <a:pt x="1271" y="1212"/>
                  </a:lnTo>
                  <a:lnTo>
                    <a:pt x="1271" y="1212"/>
                  </a:lnTo>
                  <a:close/>
                </a:path>
              </a:pathLst>
            </a:custGeom>
            <a:solidFill>
              <a:srgbClr val="CBB09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3" name="Freeform: Shape 3102">
              <a:extLst>
                <a:ext uri="{FF2B5EF4-FFF2-40B4-BE49-F238E27FC236}">
                  <a16:creationId xmlns:a16="http://schemas.microsoft.com/office/drawing/2014/main" id="{C5DEBE0C-5348-4959-45F8-8053885E802D}"/>
                </a:ext>
              </a:extLst>
            </p:cNvPr>
            <p:cNvSpPr/>
            <p:nvPr/>
          </p:nvSpPr>
          <p:spPr>
            <a:xfrm>
              <a:off x="9168372" y="3616540"/>
              <a:ext cx="16878" cy="76316"/>
            </a:xfrm>
            <a:custGeom>
              <a:avLst/>
              <a:gdLst>
                <a:gd name="connsiteX0" fmla="*/ 6340 w 16878"/>
                <a:gd name="connsiteY0" fmla="*/ 0 h 76316"/>
                <a:gd name="connsiteX1" fmla="*/ 16835 w 16878"/>
                <a:gd name="connsiteY1" fmla="*/ 47966 h 76316"/>
                <a:gd name="connsiteX2" fmla="*/ 15355 w 16878"/>
                <a:gd name="connsiteY2" fmla="*/ 76316 h 76316"/>
                <a:gd name="connsiteX3" fmla="*/ 4012 w 16878"/>
                <a:gd name="connsiteY3" fmla="*/ 75034 h 76316"/>
                <a:gd name="connsiteX4" fmla="*/ 3513 w 16878"/>
                <a:gd name="connsiteY4" fmla="*/ 49586 h 76316"/>
                <a:gd name="connsiteX5" fmla="*/ 0 w 16878"/>
                <a:gd name="connsiteY5" fmla="*/ 40188 h 76316"/>
                <a:gd name="connsiteX6" fmla="*/ 63 w 16878"/>
                <a:gd name="connsiteY6" fmla="*/ 14924 h 76316"/>
                <a:gd name="connsiteX7" fmla="*/ 6340 w 16878"/>
                <a:gd name="connsiteY7" fmla="*/ 0 h 76316"/>
                <a:gd name="connsiteX8" fmla="*/ 6340 w 16878"/>
                <a:gd name="connsiteY8" fmla="*/ 0 h 76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8" h="76316">
                  <a:moveTo>
                    <a:pt x="6340" y="0"/>
                  </a:moveTo>
                  <a:cubicBezTo>
                    <a:pt x="6340" y="0"/>
                    <a:pt x="16654" y="45696"/>
                    <a:pt x="16835" y="47966"/>
                  </a:cubicBezTo>
                  <a:cubicBezTo>
                    <a:pt x="17178" y="52246"/>
                    <a:pt x="15355" y="76316"/>
                    <a:pt x="15355" y="76316"/>
                  </a:cubicBezTo>
                  <a:lnTo>
                    <a:pt x="4012" y="75034"/>
                  </a:lnTo>
                  <a:lnTo>
                    <a:pt x="3513" y="49586"/>
                  </a:lnTo>
                  <a:lnTo>
                    <a:pt x="0" y="40188"/>
                  </a:lnTo>
                  <a:lnTo>
                    <a:pt x="63" y="14924"/>
                  </a:lnTo>
                  <a:lnTo>
                    <a:pt x="6340" y="0"/>
                  </a:lnTo>
                  <a:lnTo>
                    <a:pt x="6340" y="0"/>
                  </a:lnTo>
                  <a:close/>
                </a:path>
              </a:pathLst>
            </a:custGeom>
            <a:solidFill>
              <a:srgbClr val="2464A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4" name="Freeform: Shape 3103">
              <a:extLst>
                <a:ext uri="{FF2B5EF4-FFF2-40B4-BE49-F238E27FC236}">
                  <a16:creationId xmlns:a16="http://schemas.microsoft.com/office/drawing/2014/main" id="{C89D4B90-5EC2-E949-7ED9-185C7E5945DB}"/>
                </a:ext>
              </a:extLst>
            </p:cNvPr>
            <p:cNvSpPr/>
            <p:nvPr/>
          </p:nvSpPr>
          <p:spPr>
            <a:xfrm>
              <a:off x="9168434" y="3695787"/>
              <a:ext cx="14470" cy="19534"/>
            </a:xfrm>
            <a:custGeom>
              <a:avLst/>
              <a:gdLst>
                <a:gd name="connsiteX0" fmla="*/ 13476 w 14470"/>
                <a:gd name="connsiteY0" fmla="*/ 1644 h 19534"/>
                <a:gd name="connsiteX1" fmla="*/ 14471 w 14470"/>
                <a:gd name="connsiteY1" fmla="*/ 9239 h 19534"/>
                <a:gd name="connsiteX2" fmla="*/ 9692 w 14470"/>
                <a:gd name="connsiteY2" fmla="*/ 15453 h 19534"/>
                <a:gd name="connsiteX3" fmla="*/ 7817 w 14470"/>
                <a:gd name="connsiteY3" fmla="*/ 16025 h 19534"/>
                <a:gd name="connsiteX4" fmla="*/ 6277 w 14470"/>
                <a:gd name="connsiteY4" fmla="*/ 16468 h 19534"/>
                <a:gd name="connsiteX5" fmla="*/ 5446 w 14470"/>
                <a:gd name="connsiteY5" fmla="*/ 17810 h 19534"/>
                <a:gd name="connsiteX6" fmla="*/ 3859 w 14470"/>
                <a:gd name="connsiteY6" fmla="*/ 17866 h 19534"/>
                <a:gd name="connsiteX7" fmla="*/ 3132 w 14470"/>
                <a:gd name="connsiteY7" fmla="*/ 19035 h 19534"/>
                <a:gd name="connsiteX8" fmla="*/ 1307 w 14470"/>
                <a:gd name="connsiteY8" fmla="*/ 19535 h 19534"/>
                <a:gd name="connsiteX9" fmla="*/ 4653 w 14470"/>
                <a:gd name="connsiteY9" fmla="*/ 9160 h 19534"/>
                <a:gd name="connsiteX10" fmla="*/ 3372 w 14470"/>
                <a:gd name="connsiteY10" fmla="*/ 8240 h 19534"/>
                <a:gd name="connsiteX11" fmla="*/ 2149 w 14470"/>
                <a:gd name="connsiteY11" fmla="*/ 10545 h 19534"/>
                <a:gd name="connsiteX12" fmla="*/ 1626 w 14470"/>
                <a:gd name="connsiteY12" fmla="*/ 12996 h 19534"/>
                <a:gd name="connsiteX13" fmla="*/ 0 w 14470"/>
                <a:gd name="connsiteY13" fmla="*/ 13465 h 19534"/>
                <a:gd name="connsiteX14" fmla="*/ 1235 w 14470"/>
                <a:gd name="connsiteY14" fmla="*/ 4162 h 19534"/>
                <a:gd name="connsiteX15" fmla="*/ 4031 w 14470"/>
                <a:gd name="connsiteY15" fmla="*/ 0 h 19534"/>
                <a:gd name="connsiteX16" fmla="*/ 13476 w 14470"/>
                <a:gd name="connsiteY16" fmla="*/ 1644 h 19534"/>
                <a:gd name="connsiteX17" fmla="*/ 13476 w 14470"/>
                <a:gd name="connsiteY17" fmla="*/ 1644 h 19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470" h="19534">
                  <a:moveTo>
                    <a:pt x="13476" y="1644"/>
                  </a:moveTo>
                  <a:lnTo>
                    <a:pt x="14471" y="9239"/>
                  </a:lnTo>
                  <a:cubicBezTo>
                    <a:pt x="14471" y="9239"/>
                    <a:pt x="11356" y="13758"/>
                    <a:pt x="9692" y="15453"/>
                  </a:cubicBezTo>
                  <a:cubicBezTo>
                    <a:pt x="8029" y="17151"/>
                    <a:pt x="7817" y="16025"/>
                    <a:pt x="7817" y="16025"/>
                  </a:cubicBezTo>
                  <a:lnTo>
                    <a:pt x="6277" y="16468"/>
                  </a:lnTo>
                  <a:cubicBezTo>
                    <a:pt x="6277" y="16468"/>
                    <a:pt x="5788" y="17651"/>
                    <a:pt x="5446" y="17810"/>
                  </a:cubicBezTo>
                  <a:cubicBezTo>
                    <a:pt x="4458" y="18271"/>
                    <a:pt x="3859" y="17866"/>
                    <a:pt x="3859" y="17866"/>
                  </a:cubicBezTo>
                  <a:cubicBezTo>
                    <a:pt x="3859" y="17866"/>
                    <a:pt x="3770" y="18617"/>
                    <a:pt x="3132" y="19035"/>
                  </a:cubicBezTo>
                  <a:cubicBezTo>
                    <a:pt x="2493" y="19452"/>
                    <a:pt x="1307" y="19535"/>
                    <a:pt x="1307" y="19535"/>
                  </a:cubicBezTo>
                  <a:lnTo>
                    <a:pt x="4653" y="9160"/>
                  </a:lnTo>
                  <a:lnTo>
                    <a:pt x="3372" y="8240"/>
                  </a:lnTo>
                  <a:lnTo>
                    <a:pt x="2149" y="10545"/>
                  </a:lnTo>
                  <a:cubicBezTo>
                    <a:pt x="2149" y="10545"/>
                    <a:pt x="2027" y="12395"/>
                    <a:pt x="1626" y="12996"/>
                  </a:cubicBezTo>
                  <a:cubicBezTo>
                    <a:pt x="782" y="14256"/>
                    <a:pt x="0" y="13465"/>
                    <a:pt x="0" y="13465"/>
                  </a:cubicBezTo>
                  <a:cubicBezTo>
                    <a:pt x="0" y="13465"/>
                    <a:pt x="550" y="5958"/>
                    <a:pt x="1235" y="4162"/>
                  </a:cubicBezTo>
                  <a:cubicBezTo>
                    <a:pt x="1644" y="3094"/>
                    <a:pt x="4031" y="0"/>
                    <a:pt x="4031" y="0"/>
                  </a:cubicBezTo>
                  <a:lnTo>
                    <a:pt x="13476" y="1644"/>
                  </a:lnTo>
                  <a:lnTo>
                    <a:pt x="13476" y="1644"/>
                  </a:lnTo>
                  <a:close/>
                </a:path>
              </a:pathLst>
            </a:custGeom>
            <a:solidFill>
              <a:srgbClr val="FFE2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5" name="Freeform: Shape 3104">
              <a:extLst>
                <a:ext uri="{FF2B5EF4-FFF2-40B4-BE49-F238E27FC236}">
                  <a16:creationId xmlns:a16="http://schemas.microsoft.com/office/drawing/2014/main" id="{05A4C759-A817-759D-0D1A-4C5F10181505}"/>
                </a:ext>
              </a:extLst>
            </p:cNvPr>
            <p:cNvSpPr/>
            <p:nvPr/>
          </p:nvSpPr>
          <p:spPr>
            <a:xfrm>
              <a:off x="9134721" y="3597830"/>
              <a:ext cx="16887" cy="8261"/>
            </a:xfrm>
            <a:custGeom>
              <a:avLst/>
              <a:gdLst>
                <a:gd name="connsiteX0" fmla="*/ 16887 w 16887"/>
                <a:gd name="connsiteY0" fmla="*/ 819 h 8261"/>
                <a:gd name="connsiteX1" fmla="*/ 16005 w 16887"/>
                <a:gd name="connsiteY1" fmla="*/ 3357 h 8261"/>
                <a:gd name="connsiteX2" fmla="*/ 1041 w 16887"/>
                <a:gd name="connsiteY2" fmla="*/ 8262 h 8261"/>
                <a:gd name="connsiteX3" fmla="*/ 0 w 16887"/>
                <a:gd name="connsiteY3" fmla="*/ 4187 h 8261"/>
                <a:gd name="connsiteX4" fmla="*/ 5205 w 16887"/>
                <a:gd name="connsiteY4" fmla="*/ 0 h 8261"/>
                <a:gd name="connsiteX5" fmla="*/ 16887 w 16887"/>
                <a:gd name="connsiteY5" fmla="*/ 819 h 8261"/>
                <a:gd name="connsiteX6" fmla="*/ 16887 w 16887"/>
                <a:gd name="connsiteY6" fmla="*/ 819 h 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87" h="8261">
                  <a:moveTo>
                    <a:pt x="16887" y="819"/>
                  </a:moveTo>
                  <a:lnTo>
                    <a:pt x="16005" y="3357"/>
                  </a:lnTo>
                  <a:lnTo>
                    <a:pt x="1041" y="8262"/>
                  </a:lnTo>
                  <a:lnTo>
                    <a:pt x="0" y="4187"/>
                  </a:lnTo>
                  <a:lnTo>
                    <a:pt x="5205" y="0"/>
                  </a:lnTo>
                  <a:lnTo>
                    <a:pt x="16887" y="819"/>
                  </a:lnTo>
                  <a:lnTo>
                    <a:pt x="16887" y="819"/>
                  </a:lnTo>
                  <a:close/>
                </a:path>
              </a:pathLst>
            </a:custGeom>
            <a:solidFill>
              <a:srgbClr val="FFE1C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6" name="Freeform: Shape 3105">
              <a:extLst>
                <a:ext uri="{FF2B5EF4-FFF2-40B4-BE49-F238E27FC236}">
                  <a16:creationId xmlns:a16="http://schemas.microsoft.com/office/drawing/2014/main" id="{22C4F4BF-FA9C-CED7-B2CB-03D9ABBA9A33}"/>
                </a:ext>
              </a:extLst>
            </p:cNvPr>
            <p:cNvSpPr/>
            <p:nvPr/>
          </p:nvSpPr>
          <p:spPr>
            <a:xfrm>
              <a:off x="9134721" y="3597079"/>
              <a:ext cx="5038" cy="6962"/>
            </a:xfrm>
            <a:custGeom>
              <a:avLst/>
              <a:gdLst>
                <a:gd name="connsiteX0" fmla="*/ 4827 w 5038"/>
                <a:gd name="connsiteY0" fmla="*/ 0 h 6962"/>
                <a:gd name="connsiteX1" fmla="*/ 4967 w 5038"/>
                <a:gd name="connsiteY1" fmla="*/ 1240 h 6962"/>
                <a:gd name="connsiteX2" fmla="*/ 4259 w 5038"/>
                <a:gd name="connsiteY2" fmla="*/ 3987 h 6962"/>
                <a:gd name="connsiteX3" fmla="*/ 518 w 5038"/>
                <a:gd name="connsiteY3" fmla="*/ 6962 h 6962"/>
                <a:gd name="connsiteX4" fmla="*/ 0 w 5038"/>
                <a:gd name="connsiteY4" fmla="*/ 4938 h 6962"/>
                <a:gd name="connsiteX5" fmla="*/ 4827 w 5038"/>
                <a:gd name="connsiteY5" fmla="*/ 0 h 6962"/>
                <a:gd name="connsiteX6" fmla="*/ 4827 w 5038"/>
                <a:gd name="connsiteY6" fmla="*/ 0 h 6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38" h="6962">
                  <a:moveTo>
                    <a:pt x="4827" y="0"/>
                  </a:moveTo>
                  <a:lnTo>
                    <a:pt x="4967" y="1240"/>
                  </a:lnTo>
                  <a:cubicBezTo>
                    <a:pt x="4967" y="1240"/>
                    <a:pt x="5372" y="2556"/>
                    <a:pt x="4259" y="3987"/>
                  </a:cubicBezTo>
                  <a:cubicBezTo>
                    <a:pt x="3148" y="5417"/>
                    <a:pt x="518" y="6962"/>
                    <a:pt x="518" y="6962"/>
                  </a:cubicBezTo>
                  <a:lnTo>
                    <a:pt x="0" y="4938"/>
                  </a:lnTo>
                  <a:lnTo>
                    <a:pt x="4827" y="0"/>
                  </a:lnTo>
                  <a:lnTo>
                    <a:pt x="4827" y="0"/>
                  </a:lnTo>
                  <a:close/>
                </a:path>
              </a:pathLst>
            </a:custGeom>
            <a:solidFill>
              <a:srgbClr val="EDD0B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7" name="Freeform: Shape 3106">
              <a:extLst>
                <a:ext uri="{FF2B5EF4-FFF2-40B4-BE49-F238E27FC236}">
                  <a16:creationId xmlns:a16="http://schemas.microsoft.com/office/drawing/2014/main" id="{C5A83B2F-36EF-C49A-1DB4-854494B63EDE}"/>
                </a:ext>
              </a:extLst>
            </p:cNvPr>
            <p:cNvSpPr/>
            <p:nvPr/>
          </p:nvSpPr>
          <p:spPr>
            <a:xfrm>
              <a:off x="9129922" y="3574434"/>
              <a:ext cx="12832" cy="27602"/>
            </a:xfrm>
            <a:custGeom>
              <a:avLst/>
              <a:gdLst>
                <a:gd name="connsiteX0" fmla="*/ 12623 w 12832"/>
                <a:gd name="connsiteY0" fmla="*/ 14530 h 27602"/>
                <a:gd name="connsiteX1" fmla="*/ 8033 w 12832"/>
                <a:gd name="connsiteY1" fmla="*/ 20 h 27602"/>
                <a:gd name="connsiteX2" fmla="*/ 209 w 12832"/>
                <a:gd name="connsiteY2" fmla="*/ 13073 h 27602"/>
                <a:gd name="connsiteX3" fmla="*/ 4799 w 12832"/>
                <a:gd name="connsiteY3" fmla="*/ 27583 h 27602"/>
                <a:gd name="connsiteX4" fmla="*/ 12623 w 12832"/>
                <a:gd name="connsiteY4" fmla="*/ 14530 h 27602"/>
                <a:gd name="connsiteX5" fmla="*/ 12623 w 12832"/>
                <a:gd name="connsiteY5" fmla="*/ 14530 h 27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32" h="27602">
                  <a:moveTo>
                    <a:pt x="12623" y="14530"/>
                  </a:moveTo>
                  <a:cubicBezTo>
                    <a:pt x="13518" y="6919"/>
                    <a:pt x="11462" y="423"/>
                    <a:pt x="8033" y="20"/>
                  </a:cubicBezTo>
                  <a:cubicBezTo>
                    <a:pt x="4606" y="-382"/>
                    <a:pt x="1101" y="5462"/>
                    <a:pt x="209" y="13073"/>
                  </a:cubicBezTo>
                  <a:cubicBezTo>
                    <a:pt x="-684" y="20684"/>
                    <a:pt x="1372" y="27180"/>
                    <a:pt x="4799" y="27583"/>
                  </a:cubicBezTo>
                  <a:cubicBezTo>
                    <a:pt x="8228" y="27984"/>
                    <a:pt x="11731" y="22141"/>
                    <a:pt x="12623" y="14530"/>
                  </a:cubicBezTo>
                  <a:lnTo>
                    <a:pt x="12623" y="14530"/>
                  </a:lnTo>
                  <a:close/>
                </a:path>
              </a:pathLst>
            </a:custGeom>
            <a:solidFill>
              <a:srgbClr val="FFE1C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8" name="Freeform: Shape 3107">
              <a:extLst>
                <a:ext uri="{FF2B5EF4-FFF2-40B4-BE49-F238E27FC236}">
                  <a16:creationId xmlns:a16="http://schemas.microsoft.com/office/drawing/2014/main" id="{F21F23CB-A013-2D6F-D2E1-94D5FE958AD5}"/>
                </a:ext>
              </a:extLst>
            </p:cNvPr>
            <p:cNvSpPr/>
            <p:nvPr/>
          </p:nvSpPr>
          <p:spPr>
            <a:xfrm>
              <a:off x="9131706" y="3570564"/>
              <a:ext cx="26461" cy="28084"/>
            </a:xfrm>
            <a:custGeom>
              <a:avLst/>
              <a:gdLst>
                <a:gd name="connsiteX0" fmla="*/ 642 w 26461"/>
                <a:gd name="connsiteY0" fmla="*/ 3870 h 28084"/>
                <a:gd name="connsiteX1" fmla="*/ 817 w 26461"/>
                <a:gd name="connsiteY1" fmla="*/ 9237 h 28084"/>
                <a:gd name="connsiteX2" fmla="*/ 1434 w 26461"/>
                <a:gd name="connsiteY2" fmla="*/ 13150 h 28084"/>
                <a:gd name="connsiteX3" fmla="*/ 2906 w 26461"/>
                <a:gd name="connsiteY3" fmla="*/ 20707 h 28084"/>
                <a:gd name="connsiteX4" fmla="*/ 3856 w 26461"/>
                <a:gd name="connsiteY4" fmla="*/ 17070 h 28084"/>
                <a:gd name="connsiteX5" fmla="*/ 5614 w 26461"/>
                <a:gd name="connsiteY5" fmla="*/ 15790 h 28084"/>
                <a:gd name="connsiteX6" fmla="*/ 7828 w 26461"/>
                <a:gd name="connsiteY6" fmla="*/ 18646 h 28084"/>
                <a:gd name="connsiteX7" fmla="*/ 6770 w 26461"/>
                <a:gd name="connsiteY7" fmla="*/ 24392 h 28084"/>
                <a:gd name="connsiteX8" fmla="*/ 8634 w 26461"/>
                <a:gd name="connsiteY8" fmla="*/ 28085 h 28084"/>
                <a:gd name="connsiteX9" fmla="*/ 19902 w 26461"/>
                <a:gd name="connsiteY9" fmla="*/ 28085 h 28084"/>
                <a:gd name="connsiteX10" fmla="*/ 26266 w 26461"/>
                <a:gd name="connsiteY10" fmla="*/ 11173 h 28084"/>
                <a:gd name="connsiteX11" fmla="*/ 642 w 26461"/>
                <a:gd name="connsiteY11" fmla="*/ 3870 h 28084"/>
                <a:gd name="connsiteX12" fmla="*/ 642 w 26461"/>
                <a:gd name="connsiteY12" fmla="*/ 3870 h 28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461" h="28084">
                  <a:moveTo>
                    <a:pt x="642" y="3870"/>
                  </a:moveTo>
                  <a:cubicBezTo>
                    <a:pt x="-898" y="7147"/>
                    <a:pt x="817" y="9237"/>
                    <a:pt x="817" y="9237"/>
                  </a:cubicBezTo>
                  <a:cubicBezTo>
                    <a:pt x="817" y="9237"/>
                    <a:pt x="2059" y="10459"/>
                    <a:pt x="1434" y="13150"/>
                  </a:cubicBezTo>
                  <a:cubicBezTo>
                    <a:pt x="690" y="16342"/>
                    <a:pt x="2906" y="20707"/>
                    <a:pt x="2906" y="20707"/>
                  </a:cubicBezTo>
                  <a:cubicBezTo>
                    <a:pt x="2906" y="20707"/>
                    <a:pt x="3024" y="17959"/>
                    <a:pt x="3856" y="17070"/>
                  </a:cubicBezTo>
                  <a:cubicBezTo>
                    <a:pt x="4689" y="16183"/>
                    <a:pt x="5614" y="15790"/>
                    <a:pt x="5614" y="15790"/>
                  </a:cubicBezTo>
                  <a:cubicBezTo>
                    <a:pt x="5614" y="15790"/>
                    <a:pt x="7272" y="16525"/>
                    <a:pt x="7828" y="18646"/>
                  </a:cubicBezTo>
                  <a:cubicBezTo>
                    <a:pt x="8382" y="20766"/>
                    <a:pt x="6770" y="24392"/>
                    <a:pt x="6770" y="24392"/>
                  </a:cubicBezTo>
                  <a:lnTo>
                    <a:pt x="8634" y="28085"/>
                  </a:lnTo>
                  <a:lnTo>
                    <a:pt x="19902" y="28085"/>
                  </a:lnTo>
                  <a:cubicBezTo>
                    <a:pt x="19902" y="28085"/>
                    <a:pt x="27793" y="18927"/>
                    <a:pt x="26266" y="11173"/>
                  </a:cubicBezTo>
                  <a:cubicBezTo>
                    <a:pt x="22953" y="-5645"/>
                    <a:pt x="2158" y="643"/>
                    <a:pt x="642" y="3870"/>
                  </a:cubicBezTo>
                  <a:lnTo>
                    <a:pt x="642" y="3870"/>
                  </a:lnTo>
                  <a:close/>
                </a:path>
              </a:pathLst>
            </a:custGeom>
            <a:solidFill>
              <a:srgbClr val="000D1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9" name="Freeform: Shape 3108">
              <a:extLst>
                <a:ext uri="{FF2B5EF4-FFF2-40B4-BE49-F238E27FC236}">
                  <a16:creationId xmlns:a16="http://schemas.microsoft.com/office/drawing/2014/main" id="{62C3A772-12B1-0BBD-65CE-2470F557F035}"/>
                </a:ext>
              </a:extLst>
            </p:cNvPr>
            <p:cNvSpPr/>
            <p:nvPr/>
          </p:nvSpPr>
          <p:spPr>
            <a:xfrm>
              <a:off x="9129922" y="3589796"/>
              <a:ext cx="4850" cy="14194"/>
            </a:xfrm>
            <a:custGeom>
              <a:avLst/>
              <a:gdLst>
                <a:gd name="connsiteX0" fmla="*/ 4851 w 4850"/>
                <a:gd name="connsiteY0" fmla="*/ 0 h 14194"/>
                <a:gd name="connsiteX1" fmla="*/ 4390 w 4850"/>
                <a:gd name="connsiteY1" fmla="*/ 8319 h 14194"/>
                <a:gd name="connsiteX2" fmla="*/ 4173 w 4850"/>
                <a:gd name="connsiteY2" fmla="*/ 12074 h 14194"/>
                <a:gd name="connsiteX3" fmla="*/ 0 w 4850"/>
                <a:gd name="connsiteY3" fmla="*/ 14195 h 14194"/>
                <a:gd name="connsiteX4" fmla="*/ 1468 w 4850"/>
                <a:gd name="connsiteY4" fmla="*/ 9181 h 14194"/>
                <a:gd name="connsiteX5" fmla="*/ 3218 w 4850"/>
                <a:gd name="connsiteY5" fmla="*/ 8853 h 14194"/>
                <a:gd name="connsiteX6" fmla="*/ 4851 w 4850"/>
                <a:gd name="connsiteY6" fmla="*/ 0 h 14194"/>
                <a:gd name="connsiteX7" fmla="*/ 4851 w 4850"/>
                <a:gd name="connsiteY7" fmla="*/ 0 h 14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0" h="14194">
                  <a:moveTo>
                    <a:pt x="4851" y="0"/>
                  </a:moveTo>
                  <a:lnTo>
                    <a:pt x="4390" y="8319"/>
                  </a:lnTo>
                  <a:lnTo>
                    <a:pt x="4173" y="12074"/>
                  </a:lnTo>
                  <a:lnTo>
                    <a:pt x="0" y="14195"/>
                  </a:lnTo>
                  <a:lnTo>
                    <a:pt x="1468" y="9181"/>
                  </a:lnTo>
                  <a:lnTo>
                    <a:pt x="3218" y="8853"/>
                  </a:lnTo>
                  <a:lnTo>
                    <a:pt x="4851" y="0"/>
                  </a:lnTo>
                  <a:lnTo>
                    <a:pt x="4851" y="0"/>
                  </a:lnTo>
                  <a:close/>
                </a:path>
              </a:pathLst>
            </a:custGeom>
            <a:solidFill>
              <a:srgbClr val="000D1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0" name="Freeform: Shape 3109">
              <a:extLst>
                <a:ext uri="{FF2B5EF4-FFF2-40B4-BE49-F238E27FC236}">
                  <a16:creationId xmlns:a16="http://schemas.microsoft.com/office/drawing/2014/main" id="{23746350-C280-1CAB-18D8-68FF2928B887}"/>
                </a:ext>
              </a:extLst>
            </p:cNvPr>
            <p:cNvSpPr/>
            <p:nvPr/>
          </p:nvSpPr>
          <p:spPr>
            <a:xfrm>
              <a:off x="9134472" y="3599268"/>
              <a:ext cx="19145" cy="4834"/>
            </a:xfrm>
            <a:custGeom>
              <a:avLst/>
              <a:gdLst>
                <a:gd name="connsiteX0" fmla="*/ 19146 w 19145"/>
                <a:gd name="connsiteY0" fmla="*/ 4834 h 4834"/>
                <a:gd name="connsiteX1" fmla="*/ 16695 w 19145"/>
                <a:gd name="connsiteY1" fmla="*/ 1769 h 4834"/>
                <a:gd name="connsiteX2" fmla="*/ 10054 w 19145"/>
                <a:gd name="connsiteY2" fmla="*/ 30 h 4834"/>
                <a:gd name="connsiteX3" fmla="*/ 2103 w 19145"/>
                <a:gd name="connsiteY3" fmla="*/ 878 h 4834"/>
                <a:gd name="connsiteX4" fmla="*/ 0 w 19145"/>
                <a:gd name="connsiteY4" fmla="*/ 3097 h 4834"/>
                <a:gd name="connsiteX5" fmla="*/ 19146 w 19145"/>
                <a:gd name="connsiteY5" fmla="*/ 4834 h 4834"/>
                <a:gd name="connsiteX6" fmla="*/ 19146 w 19145"/>
                <a:gd name="connsiteY6" fmla="*/ 4834 h 4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145" h="4834">
                  <a:moveTo>
                    <a:pt x="19146" y="4834"/>
                  </a:moveTo>
                  <a:lnTo>
                    <a:pt x="16695" y="1769"/>
                  </a:lnTo>
                  <a:cubicBezTo>
                    <a:pt x="16695" y="1769"/>
                    <a:pt x="13704" y="253"/>
                    <a:pt x="10054" y="30"/>
                  </a:cubicBezTo>
                  <a:cubicBezTo>
                    <a:pt x="6406" y="-192"/>
                    <a:pt x="2103" y="878"/>
                    <a:pt x="2103" y="878"/>
                  </a:cubicBezTo>
                  <a:lnTo>
                    <a:pt x="0" y="3097"/>
                  </a:lnTo>
                  <a:lnTo>
                    <a:pt x="19146" y="4834"/>
                  </a:lnTo>
                  <a:lnTo>
                    <a:pt x="19146" y="4834"/>
                  </a:lnTo>
                  <a:close/>
                </a:path>
              </a:pathLst>
            </a:custGeom>
            <a:solidFill>
              <a:srgbClr val="DDDDD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1" name="Freeform: Shape 3110">
              <a:extLst>
                <a:ext uri="{FF2B5EF4-FFF2-40B4-BE49-F238E27FC236}">
                  <a16:creationId xmlns:a16="http://schemas.microsoft.com/office/drawing/2014/main" id="{8EEA2F4F-18FA-69ED-E8D1-1A95107398EC}"/>
                </a:ext>
              </a:extLst>
            </p:cNvPr>
            <p:cNvSpPr/>
            <p:nvPr/>
          </p:nvSpPr>
          <p:spPr>
            <a:xfrm>
              <a:off x="9130148" y="3602365"/>
              <a:ext cx="30340" cy="9467"/>
            </a:xfrm>
            <a:custGeom>
              <a:avLst/>
              <a:gdLst>
                <a:gd name="connsiteX0" fmla="*/ 23469 w 30340"/>
                <a:gd name="connsiteY0" fmla="*/ 1737 h 9467"/>
                <a:gd name="connsiteX1" fmla="*/ 30340 w 30340"/>
                <a:gd name="connsiteY1" fmla="*/ 7328 h 9467"/>
                <a:gd name="connsiteX2" fmla="*/ 13897 w 30340"/>
                <a:gd name="connsiteY2" fmla="*/ 9427 h 9467"/>
                <a:gd name="connsiteX3" fmla="*/ 0 w 30340"/>
                <a:gd name="connsiteY3" fmla="*/ 3318 h 9467"/>
                <a:gd name="connsiteX4" fmla="*/ 4324 w 30340"/>
                <a:gd name="connsiteY4" fmla="*/ 0 h 9467"/>
                <a:gd name="connsiteX5" fmla="*/ 23469 w 30340"/>
                <a:gd name="connsiteY5" fmla="*/ 1737 h 9467"/>
                <a:gd name="connsiteX6" fmla="*/ 23469 w 30340"/>
                <a:gd name="connsiteY6" fmla="*/ 1737 h 9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340" h="9467">
                  <a:moveTo>
                    <a:pt x="23469" y="1737"/>
                  </a:moveTo>
                  <a:lnTo>
                    <a:pt x="30340" y="7328"/>
                  </a:lnTo>
                  <a:cubicBezTo>
                    <a:pt x="30340" y="7328"/>
                    <a:pt x="17353" y="9814"/>
                    <a:pt x="13897" y="9427"/>
                  </a:cubicBezTo>
                  <a:cubicBezTo>
                    <a:pt x="10990" y="9099"/>
                    <a:pt x="0" y="3318"/>
                    <a:pt x="0" y="3318"/>
                  </a:cubicBezTo>
                  <a:lnTo>
                    <a:pt x="4324" y="0"/>
                  </a:lnTo>
                  <a:lnTo>
                    <a:pt x="23469" y="1737"/>
                  </a:lnTo>
                  <a:lnTo>
                    <a:pt x="23469" y="1737"/>
                  </a:lnTo>
                  <a:close/>
                </a:path>
              </a:pathLst>
            </a:custGeom>
            <a:solidFill>
              <a:srgbClr val="143A5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2" name="Freeform: Shape 3111">
              <a:extLst>
                <a:ext uri="{FF2B5EF4-FFF2-40B4-BE49-F238E27FC236}">
                  <a16:creationId xmlns:a16="http://schemas.microsoft.com/office/drawing/2014/main" id="{CB74A384-7523-4E2F-F43D-35871415B223}"/>
                </a:ext>
              </a:extLst>
            </p:cNvPr>
            <p:cNvSpPr/>
            <p:nvPr/>
          </p:nvSpPr>
          <p:spPr>
            <a:xfrm>
              <a:off x="9172383" y="3691574"/>
              <a:ext cx="9659" cy="5856"/>
            </a:xfrm>
            <a:custGeom>
              <a:avLst/>
              <a:gdLst>
                <a:gd name="connsiteX0" fmla="*/ 9660 w 9659"/>
                <a:gd name="connsiteY0" fmla="*/ 1020 h 5856"/>
                <a:gd name="connsiteX1" fmla="*/ 9527 w 9659"/>
                <a:gd name="connsiteY1" fmla="*/ 5856 h 5856"/>
                <a:gd name="connsiteX2" fmla="*/ 82 w 9659"/>
                <a:gd name="connsiteY2" fmla="*/ 4212 h 5856"/>
                <a:gd name="connsiteX3" fmla="*/ 0 w 9659"/>
                <a:gd name="connsiteY3" fmla="*/ 0 h 5856"/>
                <a:gd name="connsiteX4" fmla="*/ 9660 w 9659"/>
                <a:gd name="connsiteY4" fmla="*/ 1020 h 5856"/>
                <a:gd name="connsiteX5" fmla="*/ 9660 w 9659"/>
                <a:gd name="connsiteY5" fmla="*/ 1020 h 5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59" h="5856">
                  <a:moveTo>
                    <a:pt x="9660" y="1020"/>
                  </a:moveTo>
                  <a:lnTo>
                    <a:pt x="9527" y="5856"/>
                  </a:lnTo>
                  <a:lnTo>
                    <a:pt x="82" y="4212"/>
                  </a:lnTo>
                  <a:lnTo>
                    <a:pt x="0" y="0"/>
                  </a:lnTo>
                  <a:lnTo>
                    <a:pt x="9660" y="1020"/>
                  </a:lnTo>
                  <a:lnTo>
                    <a:pt x="9660" y="1020"/>
                  </a:lnTo>
                  <a:close/>
                </a:path>
              </a:pathLst>
            </a:custGeom>
            <a:solidFill>
              <a:srgbClr val="DDDDD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3" name="Freeform: Shape 3112">
              <a:extLst>
                <a:ext uri="{FF2B5EF4-FFF2-40B4-BE49-F238E27FC236}">
                  <a16:creationId xmlns:a16="http://schemas.microsoft.com/office/drawing/2014/main" id="{8EC48057-DFDE-FCBB-F871-34750B827B05}"/>
                </a:ext>
              </a:extLst>
            </p:cNvPr>
            <p:cNvSpPr/>
            <p:nvPr/>
          </p:nvSpPr>
          <p:spPr>
            <a:xfrm>
              <a:off x="9152669" y="3656728"/>
              <a:ext cx="16449" cy="67027"/>
            </a:xfrm>
            <a:custGeom>
              <a:avLst/>
              <a:gdLst>
                <a:gd name="connsiteX0" fmla="*/ 15702 w 16449"/>
                <a:gd name="connsiteY0" fmla="*/ 0 h 67027"/>
                <a:gd name="connsiteX1" fmla="*/ 13838 w 16449"/>
                <a:gd name="connsiteY1" fmla="*/ 11804 h 67027"/>
                <a:gd name="connsiteX2" fmla="*/ 16450 w 16449"/>
                <a:gd name="connsiteY2" fmla="*/ 67027 h 67027"/>
                <a:gd name="connsiteX3" fmla="*/ 0 w 16449"/>
                <a:gd name="connsiteY3" fmla="*/ 65133 h 67027"/>
                <a:gd name="connsiteX4" fmla="*/ 8563 w 16449"/>
                <a:gd name="connsiteY4" fmla="*/ 60234 h 67027"/>
                <a:gd name="connsiteX5" fmla="*/ 9368 w 16449"/>
                <a:gd name="connsiteY5" fmla="*/ 10956 h 67027"/>
                <a:gd name="connsiteX6" fmla="*/ 15702 w 16449"/>
                <a:gd name="connsiteY6" fmla="*/ 0 h 67027"/>
                <a:gd name="connsiteX7" fmla="*/ 15702 w 16449"/>
                <a:gd name="connsiteY7" fmla="*/ 0 h 6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49" h="67027">
                  <a:moveTo>
                    <a:pt x="15702" y="0"/>
                  </a:moveTo>
                  <a:lnTo>
                    <a:pt x="13838" y="11804"/>
                  </a:lnTo>
                  <a:lnTo>
                    <a:pt x="16450" y="67027"/>
                  </a:lnTo>
                  <a:lnTo>
                    <a:pt x="0" y="65133"/>
                  </a:lnTo>
                  <a:lnTo>
                    <a:pt x="8563" y="60234"/>
                  </a:lnTo>
                  <a:lnTo>
                    <a:pt x="9368" y="10956"/>
                  </a:lnTo>
                  <a:lnTo>
                    <a:pt x="15702" y="0"/>
                  </a:lnTo>
                  <a:lnTo>
                    <a:pt x="15702" y="0"/>
                  </a:lnTo>
                  <a:close/>
                </a:path>
              </a:pathLst>
            </a:custGeom>
            <a:solidFill>
              <a:srgbClr val="215A9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4" name="Freeform: Shape 3113">
              <a:extLst>
                <a:ext uri="{FF2B5EF4-FFF2-40B4-BE49-F238E27FC236}">
                  <a16:creationId xmlns:a16="http://schemas.microsoft.com/office/drawing/2014/main" id="{05EC61D1-E442-89B5-32B0-064567DFBC44}"/>
                </a:ext>
              </a:extLst>
            </p:cNvPr>
            <p:cNvSpPr/>
            <p:nvPr/>
          </p:nvSpPr>
          <p:spPr>
            <a:xfrm>
              <a:off x="9152669" y="3721861"/>
              <a:ext cx="20866" cy="113845"/>
            </a:xfrm>
            <a:custGeom>
              <a:avLst/>
              <a:gdLst>
                <a:gd name="connsiteX0" fmla="*/ 13585 w 20866"/>
                <a:gd name="connsiteY0" fmla="*/ 1563 h 113845"/>
                <a:gd name="connsiteX1" fmla="*/ 0 w 20866"/>
                <a:gd name="connsiteY1" fmla="*/ 0 h 113845"/>
                <a:gd name="connsiteX2" fmla="*/ 8226 w 20866"/>
                <a:gd name="connsiteY2" fmla="*/ 8106 h 113845"/>
                <a:gd name="connsiteX3" fmla="*/ 20867 w 20866"/>
                <a:gd name="connsiteY3" fmla="*/ 113846 h 113845"/>
                <a:gd name="connsiteX4" fmla="*/ 13585 w 20866"/>
                <a:gd name="connsiteY4" fmla="*/ 1563 h 113845"/>
                <a:gd name="connsiteX5" fmla="*/ 13585 w 20866"/>
                <a:gd name="connsiteY5" fmla="*/ 1563 h 113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66" h="113845">
                  <a:moveTo>
                    <a:pt x="13585" y="1563"/>
                  </a:moveTo>
                  <a:lnTo>
                    <a:pt x="0" y="0"/>
                  </a:lnTo>
                  <a:lnTo>
                    <a:pt x="8226" y="8106"/>
                  </a:lnTo>
                  <a:lnTo>
                    <a:pt x="20867" y="113846"/>
                  </a:lnTo>
                  <a:lnTo>
                    <a:pt x="13585" y="1563"/>
                  </a:lnTo>
                  <a:lnTo>
                    <a:pt x="13585" y="1563"/>
                  </a:lnTo>
                  <a:close/>
                </a:path>
              </a:pathLst>
            </a:custGeom>
            <a:solidFill>
              <a:srgbClr val="1C1C1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5" name="Freeform: Shape 3114">
              <a:extLst>
                <a:ext uri="{FF2B5EF4-FFF2-40B4-BE49-F238E27FC236}">
                  <a16:creationId xmlns:a16="http://schemas.microsoft.com/office/drawing/2014/main" id="{505F2C52-F47C-85DE-D232-8D5C30A29D09}"/>
                </a:ext>
              </a:extLst>
            </p:cNvPr>
            <p:cNvSpPr/>
            <p:nvPr/>
          </p:nvSpPr>
          <p:spPr>
            <a:xfrm>
              <a:off x="9077120" y="3593641"/>
              <a:ext cx="37022" cy="37823"/>
            </a:xfrm>
            <a:custGeom>
              <a:avLst/>
              <a:gdLst>
                <a:gd name="connsiteX0" fmla="*/ 0 w 37022"/>
                <a:gd name="connsiteY0" fmla="*/ 0 h 37823"/>
                <a:gd name="connsiteX1" fmla="*/ 10346 w 37022"/>
                <a:gd name="connsiteY1" fmla="*/ 19954 h 37823"/>
                <a:gd name="connsiteX2" fmla="*/ 36748 w 37022"/>
                <a:gd name="connsiteY2" fmla="*/ 32853 h 37823"/>
                <a:gd name="connsiteX3" fmla="*/ 37023 w 37022"/>
                <a:gd name="connsiteY3" fmla="*/ 37824 h 37823"/>
                <a:gd name="connsiteX4" fmla="*/ 7631 w 37022"/>
                <a:gd name="connsiteY4" fmla="*/ 21673 h 37823"/>
                <a:gd name="connsiteX5" fmla="*/ 0 w 37022"/>
                <a:gd name="connsiteY5" fmla="*/ 0 h 37823"/>
                <a:gd name="connsiteX6" fmla="*/ 0 w 37022"/>
                <a:gd name="connsiteY6" fmla="*/ 0 h 37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22" h="37823">
                  <a:moveTo>
                    <a:pt x="0" y="0"/>
                  </a:moveTo>
                  <a:cubicBezTo>
                    <a:pt x="0" y="0"/>
                    <a:pt x="8737" y="17803"/>
                    <a:pt x="10346" y="19954"/>
                  </a:cubicBezTo>
                  <a:cubicBezTo>
                    <a:pt x="11314" y="21250"/>
                    <a:pt x="36748" y="32853"/>
                    <a:pt x="36748" y="32853"/>
                  </a:cubicBezTo>
                  <a:lnTo>
                    <a:pt x="37023" y="37824"/>
                  </a:lnTo>
                  <a:cubicBezTo>
                    <a:pt x="37023" y="37824"/>
                    <a:pt x="11461" y="25504"/>
                    <a:pt x="7631" y="21673"/>
                  </a:cubicBezTo>
                  <a:cubicBezTo>
                    <a:pt x="5851" y="19893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215A9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6" name="Freeform: Shape 3115">
              <a:extLst>
                <a:ext uri="{FF2B5EF4-FFF2-40B4-BE49-F238E27FC236}">
                  <a16:creationId xmlns:a16="http://schemas.microsoft.com/office/drawing/2014/main" id="{1EFF665E-B752-9D82-12D1-7D8D66917701}"/>
                </a:ext>
              </a:extLst>
            </p:cNvPr>
            <p:cNvSpPr/>
            <p:nvPr/>
          </p:nvSpPr>
          <p:spPr>
            <a:xfrm>
              <a:off x="9113372" y="3651426"/>
              <a:ext cx="9699" cy="25692"/>
            </a:xfrm>
            <a:custGeom>
              <a:avLst/>
              <a:gdLst>
                <a:gd name="connsiteX0" fmla="*/ 1877 w 9699"/>
                <a:gd name="connsiteY0" fmla="*/ 0 h 25692"/>
                <a:gd name="connsiteX1" fmla="*/ 2373 w 9699"/>
                <a:gd name="connsiteY1" fmla="*/ 8973 h 25692"/>
                <a:gd name="connsiteX2" fmla="*/ 0 w 9699"/>
                <a:gd name="connsiteY2" fmla="*/ 17785 h 25692"/>
                <a:gd name="connsiteX3" fmla="*/ 3849 w 9699"/>
                <a:gd name="connsiteY3" fmla="*/ 15681 h 25692"/>
                <a:gd name="connsiteX4" fmla="*/ 9699 w 9699"/>
                <a:gd name="connsiteY4" fmla="*/ 25692 h 25692"/>
                <a:gd name="connsiteX5" fmla="*/ 1877 w 9699"/>
                <a:gd name="connsiteY5" fmla="*/ 0 h 25692"/>
                <a:gd name="connsiteX6" fmla="*/ 1877 w 9699"/>
                <a:gd name="connsiteY6" fmla="*/ 0 h 2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99" h="25692">
                  <a:moveTo>
                    <a:pt x="1877" y="0"/>
                  </a:moveTo>
                  <a:lnTo>
                    <a:pt x="2373" y="8973"/>
                  </a:lnTo>
                  <a:lnTo>
                    <a:pt x="0" y="17785"/>
                  </a:lnTo>
                  <a:lnTo>
                    <a:pt x="3849" y="15681"/>
                  </a:lnTo>
                  <a:lnTo>
                    <a:pt x="9699" y="25692"/>
                  </a:lnTo>
                  <a:lnTo>
                    <a:pt x="1877" y="0"/>
                  </a:lnTo>
                  <a:lnTo>
                    <a:pt x="1877" y="0"/>
                  </a:lnTo>
                  <a:close/>
                </a:path>
              </a:pathLst>
            </a:custGeom>
            <a:solidFill>
              <a:srgbClr val="215A9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7" name="Freeform: Shape 3116">
              <a:extLst>
                <a:ext uri="{FF2B5EF4-FFF2-40B4-BE49-F238E27FC236}">
                  <a16:creationId xmlns:a16="http://schemas.microsoft.com/office/drawing/2014/main" id="{121227B1-48E1-B408-2F9F-524DC9A7D0A2}"/>
                </a:ext>
              </a:extLst>
            </p:cNvPr>
            <p:cNvSpPr/>
            <p:nvPr/>
          </p:nvSpPr>
          <p:spPr>
            <a:xfrm>
              <a:off x="9120469" y="3694061"/>
              <a:ext cx="16914" cy="20457"/>
            </a:xfrm>
            <a:custGeom>
              <a:avLst/>
              <a:gdLst>
                <a:gd name="connsiteX0" fmla="*/ 16914 w 16914"/>
                <a:gd name="connsiteY0" fmla="*/ 0 h 20457"/>
                <a:gd name="connsiteX1" fmla="*/ 7874 w 16914"/>
                <a:gd name="connsiteY1" fmla="*/ 20458 h 20457"/>
                <a:gd name="connsiteX2" fmla="*/ 0 w 16914"/>
                <a:gd name="connsiteY2" fmla="*/ 19386 h 20457"/>
                <a:gd name="connsiteX3" fmla="*/ 16914 w 16914"/>
                <a:gd name="connsiteY3" fmla="*/ 0 h 20457"/>
                <a:gd name="connsiteX4" fmla="*/ 16914 w 16914"/>
                <a:gd name="connsiteY4" fmla="*/ 0 h 20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14" h="20457">
                  <a:moveTo>
                    <a:pt x="16914" y="0"/>
                  </a:moveTo>
                  <a:lnTo>
                    <a:pt x="7874" y="20458"/>
                  </a:lnTo>
                  <a:lnTo>
                    <a:pt x="0" y="19386"/>
                  </a:lnTo>
                  <a:lnTo>
                    <a:pt x="16914" y="0"/>
                  </a:lnTo>
                  <a:lnTo>
                    <a:pt x="16914" y="0"/>
                  </a:lnTo>
                  <a:close/>
                </a:path>
              </a:pathLst>
            </a:custGeom>
            <a:solidFill>
              <a:srgbClr val="215A9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8" name="Freeform: Shape 3117">
              <a:extLst>
                <a:ext uri="{FF2B5EF4-FFF2-40B4-BE49-F238E27FC236}">
                  <a16:creationId xmlns:a16="http://schemas.microsoft.com/office/drawing/2014/main" id="{F5AC991D-D962-60E3-BB5B-F97F2C2B10C8}"/>
                </a:ext>
              </a:extLst>
            </p:cNvPr>
            <p:cNvSpPr/>
            <p:nvPr/>
          </p:nvSpPr>
          <p:spPr>
            <a:xfrm>
              <a:off x="8700740" y="3665721"/>
              <a:ext cx="4436" cy="4090"/>
            </a:xfrm>
            <a:custGeom>
              <a:avLst/>
              <a:gdLst>
                <a:gd name="connsiteX0" fmla="*/ 1837 w 4436"/>
                <a:gd name="connsiteY0" fmla="*/ 905 h 4090"/>
                <a:gd name="connsiteX1" fmla="*/ 4436 w 4436"/>
                <a:gd name="connsiteY1" fmla="*/ 0 h 4090"/>
                <a:gd name="connsiteX2" fmla="*/ 2233 w 4436"/>
                <a:gd name="connsiteY2" fmla="*/ 3576 h 4090"/>
                <a:gd name="connsiteX3" fmla="*/ 0 w 4436"/>
                <a:gd name="connsiteY3" fmla="*/ 4090 h 4090"/>
                <a:gd name="connsiteX4" fmla="*/ 1837 w 4436"/>
                <a:gd name="connsiteY4" fmla="*/ 905 h 4090"/>
                <a:gd name="connsiteX5" fmla="*/ 1837 w 4436"/>
                <a:gd name="connsiteY5" fmla="*/ 905 h 4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36" h="4090">
                  <a:moveTo>
                    <a:pt x="1837" y="905"/>
                  </a:moveTo>
                  <a:lnTo>
                    <a:pt x="4436" y="0"/>
                  </a:lnTo>
                  <a:lnTo>
                    <a:pt x="2233" y="3576"/>
                  </a:lnTo>
                  <a:lnTo>
                    <a:pt x="0" y="4090"/>
                  </a:lnTo>
                  <a:lnTo>
                    <a:pt x="1837" y="905"/>
                  </a:lnTo>
                  <a:lnTo>
                    <a:pt x="1837" y="905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9" name="Freeform: Shape 3118">
              <a:extLst>
                <a:ext uri="{FF2B5EF4-FFF2-40B4-BE49-F238E27FC236}">
                  <a16:creationId xmlns:a16="http://schemas.microsoft.com/office/drawing/2014/main" id="{FE7B5B96-128B-AA51-011A-36DDB2A1FC17}"/>
                </a:ext>
              </a:extLst>
            </p:cNvPr>
            <p:cNvSpPr/>
            <p:nvPr/>
          </p:nvSpPr>
          <p:spPr>
            <a:xfrm>
              <a:off x="8907602" y="3608608"/>
              <a:ext cx="4780" cy="13569"/>
            </a:xfrm>
            <a:custGeom>
              <a:avLst/>
              <a:gdLst>
                <a:gd name="connsiteX0" fmla="*/ 0 w 4780"/>
                <a:gd name="connsiteY0" fmla="*/ 0 h 13569"/>
                <a:gd name="connsiteX1" fmla="*/ 4781 w 4780"/>
                <a:gd name="connsiteY1" fmla="*/ 7227 h 13569"/>
                <a:gd name="connsiteX2" fmla="*/ 1590 w 4780"/>
                <a:gd name="connsiteY2" fmla="*/ 9859 h 13569"/>
                <a:gd name="connsiteX3" fmla="*/ 73 w 4780"/>
                <a:gd name="connsiteY3" fmla="*/ 13569 h 13569"/>
                <a:gd name="connsiteX4" fmla="*/ 0 w 4780"/>
                <a:gd name="connsiteY4" fmla="*/ 0 h 13569"/>
                <a:gd name="connsiteX5" fmla="*/ 0 w 4780"/>
                <a:gd name="connsiteY5" fmla="*/ 0 h 1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80" h="13569">
                  <a:moveTo>
                    <a:pt x="0" y="0"/>
                  </a:moveTo>
                  <a:lnTo>
                    <a:pt x="4781" y="7227"/>
                  </a:lnTo>
                  <a:cubicBezTo>
                    <a:pt x="4781" y="7227"/>
                    <a:pt x="1721" y="7889"/>
                    <a:pt x="1590" y="9859"/>
                  </a:cubicBezTo>
                  <a:cubicBezTo>
                    <a:pt x="1409" y="12557"/>
                    <a:pt x="73" y="13569"/>
                    <a:pt x="73" y="13569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1C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0" name="Freeform: Shape 3119">
              <a:extLst>
                <a:ext uri="{FF2B5EF4-FFF2-40B4-BE49-F238E27FC236}">
                  <a16:creationId xmlns:a16="http://schemas.microsoft.com/office/drawing/2014/main" id="{93A7B16D-2F7C-4499-5000-A4808DD6338A}"/>
                </a:ext>
              </a:extLst>
            </p:cNvPr>
            <p:cNvSpPr/>
            <p:nvPr/>
          </p:nvSpPr>
          <p:spPr>
            <a:xfrm>
              <a:off x="8898568" y="3818165"/>
              <a:ext cx="15953" cy="30558"/>
            </a:xfrm>
            <a:custGeom>
              <a:avLst/>
              <a:gdLst>
                <a:gd name="connsiteX0" fmla="*/ 0 w 15953"/>
                <a:gd name="connsiteY0" fmla="*/ 0 h 30558"/>
                <a:gd name="connsiteX1" fmla="*/ 851 w 15953"/>
                <a:gd name="connsiteY1" fmla="*/ 15401 h 30558"/>
                <a:gd name="connsiteX2" fmla="*/ 14953 w 15953"/>
                <a:gd name="connsiteY2" fmla="*/ 30559 h 30558"/>
                <a:gd name="connsiteX3" fmla="*/ 15953 w 15953"/>
                <a:gd name="connsiteY3" fmla="*/ 26117 h 30558"/>
                <a:gd name="connsiteX4" fmla="*/ 11045 w 15953"/>
                <a:gd name="connsiteY4" fmla="*/ 3045 h 30558"/>
                <a:gd name="connsiteX5" fmla="*/ 0 w 15953"/>
                <a:gd name="connsiteY5" fmla="*/ 0 h 30558"/>
                <a:gd name="connsiteX6" fmla="*/ 0 w 15953"/>
                <a:gd name="connsiteY6" fmla="*/ 0 h 30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53" h="30558">
                  <a:moveTo>
                    <a:pt x="0" y="0"/>
                  </a:moveTo>
                  <a:lnTo>
                    <a:pt x="851" y="15401"/>
                  </a:lnTo>
                  <a:lnTo>
                    <a:pt x="14953" y="30559"/>
                  </a:lnTo>
                  <a:lnTo>
                    <a:pt x="15953" y="26117"/>
                  </a:lnTo>
                  <a:lnTo>
                    <a:pt x="11045" y="304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D4B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1" name="Freeform: Shape 3120">
              <a:extLst>
                <a:ext uri="{FF2B5EF4-FFF2-40B4-BE49-F238E27FC236}">
                  <a16:creationId xmlns:a16="http://schemas.microsoft.com/office/drawing/2014/main" id="{F2EC08B2-10B2-751C-109F-2188D25255AF}"/>
                </a:ext>
              </a:extLst>
            </p:cNvPr>
            <p:cNvSpPr/>
            <p:nvPr/>
          </p:nvSpPr>
          <p:spPr>
            <a:xfrm>
              <a:off x="8894960" y="3828228"/>
              <a:ext cx="24955" cy="21186"/>
            </a:xfrm>
            <a:custGeom>
              <a:avLst/>
              <a:gdLst>
                <a:gd name="connsiteX0" fmla="*/ 48 w 24955"/>
                <a:gd name="connsiteY0" fmla="*/ 6574 h 21186"/>
                <a:gd name="connsiteX1" fmla="*/ 683 w 24955"/>
                <a:gd name="connsiteY1" fmla="*/ 1175 h 21186"/>
                <a:gd name="connsiteX2" fmla="*/ 3820 w 24955"/>
                <a:gd name="connsiteY2" fmla="*/ 83 h 21186"/>
                <a:gd name="connsiteX3" fmla="*/ 13691 w 24955"/>
                <a:gd name="connsiteY3" fmla="*/ 13276 h 21186"/>
                <a:gd name="connsiteX4" fmla="*/ 19561 w 24955"/>
                <a:gd name="connsiteY4" fmla="*/ 16054 h 21186"/>
                <a:gd name="connsiteX5" fmla="*/ 24244 w 24955"/>
                <a:gd name="connsiteY5" fmla="*/ 16976 h 21186"/>
                <a:gd name="connsiteX6" fmla="*/ 24686 w 24955"/>
                <a:gd name="connsiteY6" fmla="*/ 19646 h 21186"/>
                <a:gd name="connsiteX7" fmla="*/ 21051 w 24955"/>
                <a:gd name="connsiteY7" fmla="*/ 21186 h 21186"/>
                <a:gd name="connsiteX8" fmla="*/ 12510 w 24955"/>
                <a:gd name="connsiteY8" fmla="*/ 21002 h 21186"/>
                <a:gd name="connsiteX9" fmla="*/ 6831 w 24955"/>
                <a:gd name="connsiteY9" fmla="*/ 11724 h 21186"/>
                <a:gd name="connsiteX10" fmla="*/ 48 w 24955"/>
                <a:gd name="connsiteY10" fmla="*/ 6574 h 21186"/>
                <a:gd name="connsiteX11" fmla="*/ 48 w 24955"/>
                <a:gd name="connsiteY11" fmla="*/ 6574 h 2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955" h="21186">
                  <a:moveTo>
                    <a:pt x="48" y="6574"/>
                  </a:moveTo>
                  <a:cubicBezTo>
                    <a:pt x="48" y="6574"/>
                    <a:pt x="-260" y="2799"/>
                    <a:pt x="683" y="1175"/>
                  </a:cubicBezTo>
                  <a:cubicBezTo>
                    <a:pt x="1626" y="-448"/>
                    <a:pt x="3820" y="83"/>
                    <a:pt x="3820" y="83"/>
                  </a:cubicBezTo>
                  <a:cubicBezTo>
                    <a:pt x="3820" y="83"/>
                    <a:pt x="9755" y="9282"/>
                    <a:pt x="13691" y="13276"/>
                  </a:cubicBezTo>
                  <a:cubicBezTo>
                    <a:pt x="17626" y="17268"/>
                    <a:pt x="19561" y="16054"/>
                    <a:pt x="19561" y="16054"/>
                  </a:cubicBezTo>
                  <a:cubicBezTo>
                    <a:pt x="19561" y="16054"/>
                    <a:pt x="22962" y="16078"/>
                    <a:pt x="24244" y="16976"/>
                  </a:cubicBezTo>
                  <a:cubicBezTo>
                    <a:pt x="25523" y="17874"/>
                    <a:pt x="24686" y="19646"/>
                    <a:pt x="24686" y="19646"/>
                  </a:cubicBezTo>
                  <a:lnTo>
                    <a:pt x="21051" y="21186"/>
                  </a:lnTo>
                  <a:lnTo>
                    <a:pt x="12510" y="21002"/>
                  </a:lnTo>
                  <a:lnTo>
                    <a:pt x="6831" y="11724"/>
                  </a:lnTo>
                  <a:lnTo>
                    <a:pt x="48" y="6574"/>
                  </a:lnTo>
                  <a:lnTo>
                    <a:pt x="48" y="6574"/>
                  </a:lnTo>
                  <a:close/>
                </a:path>
              </a:pathLst>
            </a:custGeom>
            <a:solidFill>
              <a:srgbClr val="30303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2" name="Freeform: Shape 3121">
              <a:extLst>
                <a:ext uri="{FF2B5EF4-FFF2-40B4-BE49-F238E27FC236}">
                  <a16:creationId xmlns:a16="http://schemas.microsoft.com/office/drawing/2014/main" id="{4AD87D72-910C-112C-5230-E902803D073B}"/>
                </a:ext>
              </a:extLst>
            </p:cNvPr>
            <p:cNvSpPr/>
            <p:nvPr/>
          </p:nvSpPr>
          <p:spPr>
            <a:xfrm>
              <a:off x="8894976" y="3835188"/>
              <a:ext cx="24670" cy="16809"/>
            </a:xfrm>
            <a:custGeom>
              <a:avLst/>
              <a:gdLst>
                <a:gd name="connsiteX0" fmla="*/ 0 w 24670"/>
                <a:gd name="connsiteY0" fmla="*/ 0 h 16809"/>
                <a:gd name="connsiteX1" fmla="*/ 1735 w 24670"/>
                <a:gd name="connsiteY1" fmla="*/ 6672 h 16809"/>
                <a:gd name="connsiteX2" fmla="*/ 3071 w 24670"/>
                <a:gd name="connsiteY2" fmla="*/ 16622 h 16809"/>
                <a:gd name="connsiteX3" fmla="*/ 4829 w 24670"/>
                <a:gd name="connsiteY3" fmla="*/ 16622 h 16809"/>
                <a:gd name="connsiteX4" fmla="*/ 5655 w 24670"/>
                <a:gd name="connsiteY4" fmla="*/ 4721 h 16809"/>
                <a:gd name="connsiteX5" fmla="*/ 11302 w 24670"/>
                <a:gd name="connsiteY5" fmla="*/ 16154 h 16809"/>
                <a:gd name="connsiteX6" fmla="*/ 24009 w 24670"/>
                <a:gd name="connsiteY6" fmla="*/ 16622 h 16809"/>
                <a:gd name="connsiteX7" fmla="*/ 24670 w 24670"/>
                <a:gd name="connsiteY7" fmla="*/ 12686 h 16809"/>
                <a:gd name="connsiteX8" fmla="*/ 14602 w 24670"/>
                <a:gd name="connsiteY8" fmla="*/ 12558 h 16809"/>
                <a:gd name="connsiteX9" fmla="*/ 6916 w 24670"/>
                <a:gd name="connsiteY9" fmla="*/ 3623 h 16809"/>
                <a:gd name="connsiteX10" fmla="*/ 0 w 24670"/>
                <a:gd name="connsiteY10" fmla="*/ 0 h 16809"/>
                <a:gd name="connsiteX11" fmla="*/ 0 w 24670"/>
                <a:gd name="connsiteY11" fmla="*/ 0 h 1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670" h="16809">
                  <a:moveTo>
                    <a:pt x="0" y="0"/>
                  </a:moveTo>
                  <a:lnTo>
                    <a:pt x="1735" y="6672"/>
                  </a:lnTo>
                  <a:lnTo>
                    <a:pt x="3071" y="16622"/>
                  </a:lnTo>
                  <a:lnTo>
                    <a:pt x="4829" y="16622"/>
                  </a:lnTo>
                  <a:cubicBezTo>
                    <a:pt x="4829" y="16622"/>
                    <a:pt x="3831" y="2694"/>
                    <a:pt x="5655" y="4721"/>
                  </a:cubicBezTo>
                  <a:cubicBezTo>
                    <a:pt x="8412" y="7785"/>
                    <a:pt x="8869" y="14856"/>
                    <a:pt x="11302" y="16154"/>
                  </a:cubicBezTo>
                  <a:cubicBezTo>
                    <a:pt x="13397" y="17271"/>
                    <a:pt x="24009" y="16622"/>
                    <a:pt x="24009" y="16622"/>
                  </a:cubicBezTo>
                  <a:lnTo>
                    <a:pt x="24670" y="12686"/>
                  </a:lnTo>
                  <a:cubicBezTo>
                    <a:pt x="24670" y="12686"/>
                    <a:pt x="19192" y="14742"/>
                    <a:pt x="14602" y="12558"/>
                  </a:cubicBezTo>
                  <a:cubicBezTo>
                    <a:pt x="10009" y="10375"/>
                    <a:pt x="10909" y="7141"/>
                    <a:pt x="6916" y="3623"/>
                  </a:cubicBezTo>
                  <a:cubicBezTo>
                    <a:pt x="2922" y="106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3" name="Freeform: Shape 3122">
              <a:extLst>
                <a:ext uri="{FF2B5EF4-FFF2-40B4-BE49-F238E27FC236}">
                  <a16:creationId xmlns:a16="http://schemas.microsoft.com/office/drawing/2014/main" id="{010DB216-537C-F696-8731-101DD8D11575}"/>
                </a:ext>
              </a:extLst>
            </p:cNvPr>
            <p:cNvSpPr/>
            <p:nvPr/>
          </p:nvSpPr>
          <p:spPr>
            <a:xfrm>
              <a:off x="8852065" y="3816139"/>
              <a:ext cx="17516" cy="32584"/>
            </a:xfrm>
            <a:custGeom>
              <a:avLst/>
              <a:gdLst>
                <a:gd name="connsiteX0" fmla="*/ 5458 w 17516"/>
                <a:gd name="connsiteY0" fmla="*/ 0 h 32584"/>
                <a:gd name="connsiteX1" fmla="*/ 3909 w 17516"/>
                <a:gd name="connsiteY1" fmla="*/ 9066 h 32584"/>
                <a:gd name="connsiteX2" fmla="*/ 0 w 17516"/>
                <a:gd name="connsiteY2" fmla="*/ 12171 h 32584"/>
                <a:gd name="connsiteX3" fmla="*/ 14742 w 17516"/>
                <a:gd name="connsiteY3" fmla="*/ 32584 h 32584"/>
                <a:gd name="connsiteX4" fmla="*/ 15742 w 17516"/>
                <a:gd name="connsiteY4" fmla="*/ 28142 h 32584"/>
                <a:gd name="connsiteX5" fmla="*/ 14724 w 17516"/>
                <a:gd name="connsiteY5" fmla="*/ 15516 h 32584"/>
                <a:gd name="connsiteX6" fmla="*/ 17516 w 17516"/>
                <a:gd name="connsiteY6" fmla="*/ 4261 h 32584"/>
                <a:gd name="connsiteX7" fmla="*/ 5458 w 17516"/>
                <a:gd name="connsiteY7" fmla="*/ 0 h 32584"/>
                <a:gd name="connsiteX8" fmla="*/ 5458 w 17516"/>
                <a:gd name="connsiteY8" fmla="*/ 0 h 32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516" h="32584">
                  <a:moveTo>
                    <a:pt x="5458" y="0"/>
                  </a:moveTo>
                  <a:lnTo>
                    <a:pt x="3909" y="9066"/>
                  </a:lnTo>
                  <a:lnTo>
                    <a:pt x="0" y="12171"/>
                  </a:lnTo>
                  <a:lnTo>
                    <a:pt x="14742" y="32584"/>
                  </a:lnTo>
                  <a:lnTo>
                    <a:pt x="15742" y="28142"/>
                  </a:lnTo>
                  <a:lnTo>
                    <a:pt x="14724" y="15516"/>
                  </a:lnTo>
                  <a:lnTo>
                    <a:pt x="17516" y="4261"/>
                  </a:lnTo>
                  <a:lnTo>
                    <a:pt x="5458" y="0"/>
                  </a:lnTo>
                  <a:lnTo>
                    <a:pt x="5458" y="0"/>
                  </a:lnTo>
                  <a:close/>
                </a:path>
              </a:pathLst>
            </a:custGeom>
            <a:solidFill>
              <a:srgbClr val="EDD4B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4" name="Freeform: Shape 3123">
              <a:extLst>
                <a:ext uri="{FF2B5EF4-FFF2-40B4-BE49-F238E27FC236}">
                  <a16:creationId xmlns:a16="http://schemas.microsoft.com/office/drawing/2014/main" id="{D9F0EABE-3A2F-E834-CA4A-D774582939E0}"/>
                </a:ext>
              </a:extLst>
            </p:cNvPr>
            <p:cNvSpPr/>
            <p:nvPr/>
          </p:nvSpPr>
          <p:spPr>
            <a:xfrm>
              <a:off x="8848245" y="3828228"/>
              <a:ext cx="24955" cy="21186"/>
            </a:xfrm>
            <a:custGeom>
              <a:avLst/>
              <a:gdLst>
                <a:gd name="connsiteX0" fmla="*/ 48 w 24955"/>
                <a:gd name="connsiteY0" fmla="*/ 6574 h 21186"/>
                <a:gd name="connsiteX1" fmla="*/ 683 w 24955"/>
                <a:gd name="connsiteY1" fmla="*/ 1175 h 21186"/>
                <a:gd name="connsiteX2" fmla="*/ 3820 w 24955"/>
                <a:gd name="connsiteY2" fmla="*/ 83 h 21186"/>
                <a:gd name="connsiteX3" fmla="*/ 13691 w 24955"/>
                <a:gd name="connsiteY3" fmla="*/ 13276 h 21186"/>
                <a:gd name="connsiteX4" fmla="*/ 19561 w 24955"/>
                <a:gd name="connsiteY4" fmla="*/ 16054 h 21186"/>
                <a:gd name="connsiteX5" fmla="*/ 24244 w 24955"/>
                <a:gd name="connsiteY5" fmla="*/ 16976 h 21186"/>
                <a:gd name="connsiteX6" fmla="*/ 24686 w 24955"/>
                <a:gd name="connsiteY6" fmla="*/ 19646 h 21186"/>
                <a:gd name="connsiteX7" fmla="*/ 21051 w 24955"/>
                <a:gd name="connsiteY7" fmla="*/ 21186 h 21186"/>
                <a:gd name="connsiteX8" fmla="*/ 12510 w 24955"/>
                <a:gd name="connsiteY8" fmla="*/ 21002 h 21186"/>
                <a:gd name="connsiteX9" fmla="*/ 6831 w 24955"/>
                <a:gd name="connsiteY9" fmla="*/ 11724 h 21186"/>
                <a:gd name="connsiteX10" fmla="*/ 48 w 24955"/>
                <a:gd name="connsiteY10" fmla="*/ 6574 h 21186"/>
                <a:gd name="connsiteX11" fmla="*/ 48 w 24955"/>
                <a:gd name="connsiteY11" fmla="*/ 6574 h 2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955" h="21186">
                  <a:moveTo>
                    <a:pt x="48" y="6574"/>
                  </a:moveTo>
                  <a:cubicBezTo>
                    <a:pt x="48" y="6574"/>
                    <a:pt x="-260" y="2799"/>
                    <a:pt x="683" y="1175"/>
                  </a:cubicBezTo>
                  <a:cubicBezTo>
                    <a:pt x="1626" y="-448"/>
                    <a:pt x="3820" y="83"/>
                    <a:pt x="3820" y="83"/>
                  </a:cubicBezTo>
                  <a:cubicBezTo>
                    <a:pt x="3820" y="83"/>
                    <a:pt x="9755" y="9282"/>
                    <a:pt x="13691" y="13276"/>
                  </a:cubicBezTo>
                  <a:cubicBezTo>
                    <a:pt x="17626" y="17268"/>
                    <a:pt x="19561" y="16054"/>
                    <a:pt x="19561" y="16054"/>
                  </a:cubicBezTo>
                  <a:cubicBezTo>
                    <a:pt x="19561" y="16054"/>
                    <a:pt x="22962" y="16078"/>
                    <a:pt x="24244" y="16976"/>
                  </a:cubicBezTo>
                  <a:cubicBezTo>
                    <a:pt x="25523" y="17874"/>
                    <a:pt x="24686" y="19646"/>
                    <a:pt x="24686" y="19646"/>
                  </a:cubicBezTo>
                  <a:lnTo>
                    <a:pt x="21051" y="21186"/>
                  </a:lnTo>
                  <a:lnTo>
                    <a:pt x="12510" y="21002"/>
                  </a:lnTo>
                  <a:lnTo>
                    <a:pt x="6831" y="11724"/>
                  </a:lnTo>
                  <a:lnTo>
                    <a:pt x="48" y="6574"/>
                  </a:lnTo>
                  <a:lnTo>
                    <a:pt x="48" y="6574"/>
                  </a:lnTo>
                  <a:close/>
                </a:path>
              </a:pathLst>
            </a:custGeom>
            <a:solidFill>
              <a:srgbClr val="30303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5" name="Freeform: Shape 3124">
              <a:extLst>
                <a:ext uri="{FF2B5EF4-FFF2-40B4-BE49-F238E27FC236}">
                  <a16:creationId xmlns:a16="http://schemas.microsoft.com/office/drawing/2014/main" id="{B7628D10-DCAA-D2C4-8F8E-142DCCC4CCAD}"/>
                </a:ext>
              </a:extLst>
            </p:cNvPr>
            <p:cNvSpPr/>
            <p:nvPr/>
          </p:nvSpPr>
          <p:spPr>
            <a:xfrm>
              <a:off x="8848261" y="3835188"/>
              <a:ext cx="24670" cy="16809"/>
            </a:xfrm>
            <a:custGeom>
              <a:avLst/>
              <a:gdLst>
                <a:gd name="connsiteX0" fmla="*/ 0 w 24670"/>
                <a:gd name="connsiteY0" fmla="*/ 0 h 16809"/>
                <a:gd name="connsiteX1" fmla="*/ 1735 w 24670"/>
                <a:gd name="connsiteY1" fmla="*/ 6672 h 16809"/>
                <a:gd name="connsiteX2" fmla="*/ 3071 w 24670"/>
                <a:gd name="connsiteY2" fmla="*/ 16622 h 16809"/>
                <a:gd name="connsiteX3" fmla="*/ 4829 w 24670"/>
                <a:gd name="connsiteY3" fmla="*/ 16622 h 16809"/>
                <a:gd name="connsiteX4" fmla="*/ 5655 w 24670"/>
                <a:gd name="connsiteY4" fmla="*/ 4721 h 16809"/>
                <a:gd name="connsiteX5" fmla="*/ 11302 w 24670"/>
                <a:gd name="connsiteY5" fmla="*/ 16154 h 16809"/>
                <a:gd name="connsiteX6" fmla="*/ 24009 w 24670"/>
                <a:gd name="connsiteY6" fmla="*/ 16622 h 16809"/>
                <a:gd name="connsiteX7" fmla="*/ 24670 w 24670"/>
                <a:gd name="connsiteY7" fmla="*/ 12686 h 16809"/>
                <a:gd name="connsiteX8" fmla="*/ 14602 w 24670"/>
                <a:gd name="connsiteY8" fmla="*/ 12558 h 16809"/>
                <a:gd name="connsiteX9" fmla="*/ 6916 w 24670"/>
                <a:gd name="connsiteY9" fmla="*/ 3623 h 16809"/>
                <a:gd name="connsiteX10" fmla="*/ 0 w 24670"/>
                <a:gd name="connsiteY10" fmla="*/ 0 h 16809"/>
                <a:gd name="connsiteX11" fmla="*/ 0 w 24670"/>
                <a:gd name="connsiteY11" fmla="*/ 0 h 1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670" h="16809">
                  <a:moveTo>
                    <a:pt x="0" y="0"/>
                  </a:moveTo>
                  <a:lnTo>
                    <a:pt x="1735" y="6672"/>
                  </a:lnTo>
                  <a:lnTo>
                    <a:pt x="3071" y="16622"/>
                  </a:lnTo>
                  <a:lnTo>
                    <a:pt x="4829" y="16622"/>
                  </a:lnTo>
                  <a:cubicBezTo>
                    <a:pt x="4829" y="16622"/>
                    <a:pt x="3831" y="2694"/>
                    <a:pt x="5655" y="4721"/>
                  </a:cubicBezTo>
                  <a:cubicBezTo>
                    <a:pt x="8412" y="7785"/>
                    <a:pt x="8869" y="14856"/>
                    <a:pt x="11302" y="16154"/>
                  </a:cubicBezTo>
                  <a:cubicBezTo>
                    <a:pt x="13397" y="17271"/>
                    <a:pt x="24009" y="16622"/>
                    <a:pt x="24009" y="16622"/>
                  </a:cubicBezTo>
                  <a:lnTo>
                    <a:pt x="24670" y="12686"/>
                  </a:lnTo>
                  <a:cubicBezTo>
                    <a:pt x="24670" y="12686"/>
                    <a:pt x="19192" y="14742"/>
                    <a:pt x="14602" y="12558"/>
                  </a:cubicBezTo>
                  <a:cubicBezTo>
                    <a:pt x="10009" y="10375"/>
                    <a:pt x="10909" y="7141"/>
                    <a:pt x="6916" y="3623"/>
                  </a:cubicBezTo>
                  <a:cubicBezTo>
                    <a:pt x="2922" y="106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6" name="Freeform: Shape 3125">
              <a:extLst>
                <a:ext uri="{FF2B5EF4-FFF2-40B4-BE49-F238E27FC236}">
                  <a16:creationId xmlns:a16="http://schemas.microsoft.com/office/drawing/2014/main" id="{DE69275F-02DF-EE3C-EB84-7752855CF0B8}"/>
                </a:ext>
              </a:extLst>
            </p:cNvPr>
            <p:cNvSpPr/>
            <p:nvPr/>
          </p:nvSpPr>
          <p:spPr>
            <a:xfrm>
              <a:off x="8856442" y="3678150"/>
              <a:ext cx="65648" cy="146354"/>
            </a:xfrm>
            <a:custGeom>
              <a:avLst/>
              <a:gdLst>
                <a:gd name="connsiteX0" fmla="*/ 60221 w 65648"/>
                <a:gd name="connsiteY0" fmla="*/ 0 h 146354"/>
                <a:gd name="connsiteX1" fmla="*/ 65635 w 65648"/>
                <a:gd name="connsiteY1" fmla="*/ 36488 h 146354"/>
                <a:gd name="connsiteX2" fmla="*/ 53644 w 65648"/>
                <a:gd name="connsiteY2" fmla="*/ 145288 h 146354"/>
                <a:gd name="connsiteX3" fmla="*/ 42059 w 65648"/>
                <a:gd name="connsiteY3" fmla="*/ 144607 h 146354"/>
                <a:gd name="connsiteX4" fmla="*/ 37594 w 65648"/>
                <a:gd name="connsiteY4" fmla="*/ 79745 h 146354"/>
                <a:gd name="connsiteX5" fmla="*/ 29906 w 65648"/>
                <a:gd name="connsiteY5" fmla="*/ 42576 h 146354"/>
                <a:gd name="connsiteX6" fmla="*/ 35782 w 65648"/>
                <a:gd name="connsiteY6" fmla="*/ 79915 h 146354"/>
                <a:gd name="connsiteX7" fmla="*/ 12121 w 65648"/>
                <a:gd name="connsiteY7" fmla="*/ 146355 h 146354"/>
                <a:gd name="connsiteX8" fmla="*/ 0 w 65648"/>
                <a:gd name="connsiteY8" fmla="*/ 144311 h 146354"/>
                <a:gd name="connsiteX9" fmla="*/ 9635 w 65648"/>
                <a:gd name="connsiteY9" fmla="*/ 82276 h 146354"/>
                <a:gd name="connsiteX10" fmla="*/ 6225 w 65648"/>
                <a:gd name="connsiteY10" fmla="*/ 34690 h 146354"/>
                <a:gd name="connsiteX11" fmla="*/ 18384 w 65648"/>
                <a:gd name="connsiteY11" fmla="*/ 1425 h 146354"/>
                <a:gd name="connsiteX12" fmla="*/ 40113 w 65648"/>
                <a:gd name="connsiteY12" fmla="*/ 685 h 146354"/>
                <a:gd name="connsiteX13" fmla="*/ 60221 w 65648"/>
                <a:gd name="connsiteY13" fmla="*/ 0 h 146354"/>
                <a:gd name="connsiteX14" fmla="*/ 60221 w 65648"/>
                <a:gd name="connsiteY14" fmla="*/ 0 h 146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5648" h="146354">
                  <a:moveTo>
                    <a:pt x="60221" y="0"/>
                  </a:moveTo>
                  <a:cubicBezTo>
                    <a:pt x="60221" y="0"/>
                    <a:pt x="64387" y="-211"/>
                    <a:pt x="65635" y="36488"/>
                  </a:cubicBezTo>
                  <a:cubicBezTo>
                    <a:pt x="66120" y="50803"/>
                    <a:pt x="53644" y="145288"/>
                    <a:pt x="53644" y="145288"/>
                  </a:cubicBezTo>
                  <a:lnTo>
                    <a:pt x="42059" y="144607"/>
                  </a:lnTo>
                  <a:lnTo>
                    <a:pt x="37594" y="79745"/>
                  </a:lnTo>
                  <a:lnTo>
                    <a:pt x="29906" y="42576"/>
                  </a:lnTo>
                  <a:cubicBezTo>
                    <a:pt x="29906" y="42576"/>
                    <a:pt x="36196" y="76888"/>
                    <a:pt x="35782" y="79915"/>
                  </a:cubicBezTo>
                  <a:cubicBezTo>
                    <a:pt x="35291" y="83513"/>
                    <a:pt x="12121" y="146355"/>
                    <a:pt x="12121" y="146355"/>
                  </a:cubicBezTo>
                  <a:lnTo>
                    <a:pt x="0" y="144311"/>
                  </a:lnTo>
                  <a:lnTo>
                    <a:pt x="9635" y="82276"/>
                  </a:lnTo>
                  <a:cubicBezTo>
                    <a:pt x="9635" y="82276"/>
                    <a:pt x="4162" y="47552"/>
                    <a:pt x="6225" y="34690"/>
                  </a:cubicBezTo>
                  <a:cubicBezTo>
                    <a:pt x="11958" y="-1043"/>
                    <a:pt x="18384" y="1425"/>
                    <a:pt x="18384" y="1425"/>
                  </a:cubicBezTo>
                  <a:lnTo>
                    <a:pt x="40113" y="685"/>
                  </a:lnTo>
                  <a:lnTo>
                    <a:pt x="60221" y="0"/>
                  </a:lnTo>
                  <a:lnTo>
                    <a:pt x="60221" y="0"/>
                  </a:lnTo>
                  <a:close/>
                </a:path>
              </a:pathLst>
            </a:custGeom>
            <a:solidFill>
              <a:srgbClr val="493D3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7" name="Freeform: Shape 3126">
              <a:extLst>
                <a:ext uri="{FF2B5EF4-FFF2-40B4-BE49-F238E27FC236}">
                  <a16:creationId xmlns:a16="http://schemas.microsoft.com/office/drawing/2014/main" id="{6E2D7E36-BAB8-5A80-E5F9-9CA3BE1A58EB}"/>
                </a:ext>
              </a:extLst>
            </p:cNvPr>
            <p:cNvSpPr/>
            <p:nvPr/>
          </p:nvSpPr>
          <p:spPr>
            <a:xfrm>
              <a:off x="8953073" y="3571591"/>
              <a:ext cx="14591" cy="15817"/>
            </a:xfrm>
            <a:custGeom>
              <a:avLst/>
              <a:gdLst>
                <a:gd name="connsiteX0" fmla="*/ 14591 w 14591"/>
                <a:gd name="connsiteY0" fmla="*/ 0 h 15817"/>
                <a:gd name="connsiteX1" fmla="*/ 13698 w 14591"/>
                <a:gd name="connsiteY1" fmla="*/ 2766 h 15817"/>
                <a:gd name="connsiteX2" fmla="*/ 1576 w 14591"/>
                <a:gd name="connsiteY2" fmla="*/ 15817 h 15817"/>
                <a:gd name="connsiteX3" fmla="*/ 0 w 14591"/>
                <a:gd name="connsiteY3" fmla="*/ 14405 h 15817"/>
                <a:gd name="connsiteX4" fmla="*/ 11945 w 14591"/>
                <a:gd name="connsiteY4" fmla="*/ 1147 h 15817"/>
                <a:gd name="connsiteX5" fmla="*/ 14591 w 14591"/>
                <a:gd name="connsiteY5" fmla="*/ 0 h 15817"/>
                <a:gd name="connsiteX6" fmla="*/ 14591 w 14591"/>
                <a:gd name="connsiteY6" fmla="*/ 0 h 1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91" h="15817">
                  <a:moveTo>
                    <a:pt x="14591" y="0"/>
                  </a:moveTo>
                  <a:lnTo>
                    <a:pt x="13698" y="2766"/>
                  </a:lnTo>
                  <a:lnTo>
                    <a:pt x="1576" y="15817"/>
                  </a:lnTo>
                  <a:lnTo>
                    <a:pt x="0" y="14405"/>
                  </a:lnTo>
                  <a:lnTo>
                    <a:pt x="11945" y="1147"/>
                  </a:lnTo>
                  <a:lnTo>
                    <a:pt x="14591" y="0"/>
                  </a:lnTo>
                  <a:lnTo>
                    <a:pt x="14591" y="0"/>
                  </a:lnTo>
                  <a:close/>
                </a:path>
              </a:pathLst>
            </a:custGeom>
            <a:solidFill>
              <a:srgbClr val="30303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8" name="Freeform: Shape 3127">
              <a:extLst>
                <a:ext uri="{FF2B5EF4-FFF2-40B4-BE49-F238E27FC236}">
                  <a16:creationId xmlns:a16="http://schemas.microsoft.com/office/drawing/2014/main" id="{075C917C-1F68-00A5-4DE8-0D09639B6469}"/>
                </a:ext>
              </a:extLst>
            </p:cNvPr>
            <p:cNvSpPr/>
            <p:nvPr/>
          </p:nvSpPr>
          <p:spPr>
            <a:xfrm>
              <a:off x="8955493" y="3577816"/>
              <a:ext cx="12171" cy="41520"/>
            </a:xfrm>
            <a:custGeom>
              <a:avLst/>
              <a:gdLst>
                <a:gd name="connsiteX0" fmla="*/ 11626 w 12171"/>
                <a:gd name="connsiteY0" fmla="*/ 41521 h 41520"/>
                <a:gd name="connsiteX1" fmla="*/ 11040 w 12171"/>
                <a:gd name="connsiteY1" fmla="*/ 17971 h 41520"/>
                <a:gd name="connsiteX2" fmla="*/ 12171 w 12171"/>
                <a:gd name="connsiteY2" fmla="*/ 6104 h 41520"/>
                <a:gd name="connsiteX3" fmla="*/ 11273 w 12171"/>
                <a:gd name="connsiteY3" fmla="*/ 5224 h 41520"/>
                <a:gd name="connsiteX4" fmla="*/ 10061 w 12171"/>
                <a:gd name="connsiteY4" fmla="*/ 5395 h 41520"/>
                <a:gd name="connsiteX5" fmla="*/ 10199 w 12171"/>
                <a:gd name="connsiteY5" fmla="*/ 3541 h 41520"/>
                <a:gd name="connsiteX6" fmla="*/ 9024 w 12171"/>
                <a:gd name="connsiteY6" fmla="*/ 3147 h 41520"/>
                <a:gd name="connsiteX7" fmla="*/ 7857 w 12171"/>
                <a:gd name="connsiteY7" fmla="*/ 3396 h 41520"/>
                <a:gd name="connsiteX8" fmla="*/ 7744 w 12171"/>
                <a:gd name="connsiteY8" fmla="*/ 1711 h 41520"/>
                <a:gd name="connsiteX9" fmla="*/ 5103 w 12171"/>
                <a:gd name="connsiteY9" fmla="*/ 944 h 41520"/>
                <a:gd name="connsiteX10" fmla="*/ 3782 w 12171"/>
                <a:gd name="connsiteY10" fmla="*/ 2286 h 41520"/>
                <a:gd name="connsiteX11" fmla="*/ 3874 w 12171"/>
                <a:gd name="connsiteY11" fmla="*/ 5271 h 41520"/>
                <a:gd name="connsiteX12" fmla="*/ 2596 w 12171"/>
                <a:gd name="connsiteY12" fmla="*/ 5172 h 41520"/>
                <a:gd name="connsiteX13" fmla="*/ 2721 w 12171"/>
                <a:gd name="connsiteY13" fmla="*/ 2408 h 41520"/>
                <a:gd name="connsiteX14" fmla="*/ 4148 w 12171"/>
                <a:gd name="connsiteY14" fmla="*/ 643 h 41520"/>
                <a:gd name="connsiteX15" fmla="*/ 3295 w 12171"/>
                <a:gd name="connsiteY15" fmla="*/ 10 h 41520"/>
                <a:gd name="connsiteX16" fmla="*/ 1818 w 12171"/>
                <a:gd name="connsiteY16" fmla="*/ 334 h 41520"/>
                <a:gd name="connsiteX17" fmla="*/ 0 w 12171"/>
                <a:gd name="connsiteY17" fmla="*/ 3054 h 41520"/>
                <a:gd name="connsiteX18" fmla="*/ 30 w 12171"/>
                <a:gd name="connsiteY18" fmla="*/ 8297 h 41520"/>
                <a:gd name="connsiteX19" fmla="*/ 945 w 12171"/>
                <a:gd name="connsiteY19" fmla="*/ 15728 h 41520"/>
                <a:gd name="connsiteX20" fmla="*/ 2875 w 12171"/>
                <a:gd name="connsiteY20" fmla="*/ 18281 h 41520"/>
                <a:gd name="connsiteX21" fmla="*/ 1538 w 12171"/>
                <a:gd name="connsiteY21" fmla="*/ 39997 h 41520"/>
                <a:gd name="connsiteX22" fmla="*/ 11626 w 12171"/>
                <a:gd name="connsiteY22" fmla="*/ 41521 h 41520"/>
                <a:gd name="connsiteX23" fmla="*/ 11626 w 12171"/>
                <a:gd name="connsiteY23" fmla="*/ 41521 h 4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171" h="41520">
                  <a:moveTo>
                    <a:pt x="11626" y="41521"/>
                  </a:moveTo>
                  <a:lnTo>
                    <a:pt x="11040" y="17971"/>
                  </a:lnTo>
                  <a:lnTo>
                    <a:pt x="12171" y="6104"/>
                  </a:lnTo>
                  <a:cubicBezTo>
                    <a:pt x="12171" y="6104"/>
                    <a:pt x="11800" y="5402"/>
                    <a:pt x="11273" y="5224"/>
                  </a:cubicBezTo>
                  <a:cubicBezTo>
                    <a:pt x="10746" y="5045"/>
                    <a:pt x="10061" y="5395"/>
                    <a:pt x="10061" y="5395"/>
                  </a:cubicBezTo>
                  <a:lnTo>
                    <a:pt x="10199" y="3541"/>
                  </a:lnTo>
                  <a:cubicBezTo>
                    <a:pt x="10199" y="3541"/>
                    <a:pt x="9608" y="3184"/>
                    <a:pt x="9024" y="3147"/>
                  </a:cubicBezTo>
                  <a:cubicBezTo>
                    <a:pt x="8437" y="3111"/>
                    <a:pt x="7857" y="3396"/>
                    <a:pt x="7857" y="3396"/>
                  </a:cubicBezTo>
                  <a:lnTo>
                    <a:pt x="7744" y="1711"/>
                  </a:lnTo>
                  <a:lnTo>
                    <a:pt x="5103" y="944"/>
                  </a:lnTo>
                  <a:lnTo>
                    <a:pt x="3782" y="2286"/>
                  </a:lnTo>
                  <a:lnTo>
                    <a:pt x="3874" y="5271"/>
                  </a:lnTo>
                  <a:lnTo>
                    <a:pt x="2596" y="5172"/>
                  </a:lnTo>
                  <a:lnTo>
                    <a:pt x="2721" y="2408"/>
                  </a:lnTo>
                  <a:lnTo>
                    <a:pt x="4148" y="643"/>
                  </a:lnTo>
                  <a:cubicBezTo>
                    <a:pt x="4148" y="643"/>
                    <a:pt x="3877" y="87"/>
                    <a:pt x="3295" y="10"/>
                  </a:cubicBezTo>
                  <a:cubicBezTo>
                    <a:pt x="2712" y="-67"/>
                    <a:pt x="1818" y="334"/>
                    <a:pt x="1818" y="334"/>
                  </a:cubicBezTo>
                  <a:lnTo>
                    <a:pt x="0" y="3054"/>
                  </a:lnTo>
                  <a:lnTo>
                    <a:pt x="30" y="8297"/>
                  </a:lnTo>
                  <a:lnTo>
                    <a:pt x="945" y="15728"/>
                  </a:lnTo>
                  <a:lnTo>
                    <a:pt x="2875" y="18281"/>
                  </a:lnTo>
                  <a:lnTo>
                    <a:pt x="1538" y="39997"/>
                  </a:lnTo>
                  <a:lnTo>
                    <a:pt x="11626" y="41521"/>
                  </a:lnTo>
                  <a:lnTo>
                    <a:pt x="11626" y="41521"/>
                  </a:lnTo>
                  <a:close/>
                </a:path>
              </a:pathLst>
            </a:custGeom>
            <a:solidFill>
              <a:srgbClr val="FFE1C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9" name="Freeform: Shape 3128">
              <a:extLst>
                <a:ext uri="{FF2B5EF4-FFF2-40B4-BE49-F238E27FC236}">
                  <a16:creationId xmlns:a16="http://schemas.microsoft.com/office/drawing/2014/main" id="{BA18C619-8245-B5BA-31F9-7B42B03ED7AC}"/>
                </a:ext>
              </a:extLst>
            </p:cNvPr>
            <p:cNvSpPr/>
            <p:nvPr/>
          </p:nvSpPr>
          <p:spPr>
            <a:xfrm>
              <a:off x="8964292" y="3581970"/>
              <a:ext cx="2473" cy="3016"/>
            </a:xfrm>
            <a:custGeom>
              <a:avLst/>
              <a:gdLst>
                <a:gd name="connsiteX0" fmla="*/ 1335 w 2473"/>
                <a:gd name="connsiteY0" fmla="*/ 247 h 3016"/>
                <a:gd name="connsiteX1" fmla="*/ 1262 w 2473"/>
                <a:gd name="connsiteY1" fmla="*/ 1240 h 3016"/>
                <a:gd name="connsiteX2" fmla="*/ 2474 w 2473"/>
                <a:gd name="connsiteY2" fmla="*/ 1070 h 3016"/>
                <a:gd name="connsiteX3" fmla="*/ 792 w 2473"/>
                <a:gd name="connsiteY3" fmla="*/ 1816 h 3016"/>
                <a:gd name="connsiteX4" fmla="*/ 0 w 2473"/>
                <a:gd name="connsiteY4" fmla="*/ 3017 h 3016"/>
                <a:gd name="connsiteX5" fmla="*/ 190 w 2473"/>
                <a:gd name="connsiteY5" fmla="*/ 1323 h 3016"/>
                <a:gd name="connsiteX6" fmla="*/ 1353 w 2473"/>
                <a:gd name="connsiteY6" fmla="*/ 0 h 3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3" h="3016">
                  <a:moveTo>
                    <a:pt x="1335" y="247"/>
                  </a:moveTo>
                  <a:lnTo>
                    <a:pt x="1262" y="1240"/>
                  </a:lnTo>
                  <a:lnTo>
                    <a:pt x="2474" y="1070"/>
                  </a:lnTo>
                  <a:lnTo>
                    <a:pt x="792" y="1816"/>
                  </a:lnTo>
                  <a:lnTo>
                    <a:pt x="0" y="3017"/>
                  </a:lnTo>
                  <a:lnTo>
                    <a:pt x="190" y="1323"/>
                  </a:lnTo>
                  <a:lnTo>
                    <a:pt x="1353" y="0"/>
                  </a:lnTo>
                </a:path>
              </a:pathLst>
            </a:custGeom>
            <a:solidFill>
              <a:srgbClr val="C2A88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0" name="Freeform: Shape 3129">
              <a:extLst>
                <a:ext uri="{FF2B5EF4-FFF2-40B4-BE49-F238E27FC236}">
                  <a16:creationId xmlns:a16="http://schemas.microsoft.com/office/drawing/2014/main" id="{05E09FCD-9FD6-45A8-A916-C70DAFAFAB28}"/>
                </a:ext>
              </a:extLst>
            </p:cNvPr>
            <p:cNvSpPr/>
            <p:nvPr/>
          </p:nvSpPr>
          <p:spPr>
            <a:xfrm>
              <a:off x="8961837" y="3580482"/>
              <a:ext cx="2319" cy="2480"/>
            </a:xfrm>
            <a:custGeom>
              <a:avLst/>
              <a:gdLst>
                <a:gd name="connsiteX0" fmla="*/ 1464 w 2319"/>
                <a:gd name="connsiteY0" fmla="*/ 0 h 2480"/>
                <a:gd name="connsiteX1" fmla="*/ 1513 w 2319"/>
                <a:gd name="connsiteY1" fmla="*/ 730 h 2480"/>
                <a:gd name="connsiteX2" fmla="*/ 2320 w 2319"/>
                <a:gd name="connsiteY2" fmla="*/ 495 h 2480"/>
                <a:gd name="connsiteX3" fmla="*/ 821 w 2319"/>
                <a:gd name="connsiteY3" fmla="*/ 1511 h 2480"/>
                <a:gd name="connsiteX4" fmla="*/ 627 w 2319"/>
                <a:gd name="connsiteY4" fmla="*/ 2481 h 2480"/>
                <a:gd name="connsiteX5" fmla="*/ 0 w 2319"/>
                <a:gd name="connsiteY5" fmla="*/ 2411 h 2480"/>
                <a:gd name="connsiteX6" fmla="*/ 364 w 2319"/>
                <a:gd name="connsiteY6" fmla="*/ 810 h 2480"/>
                <a:gd name="connsiteX7" fmla="*/ 1464 w 2319"/>
                <a:gd name="connsiteY7" fmla="*/ 0 h 2480"/>
                <a:gd name="connsiteX8" fmla="*/ 1464 w 2319"/>
                <a:gd name="connsiteY8" fmla="*/ 0 h 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19" h="2480">
                  <a:moveTo>
                    <a:pt x="1464" y="0"/>
                  </a:moveTo>
                  <a:lnTo>
                    <a:pt x="1513" y="730"/>
                  </a:lnTo>
                  <a:lnTo>
                    <a:pt x="2320" y="495"/>
                  </a:lnTo>
                  <a:lnTo>
                    <a:pt x="821" y="1511"/>
                  </a:lnTo>
                  <a:lnTo>
                    <a:pt x="627" y="2481"/>
                  </a:lnTo>
                  <a:lnTo>
                    <a:pt x="0" y="2411"/>
                  </a:lnTo>
                  <a:lnTo>
                    <a:pt x="364" y="810"/>
                  </a:lnTo>
                  <a:lnTo>
                    <a:pt x="1464" y="0"/>
                  </a:lnTo>
                  <a:lnTo>
                    <a:pt x="1464" y="0"/>
                  </a:lnTo>
                  <a:close/>
                </a:path>
              </a:pathLst>
            </a:custGeom>
            <a:solidFill>
              <a:srgbClr val="C2A88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1" name="Freeform: Shape 3130">
              <a:extLst>
                <a:ext uri="{FF2B5EF4-FFF2-40B4-BE49-F238E27FC236}">
                  <a16:creationId xmlns:a16="http://schemas.microsoft.com/office/drawing/2014/main" id="{A5F4C61D-67C7-D2CB-9318-FE44D5AC5466}"/>
                </a:ext>
              </a:extLst>
            </p:cNvPr>
            <p:cNvSpPr/>
            <p:nvPr/>
          </p:nvSpPr>
          <p:spPr>
            <a:xfrm>
              <a:off x="8848962" y="3624365"/>
              <a:ext cx="24851" cy="52199"/>
            </a:xfrm>
            <a:custGeom>
              <a:avLst/>
              <a:gdLst>
                <a:gd name="connsiteX0" fmla="*/ 22347 w 24851"/>
                <a:gd name="connsiteY0" fmla="*/ 460 h 52199"/>
                <a:gd name="connsiteX1" fmla="*/ 45 w 24851"/>
                <a:gd name="connsiteY1" fmla="*/ 36958 h 52199"/>
                <a:gd name="connsiteX2" fmla="*/ 13870 w 24851"/>
                <a:gd name="connsiteY2" fmla="*/ 52199 h 52199"/>
                <a:gd name="connsiteX3" fmla="*/ 20816 w 24851"/>
                <a:gd name="connsiteY3" fmla="*/ 46333 h 52199"/>
                <a:gd name="connsiteX4" fmla="*/ 17115 w 24851"/>
                <a:gd name="connsiteY4" fmla="*/ 36719 h 52199"/>
                <a:gd name="connsiteX5" fmla="*/ 24238 w 24851"/>
                <a:gd name="connsiteY5" fmla="*/ 30379 h 52199"/>
                <a:gd name="connsiteX6" fmla="*/ 22347 w 24851"/>
                <a:gd name="connsiteY6" fmla="*/ 460 h 52199"/>
                <a:gd name="connsiteX7" fmla="*/ 22347 w 24851"/>
                <a:gd name="connsiteY7" fmla="*/ 460 h 52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851" h="52199">
                  <a:moveTo>
                    <a:pt x="22347" y="460"/>
                  </a:moveTo>
                  <a:cubicBezTo>
                    <a:pt x="13376" y="10902"/>
                    <a:pt x="-900" y="26909"/>
                    <a:pt x="45" y="36958"/>
                  </a:cubicBezTo>
                  <a:cubicBezTo>
                    <a:pt x="624" y="43136"/>
                    <a:pt x="13870" y="52199"/>
                    <a:pt x="13870" y="52199"/>
                  </a:cubicBezTo>
                  <a:lnTo>
                    <a:pt x="20816" y="46333"/>
                  </a:lnTo>
                  <a:lnTo>
                    <a:pt x="17115" y="36719"/>
                  </a:lnTo>
                  <a:lnTo>
                    <a:pt x="24238" y="30379"/>
                  </a:lnTo>
                  <a:cubicBezTo>
                    <a:pt x="24238" y="30379"/>
                    <a:pt x="26497" y="-4369"/>
                    <a:pt x="22347" y="460"/>
                  </a:cubicBezTo>
                  <a:lnTo>
                    <a:pt x="22347" y="460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2" name="Freeform: Shape 3131">
              <a:extLst>
                <a:ext uri="{FF2B5EF4-FFF2-40B4-BE49-F238E27FC236}">
                  <a16:creationId xmlns:a16="http://schemas.microsoft.com/office/drawing/2014/main" id="{4E117A2E-1D69-6A60-24A9-BB5165450FF6}"/>
                </a:ext>
              </a:extLst>
            </p:cNvPr>
            <p:cNvSpPr/>
            <p:nvPr/>
          </p:nvSpPr>
          <p:spPr>
            <a:xfrm>
              <a:off x="8855557" y="3661084"/>
              <a:ext cx="14221" cy="15480"/>
            </a:xfrm>
            <a:custGeom>
              <a:avLst/>
              <a:gdLst>
                <a:gd name="connsiteX0" fmla="*/ 10520 w 14221"/>
                <a:gd name="connsiteY0" fmla="*/ 0 h 15480"/>
                <a:gd name="connsiteX1" fmla="*/ 5831 w 14221"/>
                <a:gd name="connsiteY1" fmla="*/ 5049 h 15480"/>
                <a:gd name="connsiteX2" fmla="*/ 0 w 14221"/>
                <a:gd name="connsiteY2" fmla="*/ 9649 h 15480"/>
                <a:gd name="connsiteX3" fmla="*/ 7276 w 14221"/>
                <a:gd name="connsiteY3" fmla="*/ 15480 h 15480"/>
                <a:gd name="connsiteX4" fmla="*/ 14222 w 14221"/>
                <a:gd name="connsiteY4" fmla="*/ 9613 h 15480"/>
                <a:gd name="connsiteX5" fmla="*/ 10520 w 14221"/>
                <a:gd name="connsiteY5" fmla="*/ 0 h 15480"/>
                <a:gd name="connsiteX6" fmla="*/ 10520 w 14221"/>
                <a:gd name="connsiteY6" fmla="*/ 0 h 15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21" h="15480">
                  <a:moveTo>
                    <a:pt x="10520" y="0"/>
                  </a:moveTo>
                  <a:cubicBezTo>
                    <a:pt x="10520" y="0"/>
                    <a:pt x="8878" y="3192"/>
                    <a:pt x="5831" y="5049"/>
                  </a:cubicBezTo>
                  <a:cubicBezTo>
                    <a:pt x="2648" y="6989"/>
                    <a:pt x="0" y="9649"/>
                    <a:pt x="0" y="9649"/>
                  </a:cubicBezTo>
                  <a:lnTo>
                    <a:pt x="7276" y="15480"/>
                  </a:lnTo>
                  <a:lnTo>
                    <a:pt x="14222" y="9613"/>
                  </a:lnTo>
                  <a:lnTo>
                    <a:pt x="10520" y="0"/>
                  </a:lnTo>
                  <a:lnTo>
                    <a:pt x="10520" y="0"/>
                  </a:lnTo>
                  <a:close/>
                </a:path>
              </a:pathLst>
            </a:custGeom>
            <a:solidFill>
              <a:srgbClr val="5C030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3" name="Freeform: Shape 3132">
              <a:extLst>
                <a:ext uri="{FF2B5EF4-FFF2-40B4-BE49-F238E27FC236}">
                  <a16:creationId xmlns:a16="http://schemas.microsoft.com/office/drawing/2014/main" id="{E18A0089-137D-321C-DB91-453BCC803660}"/>
                </a:ext>
              </a:extLst>
            </p:cNvPr>
            <p:cNvSpPr/>
            <p:nvPr/>
          </p:nvSpPr>
          <p:spPr>
            <a:xfrm>
              <a:off x="8862833" y="3670697"/>
              <a:ext cx="12126" cy="20162"/>
            </a:xfrm>
            <a:custGeom>
              <a:avLst/>
              <a:gdLst>
                <a:gd name="connsiteX0" fmla="*/ 6946 w 12126"/>
                <a:gd name="connsiteY0" fmla="*/ 0 h 20162"/>
                <a:gd name="connsiteX1" fmla="*/ 12126 w 12126"/>
                <a:gd name="connsiteY1" fmla="*/ 2916 h 20162"/>
                <a:gd name="connsiteX2" fmla="*/ 11994 w 12126"/>
                <a:gd name="connsiteY2" fmla="*/ 8878 h 20162"/>
                <a:gd name="connsiteX3" fmla="*/ 4675 w 12126"/>
                <a:gd name="connsiteY3" fmla="*/ 20162 h 20162"/>
                <a:gd name="connsiteX4" fmla="*/ 3961 w 12126"/>
                <a:gd name="connsiteY4" fmla="*/ 14419 h 20162"/>
                <a:gd name="connsiteX5" fmla="*/ 5257 w 12126"/>
                <a:gd name="connsiteY5" fmla="*/ 10422 h 20162"/>
                <a:gd name="connsiteX6" fmla="*/ 0 w 12126"/>
                <a:gd name="connsiteY6" fmla="*/ 5867 h 20162"/>
                <a:gd name="connsiteX7" fmla="*/ 6946 w 12126"/>
                <a:gd name="connsiteY7" fmla="*/ 0 h 20162"/>
                <a:gd name="connsiteX8" fmla="*/ 6946 w 12126"/>
                <a:gd name="connsiteY8" fmla="*/ 0 h 20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26" h="20162">
                  <a:moveTo>
                    <a:pt x="6946" y="0"/>
                  </a:moveTo>
                  <a:lnTo>
                    <a:pt x="12126" y="2916"/>
                  </a:lnTo>
                  <a:lnTo>
                    <a:pt x="11994" y="8878"/>
                  </a:lnTo>
                  <a:lnTo>
                    <a:pt x="4675" y="20162"/>
                  </a:lnTo>
                  <a:cubicBezTo>
                    <a:pt x="4675" y="20162"/>
                    <a:pt x="3816" y="16855"/>
                    <a:pt x="3961" y="14419"/>
                  </a:cubicBezTo>
                  <a:cubicBezTo>
                    <a:pt x="4108" y="11983"/>
                    <a:pt x="5257" y="10422"/>
                    <a:pt x="5257" y="10422"/>
                  </a:cubicBezTo>
                  <a:lnTo>
                    <a:pt x="0" y="5867"/>
                  </a:lnTo>
                  <a:lnTo>
                    <a:pt x="6946" y="0"/>
                  </a:lnTo>
                  <a:lnTo>
                    <a:pt x="6946" y="0"/>
                  </a:lnTo>
                  <a:close/>
                </a:path>
              </a:pathLst>
            </a:custGeom>
            <a:solidFill>
              <a:srgbClr val="FFE1C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4" name="Freeform: Shape 3133">
              <a:extLst>
                <a:ext uri="{FF2B5EF4-FFF2-40B4-BE49-F238E27FC236}">
                  <a16:creationId xmlns:a16="http://schemas.microsoft.com/office/drawing/2014/main" id="{A7FDB4B7-0682-69DC-7BCA-D106AEA063D2}"/>
                </a:ext>
              </a:extLst>
            </p:cNvPr>
            <p:cNvSpPr/>
            <p:nvPr/>
          </p:nvSpPr>
          <p:spPr>
            <a:xfrm>
              <a:off x="8866077" y="3644835"/>
              <a:ext cx="7123" cy="16249"/>
            </a:xfrm>
            <a:custGeom>
              <a:avLst/>
              <a:gdLst>
                <a:gd name="connsiteX0" fmla="*/ 7123 w 7123"/>
                <a:gd name="connsiteY0" fmla="*/ 9909 h 16249"/>
                <a:gd name="connsiteX1" fmla="*/ 5614 w 7123"/>
                <a:gd name="connsiteY1" fmla="*/ 0 h 16249"/>
                <a:gd name="connsiteX2" fmla="*/ 3680 w 7123"/>
                <a:gd name="connsiteY2" fmla="*/ 8816 h 16249"/>
                <a:gd name="connsiteX3" fmla="*/ 0 w 7123"/>
                <a:gd name="connsiteY3" fmla="*/ 16249 h 16249"/>
                <a:gd name="connsiteX4" fmla="*/ 7123 w 7123"/>
                <a:gd name="connsiteY4" fmla="*/ 9909 h 16249"/>
                <a:gd name="connsiteX5" fmla="*/ 7123 w 7123"/>
                <a:gd name="connsiteY5" fmla="*/ 9909 h 16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23" h="16249">
                  <a:moveTo>
                    <a:pt x="7123" y="9909"/>
                  </a:moveTo>
                  <a:lnTo>
                    <a:pt x="5614" y="0"/>
                  </a:lnTo>
                  <a:lnTo>
                    <a:pt x="3680" y="8816"/>
                  </a:lnTo>
                  <a:lnTo>
                    <a:pt x="0" y="16249"/>
                  </a:lnTo>
                  <a:lnTo>
                    <a:pt x="7123" y="9909"/>
                  </a:lnTo>
                  <a:lnTo>
                    <a:pt x="7123" y="9909"/>
                  </a:lnTo>
                  <a:close/>
                </a:path>
              </a:pathLst>
            </a:custGeom>
            <a:solidFill>
              <a:srgbClr val="9B0A0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5" name="Freeform: Shape 3134">
              <a:extLst>
                <a:ext uri="{FF2B5EF4-FFF2-40B4-BE49-F238E27FC236}">
                  <a16:creationId xmlns:a16="http://schemas.microsoft.com/office/drawing/2014/main" id="{17602F5B-3216-802C-ED66-17E4F8F66C68}"/>
                </a:ext>
              </a:extLst>
            </p:cNvPr>
            <p:cNvSpPr/>
            <p:nvPr/>
          </p:nvSpPr>
          <p:spPr>
            <a:xfrm>
              <a:off x="8869841" y="3617304"/>
              <a:ext cx="58539" cy="66884"/>
            </a:xfrm>
            <a:custGeom>
              <a:avLst/>
              <a:gdLst>
                <a:gd name="connsiteX0" fmla="*/ 33967 w 58539"/>
                <a:gd name="connsiteY0" fmla="*/ 452 h 66884"/>
                <a:gd name="connsiteX1" fmla="*/ 39235 w 58539"/>
                <a:gd name="connsiteY1" fmla="*/ 3931 h 66884"/>
                <a:gd name="connsiteX2" fmla="*/ 49643 w 58539"/>
                <a:gd name="connsiteY2" fmla="*/ 8027 h 66884"/>
                <a:gd name="connsiteX3" fmla="*/ 54199 w 58539"/>
                <a:gd name="connsiteY3" fmla="*/ 16733 h 66884"/>
                <a:gd name="connsiteX4" fmla="*/ 58526 w 58539"/>
                <a:gd name="connsiteY4" fmla="*/ 28485 h 66884"/>
                <a:gd name="connsiteX5" fmla="*/ 52201 w 58539"/>
                <a:gd name="connsiteY5" fmla="*/ 42065 h 66884"/>
                <a:gd name="connsiteX6" fmla="*/ 46823 w 58539"/>
                <a:gd name="connsiteY6" fmla="*/ 60847 h 66884"/>
                <a:gd name="connsiteX7" fmla="*/ 23393 w 58539"/>
                <a:gd name="connsiteY7" fmla="*/ 66866 h 66884"/>
                <a:gd name="connsiteX8" fmla="*/ 4986 w 58539"/>
                <a:gd name="connsiteY8" fmla="*/ 62272 h 66884"/>
                <a:gd name="connsiteX9" fmla="*/ 3763 w 58539"/>
                <a:gd name="connsiteY9" fmla="*/ 40177 h 66884"/>
                <a:gd name="connsiteX10" fmla="*/ 22 w 58539"/>
                <a:gd name="connsiteY10" fmla="*/ 12116 h 66884"/>
                <a:gd name="connsiteX11" fmla="*/ 15667 w 58539"/>
                <a:gd name="connsiteY11" fmla="*/ 2033 h 66884"/>
                <a:gd name="connsiteX12" fmla="*/ 18170 w 58539"/>
                <a:gd name="connsiteY12" fmla="*/ 0 h 66884"/>
                <a:gd name="connsiteX13" fmla="*/ 33967 w 58539"/>
                <a:gd name="connsiteY13" fmla="*/ 452 h 66884"/>
                <a:gd name="connsiteX14" fmla="*/ 33967 w 58539"/>
                <a:gd name="connsiteY14" fmla="*/ 452 h 66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8539" h="66884">
                  <a:moveTo>
                    <a:pt x="33967" y="452"/>
                  </a:moveTo>
                  <a:lnTo>
                    <a:pt x="39235" y="3931"/>
                  </a:lnTo>
                  <a:lnTo>
                    <a:pt x="49643" y="8027"/>
                  </a:lnTo>
                  <a:cubicBezTo>
                    <a:pt x="49643" y="8027"/>
                    <a:pt x="51561" y="10796"/>
                    <a:pt x="54199" y="16733"/>
                  </a:cubicBezTo>
                  <a:cubicBezTo>
                    <a:pt x="55560" y="19798"/>
                    <a:pt x="58767" y="23989"/>
                    <a:pt x="58526" y="28485"/>
                  </a:cubicBezTo>
                  <a:cubicBezTo>
                    <a:pt x="58299" y="32738"/>
                    <a:pt x="53851" y="37417"/>
                    <a:pt x="52201" y="42065"/>
                  </a:cubicBezTo>
                  <a:cubicBezTo>
                    <a:pt x="48725" y="51850"/>
                    <a:pt x="46823" y="60847"/>
                    <a:pt x="46823" y="60847"/>
                  </a:cubicBezTo>
                  <a:cubicBezTo>
                    <a:pt x="46823" y="60847"/>
                    <a:pt x="33852" y="66511"/>
                    <a:pt x="23393" y="66866"/>
                  </a:cubicBezTo>
                  <a:cubicBezTo>
                    <a:pt x="12934" y="67223"/>
                    <a:pt x="4986" y="62272"/>
                    <a:pt x="4986" y="62272"/>
                  </a:cubicBezTo>
                  <a:cubicBezTo>
                    <a:pt x="4986" y="62272"/>
                    <a:pt x="5748" y="53764"/>
                    <a:pt x="3763" y="40177"/>
                  </a:cubicBezTo>
                  <a:cubicBezTo>
                    <a:pt x="1781" y="26592"/>
                    <a:pt x="757" y="21750"/>
                    <a:pt x="22" y="12116"/>
                  </a:cubicBezTo>
                  <a:cubicBezTo>
                    <a:pt x="-686" y="2839"/>
                    <a:pt x="15667" y="2033"/>
                    <a:pt x="15667" y="2033"/>
                  </a:cubicBezTo>
                  <a:lnTo>
                    <a:pt x="18170" y="0"/>
                  </a:lnTo>
                  <a:lnTo>
                    <a:pt x="33967" y="452"/>
                  </a:lnTo>
                  <a:lnTo>
                    <a:pt x="33967" y="452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6" name="Freeform: Shape 3135">
              <a:extLst>
                <a:ext uri="{FF2B5EF4-FFF2-40B4-BE49-F238E27FC236}">
                  <a16:creationId xmlns:a16="http://schemas.microsoft.com/office/drawing/2014/main" id="{BB5D6179-A209-D99B-38D3-32F23EA5548A}"/>
                </a:ext>
              </a:extLst>
            </p:cNvPr>
            <p:cNvSpPr/>
            <p:nvPr/>
          </p:nvSpPr>
          <p:spPr>
            <a:xfrm>
              <a:off x="8915479" y="3617286"/>
              <a:ext cx="52749" cy="28501"/>
            </a:xfrm>
            <a:custGeom>
              <a:avLst/>
              <a:gdLst>
                <a:gd name="connsiteX0" fmla="*/ 0 w 52749"/>
                <a:gd name="connsiteY0" fmla="*/ 6468 h 28501"/>
                <a:gd name="connsiteX1" fmla="*/ 40280 w 52749"/>
                <a:gd name="connsiteY1" fmla="*/ 8327 h 28501"/>
                <a:gd name="connsiteX2" fmla="*/ 41552 w 52749"/>
                <a:gd name="connsiteY2" fmla="*/ 526 h 28501"/>
                <a:gd name="connsiteX3" fmla="*/ 46743 w 52749"/>
                <a:gd name="connsiteY3" fmla="*/ 17 h 28501"/>
                <a:gd name="connsiteX4" fmla="*/ 52630 w 52749"/>
                <a:gd name="connsiteY4" fmla="*/ 2973 h 28501"/>
                <a:gd name="connsiteX5" fmla="*/ 50056 w 52749"/>
                <a:gd name="connsiteY5" fmla="*/ 22780 h 28501"/>
                <a:gd name="connsiteX6" fmla="*/ 12888 w 52749"/>
                <a:gd name="connsiteY6" fmla="*/ 28502 h 28501"/>
                <a:gd name="connsiteX7" fmla="*/ 0 w 52749"/>
                <a:gd name="connsiteY7" fmla="*/ 6468 h 28501"/>
                <a:gd name="connsiteX8" fmla="*/ 0 w 52749"/>
                <a:gd name="connsiteY8" fmla="*/ 6468 h 2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49" h="28501">
                  <a:moveTo>
                    <a:pt x="0" y="6468"/>
                  </a:moveTo>
                  <a:lnTo>
                    <a:pt x="40280" y="8327"/>
                  </a:lnTo>
                  <a:lnTo>
                    <a:pt x="41552" y="526"/>
                  </a:lnTo>
                  <a:cubicBezTo>
                    <a:pt x="41552" y="526"/>
                    <a:pt x="44049" y="-112"/>
                    <a:pt x="46743" y="17"/>
                  </a:cubicBezTo>
                  <a:cubicBezTo>
                    <a:pt x="49439" y="148"/>
                    <a:pt x="52630" y="2973"/>
                    <a:pt x="52630" y="2973"/>
                  </a:cubicBezTo>
                  <a:cubicBezTo>
                    <a:pt x="52630" y="2973"/>
                    <a:pt x="53592" y="19432"/>
                    <a:pt x="50056" y="22780"/>
                  </a:cubicBezTo>
                  <a:cubicBezTo>
                    <a:pt x="46017" y="26604"/>
                    <a:pt x="12888" y="28502"/>
                    <a:pt x="12888" y="28502"/>
                  </a:cubicBezTo>
                  <a:lnTo>
                    <a:pt x="0" y="6468"/>
                  </a:lnTo>
                  <a:lnTo>
                    <a:pt x="0" y="6468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7" name="Freeform: Shape 3136">
              <a:extLst>
                <a:ext uri="{FF2B5EF4-FFF2-40B4-BE49-F238E27FC236}">
                  <a16:creationId xmlns:a16="http://schemas.microsoft.com/office/drawing/2014/main" id="{D56E182A-2227-FC83-E437-65A69EBB36ED}"/>
                </a:ext>
              </a:extLst>
            </p:cNvPr>
            <p:cNvSpPr/>
            <p:nvPr/>
          </p:nvSpPr>
          <p:spPr>
            <a:xfrm>
              <a:off x="8907629" y="3613514"/>
              <a:ext cx="4751" cy="3477"/>
            </a:xfrm>
            <a:custGeom>
              <a:avLst/>
              <a:gdLst>
                <a:gd name="connsiteX0" fmla="*/ 0 w 4751"/>
                <a:gd name="connsiteY0" fmla="*/ 0 h 3477"/>
                <a:gd name="connsiteX1" fmla="*/ 4340 w 4751"/>
                <a:gd name="connsiteY1" fmla="*/ 1694 h 3477"/>
                <a:gd name="connsiteX2" fmla="*/ 4752 w 4751"/>
                <a:gd name="connsiteY2" fmla="*/ 2319 h 3477"/>
                <a:gd name="connsiteX3" fmla="*/ 2380 w 4751"/>
                <a:gd name="connsiteY3" fmla="*/ 3477 h 3477"/>
                <a:gd name="connsiteX4" fmla="*/ 0 w 4751"/>
                <a:gd name="connsiteY4" fmla="*/ 0 h 3477"/>
                <a:gd name="connsiteX5" fmla="*/ 0 w 4751"/>
                <a:gd name="connsiteY5" fmla="*/ 0 h 3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51" h="3477">
                  <a:moveTo>
                    <a:pt x="0" y="0"/>
                  </a:moveTo>
                  <a:lnTo>
                    <a:pt x="4340" y="1694"/>
                  </a:lnTo>
                  <a:lnTo>
                    <a:pt x="4752" y="2319"/>
                  </a:lnTo>
                  <a:cubicBezTo>
                    <a:pt x="4752" y="2319"/>
                    <a:pt x="3327" y="2646"/>
                    <a:pt x="2380" y="3477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2A88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8" name="Freeform: Shape 3137">
              <a:extLst>
                <a:ext uri="{FF2B5EF4-FFF2-40B4-BE49-F238E27FC236}">
                  <a16:creationId xmlns:a16="http://schemas.microsoft.com/office/drawing/2014/main" id="{BDBDD0CF-16E8-4254-4890-EA1DCBE73633}"/>
                </a:ext>
              </a:extLst>
            </p:cNvPr>
            <p:cNvSpPr/>
            <p:nvPr/>
          </p:nvSpPr>
          <p:spPr>
            <a:xfrm>
              <a:off x="8956181" y="3617332"/>
              <a:ext cx="12036" cy="9082"/>
            </a:xfrm>
            <a:custGeom>
              <a:avLst/>
              <a:gdLst>
                <a:gd name="connsiteX0" fmla="*/ 11927 w 12036"/>
                <a:gd name="connsiteY0" fmla="*/ 2927 h 9082"/>
                <a:gd name="connsiteX1" fmla="*/ 7353 w 12036"/>
                <a:gd name="connsiteY1" fmla="*/ 217 h 9082"/>
                <a:gd name="connsiteX2" fmla="*/ 850 w 12036"/>
                <a:gd name="connsiteY2" fmla="*/ 480 h 9082"/>
                <a:gd name="connsiteX3" fmla="*/ 0 w 12036"/>
                <a:gd name="connsiteY3" fmla="*/ 5684 h 9082"/>
                <a:gd name="connsiteX4" fmla="*/ 5899 w 12036"/>
                <a:gd name="connsiteY4" fmla="*/ 6272 h 9082"/>
                <a:gd name="connsiteX5" fmla="*/ 12037 w 12036"/>
                <a:gd name="connsiteY5" fmla="*/ 9083 h 9082"/>
                <a:gd name="connsiteX6" fmla="*/ 11927 w 12036"/>
                <a:gd name="connsiteY6" fmla="*/ 2927 h 9082"/>
                <a:gd name="connsiteX7" fmla="*/ 11927 w 12036"/>
                <a:gd name="connsiteY7" fmla="*/ 2927 h 9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36" h="9082">
                  <a:moveTo>
                    <a:pt x="11927" y="2927"/>
                  </a:moveTo>
                  <a:cubicBezTo>
                    <a:pt x="11927" y="2927"/>
                    <a:pt x="10122" y="830"/>
                    <a:pt x="7353" y="217"/>
                  </a:cubicBezTo>
                  <a:cubicBezTo>
                    <a:pt x="4583" y="-394"/>
                    <a:pt x="850" y="480"/>
                    <a:pt x="850" y="480"/>
                  </a:cubicBezTo>
                  <a:lnTo>
                    <a:pt x="0" y="5684"/>
                  </a:lnTo>
                  <a:cubicBezTo>
                    <a:pt x="0" y="5684"/>
                    <a:pt x="2890" y="5422"/>
                    <a:pt x="5899" y="6272"/>
                  </a:cubicBezTo>
                  <a:cubicBezTo>
                    <a:pt x="8909" y="7122"/>
                    <a:pt x="12037" y="9083"/>
                    <a:pt x="12037" y="9083"/>
                  </a:cubicBezTo>
                  <a:lnTo>
                    <a:pt x="11927" y="2927"/>
                  </a:lnTo>
                  <a:lnTo>
                    <a:pt x="11927" y="2927"/>
                  </a:lnTo>
                  <a:close/>
                </a:path>
              </a:pathLst>
            </a:custGeom>
            <a:solidFill>
              <a:srgbClr val="5C030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9" name="Freeform: Shape 3138">
              <a:extLst>
                <a:ext uri="{FF2B5EF4-FFF2-40B4-BE49-F238E27FC236}">
                  <a16:creationId xmlns:a16="http://schemas.microsoft.com/office/drawing/2014/main" id="{5B0F92F7-155A-447C-9946-0FFE445DA10F}"/>
                </a:ext>
              </a:extLst>
            </p:cNvPr>
            <p:cNvSpPr/>
            <p:nvPr/>
          </p:nvSpPr>
          <p:spPr>
            <a:xfrm>
              <a:off x="8900318" y="3583056"/>
              <a:ext cx="18934" cy="32779"/>
            </a:xfrm>
            <a:custGeom>
              <a:avLst/>
              <a:gdLst>
                <a:gd name="connsiteX0" fmla="*/ 18934 w 18934"/>
                <a:gd name="connsiteY0" fmla="*/ 16708 h 32779"/>
                <a:gd name="connsiteX1" fmla="*/ 9468 w 18934"/>
                <a:gd name="connsiteY1" fmla="*/ 0 h 32779"/>
                <a:gd name="connsiteX2" fmla="*/ 0 w 18934"/>
                <a:gd name="connsiteY2" fmla="*/ 16708 h 32779"/>
                <a:gd name="connsiteX3" fmla="*/ 12065 w 18934"/>
                <a:gd name="connsiteY3" fmla="*/ 32780 h 32779"/>
                <a:gd name="connsiteX4" fmla="*/ 18934 w 18934"/>
                <a:gd name="connsiteY4" fmla="*/ 16708 h 32779"/>
                <a:gd name="connsiteX5" fmla="*/ 18934 w 18934"/>
                <a:gd name="connsiteY5" fmla="*/ 16708 h 32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934" h="32779">
                  <a:moveTo>
                    <a:pt x="18934" y="16708"/>
                  </a:moveTo>
                  <a:cubicBezTo>
                    <a:pt x="18934" y="7482"/>
                    <a:pt x="14697" y="0"/>
                    <a:pt x="9468" y="0"/>
                  </a:cubicBezTo>
                  <a:cubicBezTo>
                    <a:pt x="4239" y="0"/>
                    <a:pt x="0" y="7482"/>
                    <a:pt x="0" y="16708"/>
                  </a:cubicBezTo>
                  <a:cubicBezTo>
                    <a:pt x="0" y="25934"/>
                    <a:pt x="6837" y="32780"/>
                    <a:pt x="12065" y="32780"/>
                  </a:cubicBezTo>
                  <a:cubicBezTo>
                    <a:pt x="17294" y="32780"/>
                    <a:pt x="18934" y="25936"/>
                    <a:pt x="18934" y="16708"/>
                  </a:cubicBezTo>
                  <a:lnTo>
                    <a:pt x="18934" y="16708"/>
                  </a:lnTo>
                  <a:close/>
                </a:path>
              </a:pathLst>
            </a:custGeom>
            <a:solidFill>
              <a:srgbClr val="FFE1C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0" name="Freeform: Shape 3139">
              <a:extLst>
                <a:ext uri="{FF2B5EF4-FFF2-40B4-BE49-F238E27FC236}">
                  <a16:creationId xmlns:a16="http://schemas.microsoft.com/office/drawing/2014/main" id="{F07D7DEA-B3D2-5C7F-CF66-DBDAC2600EF1}"/>
                </a:ext>
              </a:extLst>
            </p:cNvPr>
            <p:cNvSpPr/>
            <p:nvPr/>
          </p:nvSpPr>
          <p:spPr>
            <a:xfrm>
              <a:off x="8878967" y="3577816"/>
              <a:ext cx="40152" cy="59587"/>
            </a:xfrm>
            <a:custGeom>
              <a:avLst/>
              <a:gdLst>
                <a:gd name="connsiteX0" fmla="*/ 30819 w 40152"/>
                <a:gd name="connsiteY0" fmla="*/ 1236 h 59587"/>
                <a:gd name="connsiteX1" fmla="*/ 40152 w 40152"/>
                <a:gd name="connsiteY1" fmla="*/ 14505 h 59587"/>
                <a:gd name="connsiteX2" fmla="*/ 35875 w 40152"/>
                <a:gd name="connsiteY2" fmla="*/ 19666 h 59587"/>
                <a:gd name="connsiteX3" fmla="*/ 33337 w 40152"/>
                <a:gd name="connsiteY3" fmla="*/ 24318 h 59587"/>
                <a:gd name="connsiteX4" fmla="*/ 30819 w 40152"/>
                <a:gd name="connsiteY4" fmla="*/ 20451 h 59587"/>
                <a:gd name="connsiteX5" fmla="*/ 28845 w 40152"/>
                <a:gd name="connsiteY5" fmla="*/ 21948 h 59587"/>
                <a:gd name="connsiteX6" fmla="*/ 30819 w 40152"/>
                <a:gd name="connsiteY6" fmla="*/ 26526 h 59587"/>
                <a:gd name="connsiteX7" fmla="*/ 29697 w 40152"/>
                <a:gd name="connsiteY7" fmla="*/ 53218 h 59587"/>
                <a:gd name="connsiteX8" fmla="*/ 9663 w 40152"/>
                <a:gd name="connsiteY8" fmla="*/ 59587 h 59587"/>
                <a:gd name="connsiteX9" fmla="*/ 0 w 40152"/>
                <a:gd name="connsiteY9" fmla="*/ 50393 h 59587"/>
                <a:gd name="connsiteX10" fmla="*/ 4911 w 40152"/>
                <a:gd name="connsiteY10" fmla="*/ 38656 h 59587"/>
                <a:gd name="connsiteX11" fmla="*/ 9857 w 40152"/>
                <a:gd name="connsiteY11" fmla="*/ 10727 h 59587"/>
                <a:gd name="connsiteX12" fmla="*/ 30819 w 40152"/>
                <a:gd name="connsiteY12" fmla="*/ 1236 h 59587"/>
                <a:gd name="connsiteX13" fmla="*/ 30819 w 40152"/>
                <a:gd name="connsiteY13" fmla="*/ 1236 h 59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152" h="59587">
                  <a:moveTo>
                    <a:pt x="30819" y="1236"/>
                  </a:moveTo>
                  <a:cubicBezTo>
                    <a:pt x="38021" y="3401"/>
                    <a:pt x="40174" y="12487"/>
                    <a:pt x="40152" y="14505"/>
                  </a:cubicBezTo>
                  <a:cubicBezTo>
                    <a:pt x="40141" y="15601"/>
                    <a:pt x="36349" y="17144"/>
                    <a:pt x="35875" y="19666"/>
                  </a:cubicBezTo>
                  <a:cubicBezTo>
                    <a:pt x="35228" y="23122"/>
                    <a:pt x="33337" y="24318"/>
                    <a:pt x="33337" y="24318"/>
                  </a:cubicBezTo>
                  <a:lnTo>
                    <a:pt x="30819" y="20451"/>
                  </a:lnTo>
                  <a:cubicBezTo>
                    <a:pt x="30819" y="20451"/>
                    <a:pt x="28845" y="20430"/>
                    <a:pt x="28845" y="21948"/>
                  </a:cubicBezTo>
                  <a:cubicBezTo>
                    <a:pt x="28845" y="23466"/>
                    <a:pt x="30819" y="26526"/>
                    <a:pt x="30819" y="26526"/>
                  </a:cubicBezTo>
                  <a:lnTo>
                    <a:pt x="29697" y="53218"/>
                  </a:lnTo>
                  <a:lnTo>
                    <a:pt x="9663" y="59587"/>
                  </a:lnTo>
                  <a:lnTo>
                    <a:pt x="0" y="50393"/>
                  </a:lnTo>
                  <a:cubicBezTo>
                    <a:pt x="0" y="50393"/>
                    <a:pt x="3404" y="47057"/>
                    <a:pt x="4911" y="38656"/>
                  </a:cubicBezTo>
                  <a:cubicBezTo>
                    <a:pt x="6414" y="30285"/>
                    <a:pt x="6012" y="16861"/>
                    <a:pt x="9857" y="10727"/>
                  </a:cubicBezTo>
                  <a:cubicBezTo>
                    <a:pt x="17561" y="-1563"/>
                    <a:pt x="23615" y="-932"/>
                    <a:pt x="30819" y="1236"/>
                  </a:cubicBezTo>
                  <a:lnTo>
                    <a:pt x="30819" y="1236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1" name="Freeform: Shape 3140">
              <a:extLst>
                <a:ext uri="{FF2B5EF4-FFF2-40B4-BE49-F238E27FC236}">
                  <a16:creationId xmlns:a16="http://schemas.microsoft.com/office/drawing/2014/main" id="{2C908EFD-377D-71C0-A732-CDF4EC78D74C}"/>
                </a:ext>
              </a:extLst>
            </p:cNvPr>
            <p:cNvSpPr/>
            <p:nvPr/>
          </p:nvSpPr>
          <p:spPr>
            <a:xfrm>
              <a:off x="8863195" y="3714130"/>
              <a:ext cx="29049" cy="110377"/>
            </a:xfrm>
            <a:custGeom>
              <a:avLst/>
              <a:gdLst>
                <a:gd name="connsiteX0" fmla="*/ 22426 w 29049"/>
                <a:gd name="connsiteY0" fmla="*/ 0 h 110377"/>
                <a:gd name="connsiteX1" fmla="*/ 25513 w 29049"/>
                <a:gd name="connsiteY1" fmla="*/ 17973 h 110377"/>
                <a:gd name="connsiteX2" fmla="*/ 23152 w 29049"/>
                <a:gd name="connsiteY2" fmla="*/ 6589 h 110377"/>
                <a:gd name="connsiteX3" fmla="*/ 29030 w 29049"/>
                <a:gd name="connsiteY3" fmla="*/ 43931 h 110377"/>
                <a:gd name="connsiteX4" fmla="*/ 5372 w 29049"/>
                <a:gd name="connsiteY4" fmla="*/ 110377 h 110377"/>
                <a:gd name="connsiteX5" fmla="*/ 0 w 29049"/>
                <a:gd name="connsiteY5" fmla="*/ 109472 h 110377"/>
                <a:gd name="connsiteX6" fmla="*/ 24993 w 29049"/>
                <a:gd name="connsiteY6" fmla="*/ 44628 h 110377"/>
                <a:gd name="connsiteX7" fmla="*/ 22426 w 29049"/>
                <a:gd name="connsiteY7" fmla="*/ 0 h 110377"/>
                <a:gd name="connsiteX8" fmla="*/ 22426 w 29049"/>
                <a:gd name="connsiteY8" fmla="*/ 0 h 110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49" h="110377">
                  <a:moveTo>
                    <a:pt x="22426" y="0"/>
                  </a:moveTo>
                  <a:lnTo>
                    <a:pt x="25513" y="17973"/>
                  </a:lnTo>
                  <a:lnTo>
                    <a:pt x="23152" y="6589"/>
                  </a:lnTo>
                  <a:cubicBezTo>
                    <a:pt x="23152" y="6589"/>
                    <a:pt x="29444" y="40903"/>
                    <a:pt x="29030" y="43931"/>
                  </a:cubicBezTo>
                  <a:cubicBezTo>
                    <a:pt x="28539" y="47528"/>
                    <a:pt x="5372" y="110377"/>
                    <a:pt x="5372" y="110377"/>
                  </a:cubicBezTo>
                  <a:lnTo>
                    <a:pt x="0" y="109472"/>
                  </a:lnTo>
                  <a:lnTo>
                    <a:pt x="24993" y="44628"/>
                  </a:lnTo>
                  <a:lnTo>
                    <a:pt x="22426" y="0"/>
                  </a:lnTo>
                  <a:lnTo>
                    <a:pt x="22426" y="0"/>
                  </a:lnTo>
                  <a:close/>
                </a:path>
              </a:pathLst>
            </a:custGeom>
            <a:solidFill>
              <a:srgbClr val="28202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2" name="Freeform: Shape 3141">
              <a:extLst>
                <a:ext uri="{FF2B5EF4-FFF2-40B4-BE49-F238E27FC236}">
                  <a16:creationId xmlns:a16="http://schemas.microsoft.com/office/drawing/2014/main" id="{880B719F-4F2F-AFE0-35E4-4CB71A47DC69}"/>
                </a:ext>
              </a:extLst>
            </p:cNvPr>
            <p:cNvSpPr/>
            <p:nvPr/>
          </p:nvSpPr>
          <p:spPr>
            <a:xfrm>
              <a:off x="8915925" y="3643691"/>
              <a:ext cx="13154" cy="15677"/>
            </a:xfrm>
            <a:custGeom>
              <a:avLst/>
              <a:gdLst>
                <a:gd name="connsiteX0" fmla="*/ 12442 w 13154"/>
                <a:gd name="connsiteY0" fmla="*/ 2097 h 15677"/>
                <a:gd name="connsiteX1" fmla="*/ 6164 w 13154"/>
                <a:gd name="connsiteY1" fmla="*/ 2097 h 15677"/>
                <a:gd name="connsiteX2" fmla="*/ 0 w 13154"/>
                <a:gd name="connsiteY2" fmla="*/ 0 h 15677"/>
                <a:gd name="connsiteX3" fmla="*/ 6116 w 13154"/>
                <a:gd name="connsiteY3" fmla="*/ 15677 h 15677"/>
                <a:gd name="connsiteX4" fmla="*/ 12454 w 13154"/>
                <a:gd name="connsiteY4" fmla="*/ 9269 h 15677"/>
                <a:gd name="connsiteX5" fmla="*/ 12442 w 13154"/>
                <a:gd name="connsiteY5" fmla="*/ 2097 h 15677"/>
                <a:gd name="connsiteX6" fmla="*/ 12442 w 13154"/>
                <a:gd name="connsiteY6" fmla="*/ 2097 h 15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154" h="15677">
                  <a:moveTo>
                    <a:pt x="12442" y="2097"/>
                  </a:moveTo>
                  <a:cubicBezTo>
                    <a:pt x="12442" y="2097"/>
                    <a:pt x="9276" y="2622"/>
                    <a:pt x="6164" y="2097"/>
                  </a:cubicBezTo>
                  <a:cubicBezTo>
                    <a:pt x="3054" y="1574"/>
                    <a:pt x="0" y="0"/>
                    <a:pt x="0" y="0"/>
                  </a:cubicBezTo>
                  <a:lnTo>
                    <a:pt x="6116" y="15677"/>
                  </a:lnTo>
                  <a:cubicBezTo>
                    <a:pt x="6116" y="15677"/>
                    <a:pt x="10873" y="12664"/>
                    <a:pt x="12454" y="9269"/>
                  </a:cubicBezTo>
                  <a:cubicBezTo>
                    <a:pt x="14037" y="5874"/>
                    <a:pt x="12442" y="2097"/>
                    <a:pt x="12442" y="2097"/>
                  </a:cubicBezTo>
                  <a:lnTo>
                    <a:pt x="12442" y="2097"/>
                  </a:ln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3" name="Freeform: Shape 3142">
              <a:extLst>
                <a:ext uri="{FF2B5EF4-FFF2-40B4-BE49-F238E27FC236}">
                  <a16:creationId xmlns:a16="http://schemas.microsoft.com/office/drawing/2014/main" id="{CB355942-7D3D-782F-19D1-267220C4ADF7}"/>
                </a:ext>
              </a:extLst>
            </p:cNvPr>
            <p:cNvSpPr/>
            <p:nvPr/>
          </p:nvSpPr>
          <p:spPr>
            <a:xfrm>
              <a:off x="9338529" y="3771746"/>
              <a:ext cx="14721" cy="61169"/>
            </a:xfrm>
            <a:custGeom>
              <a:avLst/>
              <a:gdLst>
                <a:gd name="connsiteX0" fmla="*/ 0 w 14721"/>
                <a:gd name="connsiteY0" fmla="*/ 373 h 61169"/>
                <a:gd name="connsiteX1" fmla="*/ 3395 w 14721"/>
                <a:gd name="connsiteY1" fmla="*/ 61015 h 61169"/>
                <a:gd name="connsiteX2" fmla="*/ 11635 w 14721"/>
                <a:gd name="connsiteY2" fmla="*/ 61169 h 61169"/>
                <a:gd name="connsiteX3" fmla="*/ 14704 w 14721"/>
                <a:gd name="connsiteY3" fmla="*/ 22111 h 61169"/>
                <a:gd name="connsiteX4" fmla="*/ 12883 w 14721"/>
                <a:gd name="connsiteY4" fmla="*/ 0 h 61169"/>
                <a:gd name="connsiteX5" fmla="*/ 0 w 14721"/>
                <a:gd name="connsiteY5" fmla="*/ 373 h 61169"/>
                <a:gd name="connsiteX6" fmla="*/ 0 w 14721"/>
                <a:gd name="connsiteY6" fmla="*/ 373 h 6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21" h="61169">
                  <a:moveTo>
                    <a:pt x="0" y="373"/>
                  </a:moveTo>
                  <a:lnTo>
                    <a:pt x="3395" y="61015"/>
                  </a:lnTo>
                  <a:lnTo>
                    <a:pt x="11635" y="61169"/>
                  </a:lnTo>
                  <a:cubicBezTo>
                    <a:pt x="11635" y="61169"/>
                    <a:pt x="14482" y="37139"/>
                    <a:pt x="14704" y="22111"/>
                  </a:cubicBezTo>
                  <a:cubicBezTo>
                    <a:pt x="14928" y="7084"/>
                    <a:pt x="12883" y="0"/>
                    <a:pt x="12883" y="0"/>
                  </a:cubicBezTo>
                  <a:lnTo>
                    <a:pt x="0" y="373"/>
                  </a:lnTo>
                  <a:lnTo>
                    <a:pt x="0" y="373"/>
                  </a:lnTo>
                  <a:close/>
                </a:path>
              </a:pathLst>
            </a:custGeom>
            <a:solidFill>
              <a:srgbClr val="EFCBA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4" name="Freeform: Shape 3143">
              <a:extLst>
                <a:ext uri="{FF2B5EF4-FFF2-40B4-BE49-F238E27FC236}">
                  <a16:creationId xmlns:a16="http://schemas.microsoft.com/office/drawing/2014/main" id="{DF6E5AE2-0256-BAA3-DAAE-0487AE54014E}"/>
                </a:ext>
              </a:extLst>
            </p:cNvPr>
            <p:cNvSpPr/>
            <p:nvPr/>
          </p:nvSpPr>
          <p:spPr>
            <a:xfrm>
              <a:off x="9335676" y="3830031"/>
              <a:ext cx="14714" cy="15952"/>
            </a:xfrm>
            <a:custGeom>
              <a:avLst/>
              <a:gdLst>
                <a:gd name="connsiteX0" fmla="*/ 6249 w 14714"/>
                <a:gd name="connsiteY0" fmla="*/ 2730 h 15952"/>
                <a:gd name="connsiteX1" fmla="*/ 3386 w 14714"/>
                <a:gd name="connsiteY1" fmla="*/ 9651 h 15952"/>
                <a:gd name="connsiteX2" fmla="*/ 305 w 14714"/>
                <a:gd name="connsiteY2" fmla="*/ 13282 h 15952"/>
                <a:gd name="connsiteX3" fmla="*/ 5286 w 14714"/>
                <a:gd name="connsiteY3" fmla="*/ 15462 h 15952"/>
                <a:gd name="connsiteX4" fmla="*/ 14715 w 14714"/>
                <a:gd name="connsiteY4" fmla="*/ 7627 h 15952"/>
                <a:gd name="connsiteX5" fmla="*/ 14489 w 14714"/>
                <a:gd name="connsiteY5" fmla="*/ 2884 h 15952"/>
                <a:gd name="connsiteX6" fmla="*/ 10303 w 14714"/>
                <a:gd name="connsiteY6" fmla="*/ 0 h 15952"/>
                <a:gd name="connsiteX7" fmla="*/ 6249 w 14714"/>
                <a:gd name="connsiteY7" fmla="*/ 2730 h 15952"/>
                <a:gd name="connsiteX8" fmla="*/ 6249 w 14714"/>
                <a:gd name="connsiteY8" fmla="*/ 2730 h 15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14" h="15952">
                  <a:moveTo>
                    <a:pt x="6249" y="2730"/>
                  </a:moveTo>
                  <a:cubicBezTo>
                    <a:pt x="6249" y="2730"/>
                    <a:pt x="4456" y="7373"/>
                    <a:pt x="3386" y="9651"/>
                  </a:cubicBezTo>
                  <a:cubicBezTo>
                    <a:pt x="2316" y="11929"/>
                    <a:pt x="1396" y="11791"/>
                    <a:pt x="305" y="13282"/>
                  </a:cubicBezTo>
                  <a:cubicBezTo>
                    <a:pt x="-914" y="14946"/>
                    <a:pt x="1683" y="16876"/>
                    <a:pt x="5286" y="15462"/>
                  </a:cubicBezTo>
                  <a:cubicBezTo>
                    <a:pt x="8889" y="14048"/>
                    <a:pt x="14715" y="7627"/>
                    <a:pt x="14715" y="7627"/>
                  </a:cubicBezTo>
                  <a:lnTo>
                    <a:pt x="14489" y="2884"/>
                  </a:lnTo>
                  <a:lnTo>
                    <a:pt x="10303" y="0"/>
                  </a:lnTo>
                  <a:lnTo>
                    <a:pt x="6249" y="2730"/>
                  </a:lnTo>
                  <a:lnTo>
                    <a:pt x="6249" y="2730"/>
                  </a:lnTo>
                  <a:close/>
                </a:path>
              </a:pathLst>
            </a:custGeom>
            <a:solidFill>
              <a:srgbClr val="EFCBA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5" name="Freeform: Shape 3144">
              <a:extLst>
                <a:ext uri="{FF2B5EF4-FFF2-40B4-BE49-F238E27FC236}">
                  <a16:creationId xmlns:a16="http://schemas.microsoft.com/office/drawing/2014/main" id="{7F945CE3-9064-4381-FFF2-A01B949E7D16}"/>
                </a:ext>
              </a:extLst>
            </p:cNvPr>
            <p:cNvSpPr/>
            <p:nvPr/>
          </p:nvSpPr>
          <p:spPr>
            <a:xfrm>
              <a:off x="9326123" y="3837275"/>
              <a:ext cx="26676" cy="15045"/>
            </a:xfrm>
            <a:custGeom>
              <a:avLst/>
              <a:gdLst>
                <a:gd name="connsiteX0" fmla="*/ 24423 w 26676"/>
                <a:gd name="connsiteY0" fmla="*/ 0 h 15045"/>
                <a:gd name="connsiteX1" fmla="*/ 25196 w 26676"/>
                <a:gd name="connsiteY1" fmla="*/ 8708 h 15045"/>
                <a:gd name="connsiteX2" fmla="*/ 24823 w 26676"/>
                <a:gd name="connsiteY2" fmla="*/ 9552 h 15045"/>
                <a:gd name="connsiteX3" fmla="*/ 21926 w 26676"/>
                <a:gd name="connsiteY3" fmla="*/ 10361 h 15045"/>
                <a:gd name="connsiteX4" fmla="*/ 20542 w 26676"/>
                <a:gd name="connsiteY4" fmla="*/ 9056 h 15045"/>
                <a:gd name="connsiteX5" fmla="*/ 14507 w 26676"/>
                <a:gd name="connsiteY5" fmla="*/ 12426 h 15045"/>
                <a:gd name="connsiteX6" fmla="*/ 11090 w 26676"/>
                <a:gd name="connsiteY6" fmla="*/ 13777 h 15045"/>
                <a:gd name="connsiteX7" fmla="*/ 6509 w 26676"/>
                <a:gd name="connsiteY7" fmla="*/ 14654 h 15045"/>
                <a:gd name="connsiteX8" fmla="*/ 6 w 26676"/>
                <a:gd name="connsiteY8" fmla="*/ 13926 h 15045"/>
                <a:gd name="connsiteX9" fmla="*/ 9979 w 26676"/>
                <a:gd name="connsiteY9" fmla="*/ 5587 h 15045"/>
                <a:gd name="connsiteX10" fmla="*/ 14917 w 26676"/>
                <a:gd name="connsiteY10" fmla="*/ 7451 h 15045"/>
                <a:gd name="connsiteX11" fmla="*/ 24423 w 26676"/>
                <a:gd name="connsiteY11" fmla="*/ 0 h 15045"/>
                <a:gd name="connsiteX12" fmla="*/ 24423 w 26676"/>
                <a:gd name="connsiteY12" fmla="*/ 0 h 1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676" h="15045">
                  <a:moveTo>
                    <a:pt x="24423" y="0"/>
                  </a:moveTo>
                  <a:cubicBezTo>
                    <a:pt x="24423" y="0"/>
                    <a:pt x="28930" y="5688"/>
                    <a:pt x="25196" y="8708"/>
                  </a:cubicBezTo>
                  <a:cubicBezTo>
                    <a:pt x="25015" y="8855"/>
                    <a:pt x="24905" y="9176"/>
                    <a:pt x="24823" y="9552"/>
                  </a:cubicBezTo>
                  <a:lnTo>
                    <a:pt x="21926" y="10361"/>
                  </a:lnTo>
                  <a:cubicBezTo>
                    <a:pt x="21589" y="9543"/>
                    <a:pt x="21150" y="8952"/>
                    <a:pt x="20542" y="9056"/>
                  </a:cubicBezTo>
                  <a:cubicBezTo>
                    <a:pt x="18096" y="9339"/>
                    <a:pt x="16785" y="11072"/>
                    <a:pt x="14507" y="12426"/>
                  </a:cubicBezTo>
                  <a:cubicBezTo>
                    <a:pt x="13575" y="12980"/>
                    <a:pt x="12498" y="13480"/>
                    <a:pt x="11090" y="13777"/>
                  </a:cubicBezTo>
                  <a:cubicBezTo>
                    <a:pt x="9599" y="14093"/>
                    <a:pt x="8013" y="14408"/>
                    <a:pt x="6509" y="14654"/>
                  </a:cubicBezTo>
                  <a:cubicBezTo>
                    <a:pt x="3125" y="15206"/>
                    <a:pt x="197" y="15344"/>
                    <a:pt x="6" y="13926"/>
                  </a:cubicBezTo>
                  <a:cubicBezTo>
                    <a:pt x="-272" y="11877"/>
                    <a:pt x="9979" y="5585"/>
                    <a:pt x="9979" y="5587"/>
                  </a:cubicBezTo>
                  <a:cubicBezTo>
                    <a:pt x="9979" y="5587"/>
                    <a:pt x="11306" y="8848"/>
                    <a:pt x="14917" y="7451"/>
                  </a:cubicBezTo>
                  <a:cubicBezTo>
                    <a:pt x="18528" y="6055"/>
                    <a:pt x="24423" y="0"/>
                    <a:pt x="24423" y="0"/>
                  </a:cubicBezTo>
                  <a:lnTo>
                    <a:pt x="24423" y="0"/>
                  </a:lnTo>
                  <a:close/>
                </a:path>
              </a:pathLst>
            </a:custGeom>
            <a:solidFill>
              <a:srgbClr val="3B3B3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6" name="Freeform: Shape 3145">
              <a:extLst>
                <a:ext uri="{FF2B5EF4-FFF2-40B4-BE49-F238E27FC236}">
                  <a16:creationId xmlns:a16="http://schemas.microsoft.com/office/drawing/2014/main" id="{FC6E151B-BDA9-DCF1-DA5A-7F426A50A1EB}"/>
                </a:ext>
              </a:extLst>
            </p:cNvPr>
            <p:cNvSpPr/>
            <p:nvPr/>
          </p:nvSpPr>
          <p:spPr>
            <a:xfrm>
              <a:off x="9347694" y="3788339"/>
              <a:ext cx="5554" cy="51649"/>
            </a:xfrm>
            <a:custGeom>
              <a:avLst/>
              <a:gdLst>
                <a:gd name="connsiteX0" fmla="*/ 5514 w 5554"/>
                <a:gd name="connsiteY0" fmla="*/ 0 h 51649"/>
                <a:gd name="connsiteX1" fmla="*/ 5539 w 5554"/>
                <a:gd name="connsiteY1" fmla="*/ 5517 h 51649"/>
                <a:gd name="connsiteX2" fmla="*/ 2470 w 5554"/>
                <a:gd name="connsiteY2" fmla="*/ 44574 h 51649"/>
                <a:gd name="connsiteX3" fmla="*/ 2687 w 5554"/>
                <a:gd name="connsiteY3" fmla="*/ 49099 h 51649"/>
                <a:gd name="connsiteX4" fmla="*/ 0 w 5554"/>
                <a:gd name="connsiteY4" fmla="*/ 51649 h 51649"/>
                <a:gd name="connsiteX5" fmla="*/ 839 w 5554"/>
                <a:gd name="connsiteY5" fmla="*/ 44542 h 51649"/>
                <a:gd name="connsiteX6" fmla="*/ 839 w 5554"/>
                <a:gd name="connsiteY6" fmla="*/ 44440 h 51649"/>
                <a:gd name="connsiteX7" fmla="*/ 3800 w 5554"/>
                <a:gd name="connsiteY7" fmla="*/ 23154 h 51649"/>
                <a:gd name="connsiteX8" fmla="*/ 565 w 5554"/>
                <a:gd name="connsiteY8" fmla="*/ 1525 h 51649"/>
                <a:gd name="connsiteX9" fmla="*/ 5514 w 5554"/>
                <a:gd name="connsiteY9" fmla="*/ 0 h 51649"/>
                <a:gd name="connsiteX10" fmla="*/ 5514 w 5554"/>
                <a:gd name="connsiteY10" fmla="*/ 0 h 5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54" h="51649">
                  <a:moveTo>
                    <a:pt x="5514" y="0"/>
                  </a:moveTo>
                  <a:cubicBezTo>
                    <a:pt x="5553" y="1708"/>
                    <a:pt x="5569" y="3533"/>
                    <a:pt x="5539" y="5517"/>
                  </a:cubicBezTo>
                  <a:cubicBezTo>
                    <a:pt x="5315" y="20546"/>
                    <a:pt x="2470" y="44574"/>
                    <a:pt x="2470" y="44574"/>
                  </a:cubicBezTo>
                  <a:lnTo>
                    <a:pt x="2687" y="49099"/>
                  </a:lnTo>
                  <a:lnTo>
                    <a:pt x="0" y="51649"/>
                  </a:lnTo>
                  <a:lnTo>
                    <a:pt x="839" y="44542"/>
                  </a:lnTo>
                  <a:lnTo>
                    <a:pt x="839" y="44440"/>
                  </a:lnTo>
                  <a:cubicBezTo>
                    <a:pt x="839" y="44440"/>
                    <a:pt x="3460" y="33027"/>
                    <a:pt x="3800" y="23154"/>
                  </a:cubicBezTo>
                  <a:cubicBezTo>
                    <a:pt x="4139" y="13279"/>
                    <a:pt x="565" y="1525"/>
                    <a:pt x="565" y="1525"/>
                  </a:cubicBezTo>
                  <a:lnTo>
                    <a:pt x="5514" y="0"/>
                  </a:lnTo>
                  <a:lnTo>
                    <a:pt x="5514" y="0"/>
                  </a:lnTo>
                  <a:close/>
                </a:path>
              </a:pathLst>
            </a:custGeom>
            <a:solidFill>
              <a:srgbClr val="DDBB9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7" name="Freeform: Shape 3146">
              <a:extLst>
                <a:ext uri="{FF2B5EF4-FFF2-40B4-BE49-F238E27FC236}">
                  <a16:creationId xmlns:a16="http://schemas.microsoft.com/office/drawing/2014/main" id="{24881C82-34FE-74B2-248A-EED54D1D0CC6}"/>
                </a:ext>
              </a:extLst>
            </p:cNvPr>
            <p:cNvSpPr/>
            <p:nvPr/>
          </p:nvSpPr>
          <p:spPr>
            <a:xfrm>
              <a:off x="9347694" y="3845983"/>
              <a:ext cx="3624" cy="6338"/>
            </a:xfrm>
            <a:custGeom>
              <a:avLst/>
              <a:gdLst>
                <a:gd name="connsiteX0" fmla="*/ 3624 w 3624"/>
                <a:gd name="connsiteY0" fmla="*/ 0 h 6338"/>
                <a:gd name="connsiteX1" fmla="*/ 0 w 3624"/>
                <a:gd name="connsiteY1" fmla="*/ 0 h 6338"/>
                <a:gd name="connsiteX2" fmla="*/ 1140 w 3624"/>
                <a:gd name="connsiteY2" fmla="*/ 6338 h 6338"/>
                <a:gd name="connsiteX3" fmla="*/ 2696 w 3624"/>
                <a:gd name="connsiteY3" fmla="*/ 6338 h 6338"/>
                <a:gd name="connsiteX4" fmla="*/ 3624 w 3624"/>
                <a:gd name="connsiteY4" fmla="*/ 0 h 6338"/>
                <a:gd name="connsiteX5" fmla="*/ 3624 w 3624"/>
                <a:gd name="connsiteY5" fmla="*/ 0 h 6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24" h="6338">
                  <a:moveTo>
                    <a:pt x="3624" y="0"/>
                  </a:moveTo>
                  <a:lnTo>
                    <a:pt x="0" y="0"/>
                  </a:lnTo>
                  <a:lnTo>
                    <a:pt x="1140" y="6338"/>
                  </a:lnTo>
                  <a:lnTo>
                    <a:pt x="2696" y="6338"/>
                  </a:lnTo>
                  <a:lnTo>
                    <a:pt x="3624" y="0"/>
                  </a:lnTo>
                  <a:lnTo>
                    <a:pt x="3624" y="0"/>
                  </a:lnTo>
                  <a:close/>
                </a:path>
              </a:pathLst>
            </a:custGeom>
            <a:solidFill>
              <a:srgbClr val="3B3B3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8" name="Freeform: Shape 3147">
              <a:extLst>
                <a:ext uri="{FF2B5EF4-FFF2-40B4-BE49-F238E27FC236}">
                  <a16:creationId xmlns:a16="http://schemas.microsoft.com/office/drawing/2014/main" id="{BFB0DB1F-D141-CEB0-5603-376CEBCD77CB}"/>
                </a:ext>
              </a:extLst>
            </p:cNvPr>
            <p:cNvSpPr/>
            <p:nvPr/>
          </p:nvSpPr>
          <p:spPr>
            <a:xfrm>
              <a:off x="9352427" y="3771746"/>
              <a:ext cx="14722" cy="61169"/>
            </a:xfrm>
            <a:custGeom>
              <a:avLst/>
              <a:gdLst>
                <a:gd name="connsiteX0" fmla="*/ 0 w 14722"/>
                <a:gd name="connsiteY0" fmla="*/ 373 h 61169"/>
                <a:gd name="connsiteX1" fmla="*/ 3395 w 14722"/>
                <a:gd name="connsiteY1" fmla="*/ 61015 h 61169"/>
                <a:gd name="connsiteX2" fmla="*/ 11635 w 14722"/>
                <a:gd name="connsiteY2" fmla="*/ 61169 h 61169"/>
                <a:gd name="connsiteX3" fmla="*/ 14706 w 14722"/>
                <a:gd name="connsiteY3" fmla="*/ 22111 h 61169"/>
                <a:gd name="connsiteX4" fmla="*/ 12883 w 14722"/>
                <a:gd name="connsiteY4" fmla="*/ 0 h 61169"/>
                <a:gd name="connsiteX5" fmla="*/ 0 w 14722"/>
                <a:gd name="connsiteY5" fmla="*/ 373 h 61169"/>
                <a:gd name="connsiteX6" fmla="*/ 0 w 14722"/>
                <a:gd name="connsiteY6" fmla="*/ 373 h 6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22" h="61169">
                  <a:moveTo>
                    <a:pt x="0" y="373"/>
                  </a:moveTo>
                  <a:lnTo>
                    <a:pt x="3395" y="61015"/>
                  </a:lnTo>
                  <a:lnTo>
                    <a:pt x="11635" y="61169"/>
                  </a:lnTo>
                  <a:cubicBezTo>
                    <a:pt x="11635" y="61169"/>
                    <a:pt x="14482" y="37139"/>
                    <a:pt x="14706" y="22111"/>
                  </a:cubicBezTo>
                  <a:cubicBezTo>
                    <a:pt x="14928" y="7084"/>
                    <a:pt x="12883" y="0"/>
                    <a:pt x="12883" y="0"/>
                  </a:cubicBezTo>
                  <a:lnTo>
                    <a:pt x="0" y="373"/>
                  </a:lnTo>
                  <a:lnTo>
                    <a:pt x="0" y="373"/>
                  </a:lnTo>
                  <a:close/>
                </a:path>
              </a:pathLst>
            </a:custGeom>
            <a:solidFill>
              <a:srgbClr val="EFCBA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9" name="Freeform: Shape 3148">
              <a:extLst>
                <a:ext uri="{FF2B5EF4-FFF2-40B4-BE49-F238E27FC236}">
                  <a16:creationId xmlns:a16="http://schemas.microsoft.com/office/drawing/2014/main" id="{8C3E0A6A-7D15-D562-B5DB-4FC95CB63901}"/>
                </a:ext>
              </a:extLst>
            </p:cNvPr>
            <p:cNvSpPr/>
            <p:nvPr/>
          </p:nvSpPr>
          <p:spPr>
            <a:xfrm>
              <a:off x="9349573" y="3830031"/>
              <a:ext cx="14714" cy="15952"/>
            </a:xfrm>
            <a:custGeom>
              <a:avLst/>
              <a:gdLst>
                <a:gd name="connsiteX0" fmla="*/ 6248 w 14714"/>
                <a:gd name="connsiteY0" fmla="*/ 2730 h 15952"/>
                <a:gd name="connsiteX1" fmla="*/ 3386 w 14714"/>
                <a:gd name="connsiteY1" fmla="*/ 9651 h 15952"/>
                <a:gd name="connsiteX2" fmla="*/ 304 w 14714"/>
                <a:gd name="connsiteY2" fmla="*/ 13282 h 15952"/>
                <a:gd name="connsiteX3" fmla="*/ 5286 w 14714"/>
                <a:gd name="connsiteY3" fmla="*/ 15462 h 15952"/>
                <a:gd name="connsiteX4" fmla="*/ 14714 w 14714"/>
                <a:gd name="connsiteY4" fmla="*/ 7627 h 15952"/>
                <a:gd name="connsiteX5" fmla="*/ 14489 w 14714"/>
                <a:gd name="connsiteY5" fmla="*/ 2884 h 15952"/>
                <a:gd name="connsiteX6" fmla="*/ 10303 w 14714"/>
                <a:gd name="connsiteY6" fmla="*/ 0 h 15952"/>
                <a:gd name="connsiteX7" fmla="*/ 6248 w 14714"/>
                <a:gd name="connsiteY7" fmla="*/ 2730 h 15952"/>
                <a:gd name="connsiteX8" fmla="*/ 6248 w 14714"/>
                <a:gd name="connsiteY8" fmla="*/ 2730 h 15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14" h="15952">
                  <a:moveTo>
                    <a:pt x="6248" y="2730"/>
                  </a:moveTo>
                  <a:cubicBezTo>
                    <a:pt x="6248" y="2730"/>
                    <a:pt x="4456" y="7373"/>
                    <a:pt x="3386" y="9651"/>
                  </a:cubicBezTo>
                  <a:cubicBezTo>
                    <a:pt x="2316" y="11929"/>
                    <a:pt x="1396" y="11791"/>
                    <a:pt x="304" y="13282"/>
                  </a:cubicBezTo>
                  <a:cubicBezTo>
                    <a:pt x="-914" y="14946"/>
                    <a:pt x="1685" y="16876"/>
                    <a:pt x="5286" y="15462"/>
                  </a:cubicBezTo>
                  <a:cubicBezTo>
                    <a:pt x="8889" y="14048"/>
                    <a:pt x="14714" y="7627"/>
                    <a:pt x="14714" y="7627"/>
                  </a:cubicBezTo>
                  <a:lnTo>
                    <a:pt x="14489" y="2884"/>
                  </a:lnTo>
                  <a:lnTo>
                    <a:pt x="10303" y="0"/>
                  </a:lnTo>
                  <a:lnTo>
                    <a:pt x="6248" y="2730"/>
                  </a:lnTo>
                  <a:lnTo>
                    <a:pt x="6248" y="2730"/>
                  </a:lnTo>
                  <a:close/>
                </a:path>
              </a:pathLst>
            </a:custGeom>
            <a:solidFill>
              <a:srgbClr val="EFCBA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0" name="Freeform: Shape 3149">
              <a:extLst>
                <a:ext uri="{FF2B5EF4-FFF2-40B4-BE49-F238E27FC236}">
                  <a16:creationId xmlns:a16="http://schemas.microsoft.com/office/drawing/2014/main" id="{D8DE5F07-5E70-82CD-93BC-A1D09FCE4D88}"/>
                </a:ext>
              </a:extLst>
            </p:cNvPr>
            <p:cNvSpPr/>
            <p:nvPr/>
          </p:nvSpPr>
          <p:spPr>
            <a:xfrm>
              <a:off x="9340020" y="3837275"/>
              <a:ext cx="26676" cy="15045"/>
            </a:xfrm>
            <a:custGeom>
              <a:avLst/>
              <a:gdLst>
                <a:gd name="connsiteX0" fmla="*/ 24423 w 26676"/>
                <a:gd name="connsiteY0" fmla="*/ 0 h 15045"/>
                <a:gd name="connsiteX1" fmla="*/ 25198 w 26676"/>
                <a:gd name="connsiteY1" fmla="*/ 8708 h 15045"/>
                <a:gd name="connsiteX2" fmla="*/ 24823 w 26676"/>
                <a:gd name="connsiteY2" fmla="*/ 9552 h 15045"/>
                <a:gd name="connsiteX3" fmla="*/ 21926 w 26676"/>
                <a:gd name="connsiteY3" fmla="*/ 10361 h 15045"/>
                <a:gd name="connsiteX4" fmla="*/ 20542 w 26676"/>
                <a:gd name="connsiteY4" fmla="*/ 9056 h 15045"/>
                <a:gd name="connsiteX5" fmla="*/ 14507 w 26676"/>
                <a:gd name="connsiteY5" fmla="*/ 12426 h 15045"/>
                <a:gd name="connsiteX6" fmla="*/ 11090 w 26676"/>
                <a:gd name="connsiteY6" fmla="*/ 13777 h 15045"/>
                <a:gd name="connsiteX7" fmla="*/ 6509 w 26676"/>
                <a:gd name="connsiteY7" fmla="*/ 14654 h 15045"/>
                <a:gd name="connsiteX8" fmla="*/ 6 w 26676"/>
                <a:gd name="connsiteY8" fmla="*/ 13926 h 15045"/>
                <a:gd name="connsiteX9" fmla="*/ 9979 w 26676"/>
                <a:gd name="connsiteY9" fmla="*/ 5587 h 15045"/>
                <a:gd name="connsiteX10" fmla="*/ 14917 w 26676"/>
                <a:gd name="connsiteY10" fmla="*/ 7451 h 15045"/>
                <a:gd name="connsiteX11" fmla="*/ 24423 w 26676"/>
                <a:gd name="connsiteY11" fmla="*/ 0 h 15045"/>
                <a:gd name="connsiteX12" fmla="*/ 24423 w 26676"/>
                <a:gd name="connsiteY12" fmla="*/ 0 h 1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676" h="15045">
                  <a:moveTo>
                    <a:pt x="24423" y="0"/>
                  </a:moveTo>
                  <a:cubicBezTo>
                    <a:pt x="24423" y="0"/>
                    <a:pt x="28930" y="5688"/>
                    <a:pt x="25198" y="8708"/>
                  </a:cubicBezTo>
                  <a:cubicBezTo>
                    <a:pt x="25015" y="8855"/>
                    <a:pt x="24905" y="9176"/>
                    <a:pt x="24823" y="9552"/>
                  </a:cubicBezTo>
                  <a:lnTo>
                    <a:pt x="21926" y="10361"/>
                  </a:lnTo>
                  <a:cubicBezTo>
                    <a:pt x="21589" y="9543"/>
                    <a:pt x="21150" y="8952"/>
                    <a:pt x="20542" y="9056"/>
                  </a:cubicBezTo>
                  <a:cubicBezTo>
                    <a:pt x="18096" y="9339"/>
                    <a:pt x="16785" y="11072"/>
                    <a:pt x="14507" y="12426"/>
                  </a:cubicBezTo>
                  <a:cubicBezTo>
                    <a:pt x="13575" y="12980"/>
                    <a:pt x="12498" y="13480"/>
                    <a:pt x="11090" y="13777"/>
                  </a:cubicBezTo>
                  <a:cubicBezTo>
                    <a:pt x="9599" y="14093"/>
                    <a:pt x="8013" y="14408"/>
                    <a:pt x="6509" y="14654"/>
                  </a:cubicBezTo>
                  <a:cubicBezTo>
                    <a:pt x="3125" y="15206"/>
                    <a:pt x="197" y="15344"/>
                    <a:pt x="6" y="13926"/>
                  </a:cubicBezTo>
                  <a:cubicBezTo>
                    <a:pt x="-272" y="11877"/>
                    <a:pt x="9979" y="5585"/>
                    <a:pt x="9979" y="5587"/>
                  </a:cubicBezTo>
                  <a:cubicBezTo>
                    <a:pt x="9979" y="5587"/>
                    <a:pt x="11306" y="8848"/>
                    <a:pt x="14917" y="7451"/>
                  </a:cubicBezTo>
                  <a:cubicBezTo>
                    <a:pt x="18528" y="6055"/>
                    <a:pt x="24423" y="0"/>
                    <a:pt x="24423" y="0"/>
                  </a:cubicBezTo>
                  <a:lnTo>
                    <a:pt x="24423" y="0"/>
                  </a:lnTo>
                  <a:close/>
                </a:path>
              </a:pathLst>
            </a:custGeom>
            <a:solidFill>
              <a:srgbClr val="413F3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1" name="Freeform: Shape 3150">
              <a:extLst>
                <a:ext uri="{FF2B5EF4-FFF2-40B4-BE49-F238E27FC236}">
                  <a16:creationId xmlns:a16="http://schemas.microsoft.com/office/drawing/2014/main" id="{E1B857DE-A0A6-DC3A-F315-567F6A2625DC}"/>
                </a:ext>
              </a:extLst>
            </p:cNvPr>
            <p:cNvSpPr/>
            <p:nvPr/>
          </p:nvSpPr>
          <p:spPr>
            <a:xfrm>
              <a:off x="9361592" y="3788339"/>
              <a:ext cx="5554" cy="51649"/>
            </a:xfrm>
            <a:custGeom>
              <a:avLst/>
              <a:gdLst>
                <a:gd name="connsiteX0" fmla="*/ 5514 w 5554"/>
                <a:gd name="connsiteY0" fmla="*/ 0 h 51649"/>
                <a:gd name="connsiteX1" fmla="*/ 5539 w 5554"/>
                <a:gd name="connsiteY1" fmla="*/ 5517 h 51649"/>
                <a:gd name="connsiteX2" fmla="*/ 2470 w 5554"/>
                <a:gd name="connsiteY2" fmla="*/ 44574 h 51649"/>
                <a:gd name="connsiteX3" fmla="*/ 2687 w 5554"/>
                <a:gd name="connsiteY3" fmla="*/ 49099 h 51649"/>
                <a:gd name="connsiteX4" fmla="*/ 0 w 5554"/>
                <a:gd name="connsiteY4" fmla="*/ 51649 h 51649"/>
                <a:gd name="connsiteX5" fmla="*/ 839 w 5554"/>
                <a:gd name="connsiteY5" fmla="*/ 44542 h 51649"/>
                <a:gd name="connsiteX6" fmla="*/ 839 w 5554"/>
                <a:gd name="connsiteY6" fmla="*/ 44440 h 51649"/>
                <a:gd name="connsiteX7" fmla="*/ 3800 w 5554"/>
                <a:gd name="connsiteY7" fmla="*/ 23154 h 51649"/>
                <a:gd name="connsiteX8" fmla="*/ 565 w 5554"/>
                <a:gd name="connsiteY8" fmla="*/ 1525 h 51649"/>
                <a:gd name="connsiteX9" fmla="*/ 5514 w 5554"/>
                <a:gd name="connsiteY9" fmla="*/ 0 h 51649"/>
                <a:gd name="connsiteX10" fmla="*/ 5514 w 5554"/>
                <a:gd name="connsiteY10" fmla="*/ 0 h 5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54" h="51649">
                  <a:moveTo>
                    <a:pt x="5514" y="0"/>
                  </a:moveTo>
                  <a:cubicBezTo>
                    <a:pt x="5553" y="1708"/>
                    <a:pt x="5569" y="3533"/>
                    <a:pt x="5539" y="5517"/>
                  </a:cubicBezTo>
                  <a:cubicBezTo>
                    <a:pt x="5315" y="20546"/>
                    <a:pt x="2470" y="44574"/>
                    <a:pt x="2470" y="44574"/>
                  </a:cubicBezTo>
                  <a:lnTo>
                    <a:pt x="2687" y="49099"/>
                  </a:lnTo>
                  <a:lnTo>
                    <a:pt x="0" y="51649"/>
                  </a:lnTo>
                  <a:lnTo>
                    <a:pt x="839" y="44542"/>
                  </a:lnTo>
                  <a:lnTo>
                    <a:pt x="839" y="44440"/>
                  </a:lnTo>
                  <a:cubicBezTo>
                    <a:pt x="839" y="44440"/>
                    <a:pt x="3460" y="33027"/>
                    <a:pt x="3800" y="23154"/>
                  </a:cubicBezTo>
                  <a:cubicBezTo>
                    <a:pt x="4139" y="13279"/>
                    <a:pt x="565" y="1525"/>
                    <a:pt x="565" y="1525"/>
                  </a:cubicBezTo>
                  <a:lnTo>
                    <a:pt x="5514" y="0"/>
                  </a:lnTo>
                  <a:lnTo>
                    <a:pt x="5514" y="0"/>
                  </a:lnTo>
                  <a:close/>
                </a:path>
              </a:pathLst>
            </a:custGeom>
            <a:solidFill>
              <a:srgbClr val="DDBB9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2" name="Freeform: Shape 3151">
              <a:extLst>
                <a:ext uri="{FF2B5EF4-FFF2-40B4-BE49-F238E27FC236}">
                  <a16:creationId xmlns:a16="http://schemas.microsoft.com/office/drawing/2014/main" id="{D04B7722-D0E9-8CC4-5115-1214A1FE1847}"/>
                </a:ext>
              </a:extLst>
            </p:cNvPr>
            <p:cNvSpPr/>
            <p:nvPr/>
          </p:nvSpPr>
          <p:spPr>
            <a:xfrm>
              <a:off x="9361592" y="3845983"/>
              <a:ext cx="3626" cy="6338"/>
            </a:xfrm>
            <a:custGeom>
              <a:avLst/>
              <a:gdLst>
                <a:gd name="connsiteX0" fmla="*/ 3626 w 3626"/>
                <a:gd name="connsiteY0" fmla="*/ 0 h 6338"/>
                <a:gd name="connsiteX1" fmla="*/ 0 w 3626"/>
                <a:gd name="connsiteY1" fmla="*/ 0 h 6338"/>
                <a:gd name="connsiteX2" fmla="*/ 1140 w 3626"/>
                <a:gd name="connsiteY2" fmla="*/ 6338 h 6338"/>
                <a:gd name="connsiteX3" fmla="*/ 2696 w 3626"/>
                <a:gd name="connsiteY3" fmla="*/ 6338 h 6338"/>
                <a:gd name="connsiteX4" fmla="*/ 3626 w 3626"/>
                <a:gd name="connsiteY4" fmla="*/ 0 h 6338"/>
                <a:gd name="connsiteX5" fmla="*/ 3626 w 3626"/>
                <a:gd name="connsiteY5" fmla="*/ 0 h 6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26" h="6338">
                  <a:moveTo>
                    <a:pt x="3626" y="0"/>
                  </a:moveTo>
                  <a:lnTo>
                    <a:pt x="0" y="0"/>
                  </a:lnTo>
                  <a:lnTo>
                    <a:pt x="1140" y="6338"/>
                  </a:lnTo>
                  <a:lnTo>
                    <a:pt x="2696" y="6338"/>
                  </a:lnTo>
                  <a:lnTo>
                    <a:pt x="3626" y="0"/>
                  </a:lnTo>
                  <a:lnTo>
                    <a:pt x="3626" y="0"/>
                  </a:lnTo>
                  <a:close/>
                </a:path>
              </a:pathLst>
            </a:custGeom>
            <a:solidFill>
              <a:srgbClr val="413F3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3" name="Freeform: Shape 3152">
              <a:extLst>
                <a:ext uri="{FF2B5EF4-FFF2-40B4-BE49-F238E27FC236}">
                  <a16:creationId xmlns:a16="http://schemas.microsoft.com/office/drawing/2014/main" id="{7D13FEEB-12A1-7EE5-76D2-FC7372201F2F}"/>
                </a:ext>
              </a:extLst>
            </p:cNvPr>
            <p:cNvSpPr/>
            <p:nvPr/>
          </p:nvSpPr>
          <p:spPr>
            <a:xfrm>
              <a:off x="9335045" y="3754782"/>
              <a:ext cx="21965" cy="67633"/>
            </a:xfrm>
            <a:custGeom>
              <a:avLst/>
              <a:gdLst>
                <a:gd name="connsiteX0" fmla="*/ 21965 w 21965"/>
                <a:gd name="connsiteY0" fmla="*/ 0 h 67633"/>
                <a:gd name="connsiteX1" fmla="*/ 16283 w 21965"/>
                <a:gd name="connsiteY1" fmla="*/ 67250 h 67633"/>
                <a:gd name="connsiteX2" fmla="*/ 6453 w 21965"/>
                <a:gd name="connsiteY2" fmla="*/ 67633 h 67633"/>
                <a:gd name="connsiteX3" fmla="*/ 0 w 21965"/>
                <a:gd name="connsiteY3" fmla="*/ 446 h 67633"/>
                <a:gd name="connsiteX4" fmla="*/ 21965 w 21965"/>
                <a:gd name="connsiteY4" fmla="*/ 0 h 67633"/>
                <a:gd name="connsiteX5" fmla="*/ 21965 w 21965"/>
                <a:gd name="connsiteY5" fmla="*/ 0 h 6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65" h="67633">
                  <a:moveTo>
                    <a:pt x="21965" y="0"/>
                  </a:moveTo>
                  <a:lnTo>
                    <a:pt x="16283" y="67250"/>
                  </a:lnTo>
                  <a:lnTo>
                    <a:pt x="6453" y="67633"/>
                  </a:lnTo>
                  <a:lnTo>
                    <a:pt x="0" y="446"/>
                  </a:lnTo>
                  <a:lnTo>
                    <a:pt x="21965" y="0"/>
                  </a:lnTo>
                  <a:lnTo>
                    <a:pt x="21965" y="0"/>
                  </a:lnTo>
                  <a:close/>
                </a:path>
              </a:pathLst>
            </a:custGeom>
            <a:solidFill>
              <a:srgbClr val="ADD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4" name="Freeform: Shape 3153">
              <a:extLst>
                <a:ext uri="{FF2B5EF4-FFF2-40B4-BE49-F238E27FC236}">
                  <a16:creationId xmlns:a16="http://schemas.microsoft.com/office/drawing/2014/main" id="{770C5C42-3794-2DDF-6EFD-4955F64EEB28}"/>
                </a:ext>
              </a:extLst>
            </p:cNvPr>
            <p:cNvSpPr/>
            <p:nvPr/>
          </p:nvSpPr>
          <p:spPr>
            <a:xfrm>
              <a:off x="9313448" y="3630367"/>
              <a:ext cx="15030" cy="53042"/>
            </a:xfrm>
            <a:custGeom>
              <a:avLst/>
              <a:gdLst>
                <a:gd name="connsiteX0" fmla="*/ 11467 w 15030"/>
                <a:gd name="connsiteY0" fmla="*/ 0 h 53042"/>
                <a:gd name="connsiteX1" fmla="*/ 7679 w 15030"/>
                <a:gd name="connsiteY1" fmla="*/ 36741 h 53042"/>
                <a:gd name="connsiteX2" fmla="*/ 3343 w 15030"/>
                <a:gd name="connsiteY2" fmla="*/ 36635 h 53042"/>
                <a:gd name="connsiteX3" fmla="*/ 0 w 15030"/>
                <a:gd name="connsiteY3" fmla="*/ 52664 h 53042"/>
                <a:gd name="connsiteX4" fmla="*/ 13718 w 15030"/>
                <a:gd name="connsiteY4" fmla="*/ 53042 h 53042"/>
                <a:gd name="connsiteX5" fmla="*/ 15030 w 15030"/>
                <a:gd name="connsiteY5" fmla="*/ 34033 h 53042"/>
                <a:gd name="connsiteX6" fmla="*/ 11467 w 15030"/>
                <a:gd name="connsiteY6" fmla="*/ 0 h 53042"/>
                <a:gd name="connsiteX7" fmla="*/ 11467 w 15030"/>
                <a:gd name="connsiteY7" fmla="*/ 0 h 5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030" h="53042">
                  <a:moveTo>
                    <a:pt x="11467" y="0"/>
                  </a:moveTo>
                  <a:lnTo>
                    <a:pt x="7679" y="36741"/>
                  </a:lnTo>
                  <a:lnTo>
                    <a:pt x="3343" y="36635"/>
                  </a:lnTo>
                  <a:lnTo>
                    <a:pt x="0" y="52664"/>
                  </a:lnTo>
                  <a:lnTo>
                    <a:pt x="13718" y="53042"/>
                  </a:lnTo>
                  <a:lnTo>
                    <a:pt x="15030" y="34033"/>
                  </a:lnTo>
                  <a:lnTo>
                    <a:pt x="11467" y="0"/>
                  </a:lnTo>
                  <a:lnTo>
                    <a:pt x="11467" y="0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5" name="Freeform: Shape 3154">
              <a:extLst>
                <a:ext uri="{FF2B5EF4-FFF2-40B4-BE49-F238E27FC236}">
                  <a16:creationId xmlns:a16="http://schemas.microsoft.com/office/drawing/2014/main" id="{CEFD88D0-0036-471D-0700-D726753CE3DF}"/>
                </a:ext>
              </a:extLst>
            </p:cNvPr>
            <p:cNvSpPr/>
            <p:nvPr/>
          </p:nvSpPr>
          <p:spPr>
            <a:xfrm>
              <a:off x="9346673" y="3632164"/>
              <a:ext cx="38691" cy="57632"/>
            </a:xfrm>
            <a:custGeom>
              <a:avLst/>
              <a:gdLst>
                <a:gd name="connsiteX0" fmla="*/ 35400 w 38691"/>
                <a:gd name="connsiteY0" fmla="*/ 9979 h 57632"/>
                <a:gd name="connsiteX1" fmla="*/ 37530 w 38691"/>
                <a:gd name="connsiteY1" fmla="*/ 37489 h 57632"/>
                <a:gd name="connsiteX2" fmla="*/ 0 w 38691"/>
                <a:gd name="connsiteY2" fmla="*/ 54697 h 57632"/>
                <a:gd name="connsiteX3" fmla="*/ 32747 w 38691"/>
                <a:gd name="connsiteY3" fmla="*/ 0 h 57632"/>
                <a:gd name="connsiteX4" fmla="*/ 35400 w 38691"/>
                <a:gd name="connsiteY4" fmla="*/ 9979 h 57632"/>
                <a:gd name="connsiteX5" fmla="*/ 35400 w 38691"/>
                <a:gd name="connsiteY5" fmla="*/ 9979 h 57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691" h="57632">
                  <a:moveTo>
                    <a:pt x="35400" y="9979"/>
                  </a:moveTo>
                  <a:cubicBezTo>
                    <a:pt x="29856" y="26671"/>
                    <a:pt x="34660" y="27748"/>
                    <a:pt x="37530" y="37489"/>
                  </a:cubicBezTo>
                  <a:cubicBezTo>
                    <a:pt x="46557" y="68140"/>
                    <a:pt x="0" y="54697"/>
                    <a:pt x="0" y="54697"/>
                  </a:cubicBezTo>
                  <a:lnTo>
                    <a:pt x="32747" y="0"/>
                  </a:lnTo>
                  <a:cubicBezTo>
                    <a:pt x="32747" y="0"/>
                    <a:pt x="36824" y="5697"/>
                    <a:pt x="35400" y="9979"/>
                  </a:cubicBezTo>
                  <a:lnTo>
                    <a:pt x="35400" y="9979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6" name="Freeform: Shape 3155">
              <a:extLst>
                <a:ext uri="{FF2B5EF4-FFF2-40B4-BE49-F238E27FC236}">
                  <a16:creationId xmlns:a16="http://schemas.microsoft.com/office/drawing/2014/main" id="{AF383818-BB5D-BC6E-05AD-79F510699026}"/>
                </a:ext>
              </a:extLst>
            </p:cNvPr>
            <p:cNvSpPr/>
            <p:nvPr/>
          </p:nvSpPr>
          <p:spPr>
            <a:xfrm>
              <a:off x="9348920" y="3754782"/>
              <a:ext cx="21965" cy="67633"/>
            </a:xfrm>
            <a:custGeom>
              <a:avLst/>
              <a:gdLst>
                <a:gd name="connsiteX0" fmla="*/ 21965 w 21965"/>
                <a:gd name="connsiteY0" fmla="*/ 0 h 67633"/>
                <a:gd name="connsiteX1" fmla="*/ 16283 w 21965"/>
                <a:gd name="connsiteY1" fmla="*/ 67250 h 67633"/>
                <a:gd name="connsiteX2" fmla="*/ 6453 w 21965"/>
                <a:gd name="connsiteY2" fmla="*/ 67633 h 67633"/>
                <a:gd name="connsiteX3" fmla="*/ 0 w 21965"/>
                <a:gd name="connsiteY3" fmla="*/ 446 h 67633"/>
                <a:gd name="connsiteX4" fmla="*/ 21965 w 21965"/>
                <a:gd name="connsiteY4" fmla="*/ 0 h 67633"/>
                <a:gd name="connsiteX5" fmla="*/ 21965 w 21965"/>
                <a:gd name="connsiteY5" fmla="*/ 0 h 6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65" h="67633">
                  <a:moveTo>
                    <a:pt x="21965" y="0"/>
                  </a:moveTo>
                  <a:lnTo>
                    <a:pt x="16283" y="67250"/>
                  </a:lnTo>
                  <a:lnTo>
                    <a:pt x="6453" y="67633"/>
                  </a:lnTo>
                  <a:lnTo>
                    <a:pt x="0" y="446"/>
                  </a:lnTo>
                  <a:lnTo>
                    <a:pt x="21965" y="0"/>
                  </a:lnTo>
                  <a:lnTo>
                    <a:pt x="21965" y="0"/>
                  </a:lnTo>
                  <a:close/>
                </a:path>
              </a:pathLst>
            </a:custGeom>
            <a:solidFill>
              <a:srgbClr val="ADD6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7" name="Freeform: Shape 3156">
              <a:extLst>
                <a:ext uri="{FF2B5EF4-FFF2-40B4-BE49-F238E27FC236}">
                  <a16:creationId xmlns:a16="http://schemas.microsoft.com/office/drawing/2014/main" id="{B26A2081-913B-89D2-3BF7-DB8B9E17738A}"/>
                </a:ext>
              </a:extLst>
            </p:cNvPr>
            <p:cNvSpPr/>
            <p:nvPr/>
          </p:nvSpPr>
          <p:spPr>
            <a:xfrm>
              <a:off x="9321918" y="3610840"/>
              <a:ext cx="60622" cy="148602"/>
            </a:xfrm>
            <a:custGeom>
              <a:avLst/>
              <a:gdLst>
                <a:gd name="connsiteX0" fmla="*/ 40554 w 60622"/>
                <a:gd name="connsiteY0" fmla="*/ 3262 h 148602"/>
                <a:gd name="connsiteX1" fmla="*/ 51330 w 60622"/>
                <a:gd name="connsiteY1" fmla="*/ 7900 h 148602"/>
                <a:gd name="connsiteX2" fmla="*/ 43146 w 60622"/>
                <a:gd name="connsiteY2" fmla="*/ 45958 h 148602"/>
                <a:gd name="connsiteX3" fmla="*/ 49316 w 60622"/>
                <a:gd name="connsiteY3" fmla="*/ 64278 h 148602"/>
                <a:gd name="connsiteX4" fmla="*/ 58128 w 60622"/>
                <a:gd name="connsiteY4" fmla="*/ 85515 h 148602"/>
                <a:gd name="connsiteX5" fmla="*/ 59954 w 60622"/>
                <a:gd name="connsiteY5" fmla="*/ 147382 h 148602"/>
                <a:gd name="connsiteX6" fmla="*/ 0 w 60622"/>
                <a:gd name="connsiteY6" fmla="*/ 148603 h 148602"/>
                <a:gd name="connsiteX7" fmla="*/ 6561 w 60622"/>
                <a:gd name="connsiteY7" fmla="*/ 53560 h 148602"/>
                <a:gd name="connsiteX8" fmla="*/ 2997 w 60622"/>
                <a:gd name="connsiteY8" fmla="*/ 19528 h 148602"/>
                <a:gd name="connsiteX9" fmla="*/ 16269 w 60622"/>
                <a:gd name="connsiteY9" fmla="*/ 8728 h 148602"/>
                <a:gd name="connsiteX10" fmla="*/ 18712 w 60622"/>
                <a:gd name="connsiteY10" fmla="*/ 3721 h 148602"/>
                <a:gd name="connsiteX11" fmla="*/ 35458 w 60622"/>
                <a:gd name="connsiteY11" fmla="*/ 0 h 148602"/>
                <a:gd name="connsiteX12" fmla="*/ 40554 w 60622"/>
                <a:gd name="connsiteY12" fmla="*/ 3262 h 148602"/>
                <a:gd name="connsiteX13" fmla="*/ 40554 w 60622"/>
                <a:gd name="connsiteY13" fmla="*/ 3262 h 14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622" h="148602">
                  <a:moveTo>
                    <a:pt x="40554" y="3262"/>
                  </a:moveTo>
                  <a:lnTo>
                    <a:pt x="51330" y="7900"/>
                  </a:lnTo>
                  <a:cubicBezTo>
                    <a:pt x="51330" y="7900"/>
                    <a:pt x="43691" y="38729"/>
                    <a:pt x="43146" y="45958"/>
                  </a:cubicBezTo>
                  <a:cubicBezTo>
                    <a:pt x="42802" y="50513"/>
                    <a:pt x="44987" y="55272"/>
                    <a:pt x="49316" y="64278"/>
                  </a:cubicBezTo>
                  <a:cubicBezTo>
                    <a:pt x="51859" y="69571"/>
                    <a:pt x="56572" y="76130"/>
                    <a:pt x="58128" y="85515"/>
                  </a:cubicBezTo>
                  <a:cubicBezTo>
                    <a:pt x="62329" y="110872"/>
                    <a:pt x="59954" y="147382"/>
                    <a:pt x="59954" y="147382"/>
                  </a:cubicBezTo>
                  <a:lnTo>
                    <a:pt x="0" y="148603"/>
                  </a:lnTo>
                  <a:lnTo>
                    <a:pt x="6561" y="53560"/>
                  </a:lnTo>
                  <a:lnTo>
                    <a:pt x="2997" y="19528"/>
                  </a:lnTo>
                  <a:lnTo>
                    <a:pt x="16269" y="8728"/>
                  </a:lnTo>
                  <a:lnTo>
                    <a:pt x="18712" y="3721"/>
                  </a:lnTo>
                  <a:lnTo>
                    <a:pt x="35458" y="0"/>
                  </a:lnTo>
                  <a:lnTo>
                    <a:pt x="40554" y="3262"/>
                  </a:lnTo>
                  <a:lnTo>
                    <a:pt x="40554" y="3262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8" name="Freeform: Shape 3157">
              <a:extLst>
                <a:ext uri="{FF2B5EF4-FFF2-40B4-BE49-F238E27FC236}">
                  <a16:creationId xmlns:a16="http://schemas.microsoft.com/office/drawing/2014/main" id="{FC1A7A30-2BB9-FFEB-F3BE-BF2D8AFFA096}"/>
                </a:ext>
              </a:extLst>
            </p:cNvPr>
            <p:cNvSpPr/>
            <p:nvPr/>
          </p:nvSpPr>
          <p:spPr>
            <a:xfrm>
              <a:off x="9346673" y="3627802"/>
              <a:ext cx="35650" cy="130973"/>
            </a:xfrm>
            <a:custGeom>
              <a:avLst/>
              <a:gdLst>
                <a:gd name="connsiteX0" fmla="*/ 19336 w 35650"/>
                <a:gd name="connsiteY0" fmla="*/ 0 h 130973"/>
                <a:gd name="connsiteX1" fmla="*/ 18391 w 35650"/>
                <a:gd name="connsiteY1" fmla="*/ 28997 h 130973"/>
                <a:gd name="connsiteX2" fmla="*/ 21974 w 35650"/>
                <a:gd name="connsiteY2" fmla="*/ 41629 h 130973"/>
                <a:gd name="connsiteX3" fmla="*/ 33622 w 35650"/>
                <a:gd name="connsiteY3" fmla="*/ 70162 h 130973"/>
                <a:gd name="connsiteX4" fmla="*/ 35198 w 35650"/>
                <a:gd name="connsiteY4" fmla="*/ 130421 h 130973"/>
                <a:gd name="connsiteX5" fmla="*/ 7950 w 35650"/>
                <a:gd name="connsiteY5" fmla="*/ 130973 h 130973"/>
                <a:gd name="connsiteX6" fmla="*/ 25925 w 35650"/>
                <a:gd name="connsiteY6" fmla="*/ 110134 h 130973"/>
                <a:gd name="connsiteX7" fmla="*/ 27626 w 35650"/>
                <a:gd name="connsiteY7" fmla="*/ 68271 h 130973"/>
                <a:gd name="connsiteX8" fmla="*/ 18076 w 35650"/>
                <a:gd name="connsiteY8" fmla="*/ 48828 h 130973"/>
                <a:gd name="connsiteX9" fmla="*/ 0 w 35650"/>
                <a:gd name="connsiteY9" fmla="*/ 42954 h 130973"/>
                <a:gd name="connsiteX10" fmla="*/ 54 w 35650"/>
                <a:gd name="connsiteY10" fmla="*/ 23462 h 130973"/>
                <a:gd name="connsiteX11" fmla="*/ 13220 w 35650"/>
                <a:gd name="connsiteY11" fmla="*/ 21711 h 130973"/>
                <a:gd name="connsiteX12" fmla="*/ 19336 w 35650"/>
                <a:gd name="connsiteY12" fmla="*/ 0 h 130973"/>
                <a:gd name="connsiteX13" fmla="*/ 19336 w 35650"/>
                <a:gd name="connsiteY13" fmla="*/ 0 h 130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650" h="130973">
                  <a:moveTo>
                    <a:pt x="19336" y="0"/>
                  </a:moveTo>
                  <a:cubicBezTo>
                    <a:pt x="18027" y="5222"/>
                    <a:pt x="15980" y="16387"/>
                    <a:pt x="18391" y="28997"/>
                  </a:cubicBezTo>
                  <a:cubicBezTo>
                    <a:pt x="18212" y="31367"/>
                    <a:pt x="19789" y="36207"/>
                    <a:pt x="21974" y="41629"/>
                  </a:cubicBezTo>
                  <a:cubicBezTo>
                    <a:pt x="26707" y="54801"/>
                    <a:pt x="30315" y="47964"/>
                    <a:pt x="33622" y="70162"/>
                  </a:cubicBezTo>
                  <a:cubicBezTo>
                    <a:pt x="36928" y="92359"/>
                    <a:pt x="35198" y="130421"/>
                    <a:pt x="35198" y="130421"/>
                  </a:cubicBezTo>
                  <a:lnTo>
                    <a:pt x="7950" y="130973"/>
                  </a:lnTo>
                  <a:cubicBezTo>
                    <a:pt x="7950" y="130973"/>
                    <a:pt x="21417" y="125244"/>
                    <a:pt x="25925" y="110134"/>
                  </a:cubicBezTo>
                  <a:cubicBezTo>
                    <a:pt x="30431" y="95023"/>
                    <a:pt x="28517" y="75542"/>
                    <a:pt x="27626" y="68271"/>
                  </a:cubicBezTo>
                  <a:cubicBezTo>
                    <a:pt x="26388" y="58179"/>
                    <a:pt x="18076" y="48828"/>
                    <a:pt x="18076" y="48828"/>
                  </a:cubicBezTo>
                  <a:lnTo>
                    <a:pt x="0" y="42954"/>
                  </a:lnTo>
                  <a:lnTo>
                    <a:pt x="54" y="23462"/>
                  </a:lnTo>
                  <a:lnTo>
                    <a:pt x="13220" y="21711"/>
                  </a:lnTo>
                  <a:lnTo>
                    <a:pt x="19336" y="0"/>
                  </a:lnTo>
                  <a:lnTo>
                    <a:pt x="19336" y="0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9" name="Freeform: Shape 3158">
              <a:extLst>
                <a:ext uri="{FF2B5EF4-FFF2-40B4-BE49-F238E27FC236}">
                  <a16:creationId xmlns:a16="http://schemas.microsoft.com/office/drawing/2014/main" id="{52333FD6-4FAB-3A82-55A2-8EAD1B764BC4}"/>
                </a:ext>
              </a:extLst>
            </p:cNvPr>
            <p:cNvSpPr/>
            <p:nvPr/>
          </p:nvSpPr>
          <p:spPr>
            <a:xfrm>
              <a:off x="9327157" y="3574902"/>
              <a:ext cx="17949" cy="47707"/>
            </a:xfrm>
            <a:custGeom>
              <a:avLst/>
              <a:gdLst>
                <a:gd name="connsiteX0" fmla="*/ 14907 w 17949"/>
                <a:gd name="connsiteY0" fmla="*/ 109 h 47707"/>
                <a:gd name="connsiteX1" fmla="*/ 185 w 17949"/>
                <a:gd name="connsiteY1" fmla="*/ 12567 h 47707"/>
                <a:gd name="connsiteX2" fmla="*/ 4658 w 17949"/>
                <a:gd name="connsiteY2" fmla="*/ 31111 h 47707"/>
                <a:gd name="connsiteX3" fmla="*/ 7293 w 17949"/>
                <a:gd name="connsiteY3" fmla="*/ 47707 h 47707"/>
                <a:gd name="connsiteX4" fmla="*/ 9420 w 17949"/>
                <a:gd name="connsiteY4" fmla="*/ 45976 h 47707"/>
                <a:gd name="connsiteX5" fmla="*/ 11030 w 17949"/>
                <a:gd name="connsiteY5" fmla="*/ 44666 h 47707"/>
                <a:gd name="connsiteX6" fmla="*/ 17949 w 17949"/>
                <a:gd name="connsiteY6" fmla="*/ 37370 h 47707"/>
                <a:gd name="connsiteX7" fmla="*/ 14907 w 17949"/>
                <a:gd name="connsiteY7" fmla="*/ 109 h 47707"/>
                <a:gd name="connsiteX8" fmla="*/ 14907 w 17949"/>
                <a:gd name="connsiteY8" fmla="*/ 109 h 47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949" h="47707">
                  <a:moveTo>
                    <a:pt x="14907" y="109"/>
                  </a:moveTo>
                  <a:cubicBezTo>
                    <a:pt x="14907" y="109"/>
                    <a:pt x="2530" y="-2024"/>
                    <a:pt x="185" y="12567"/>
                  </a:cubicBezTo>
                  <a:cubicBezTo>
                    <a:pt x="-682" y="17977"/>
                    <a:pt x="1612" y="24552"/>
                    <a:pt x="4658" y="31111"/>
                  </a:cubicBezTo>
                  <a:cubicBezTo>
                    <a:pt x="8761" y="39951"/>
                    <a:pt x="7293" y="47707"/>
                    <a:pt x="7293" y="47707"/>
                  </a:cubicBezTo>
                  <a:lnTo>
                    <a:pt x="9420" y="45976"/>
                  </a:lnTo>
                  <a:lnTo>
                    <a:pt x="11030" y="44666"/>
                  </a:lnTo>
                  <a:lnTo>
                    <a:pt x="17949" y="37370"/>
                  </a:lnTo>
                  <a:lnTo>
                    <a:pt x="14907" y="109"/>
                  </a:lnTo>
                  <a:lnTo>
                    <a:pt x="14907" y="109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0" name="Freeform: Shape 3159">
              <a:extLst>
                <a:ext uri="{FF2B5EF4-FFF2-40B4-BE49-F238E27FC236}">
                  <a16:creationId xmlns:a16="http://schemas.microsoft.com/office/drawing/2014/main" id="{6C0D6782-E896-84B3-EA86-07212E6C9584}"/>
                </a:ext>
              </a:extLst>
            </p:cNvPr>
            <p:cNvSpPr/>
            <p:nvPr/>
          </p:nvSpPr>
          <p:spPr>
            <a:xfrm>
              <a:off x="9338657" y="3595035"/>
              <a:ext cx="16831" cy="24845"/>
            </a:xfrm>
            <a:custGeom>
              <a:avLst/>
              <a:gdLst>
                <a:gd name="connsiteX0" fmla="*/ 0 w 16831"/>
                <a:gd name="connsiteY0" fmla="*/ 13257 h 24845"/>
                <a:gd name="connsiteX1" fmla="*/ 4225 w 16831"/>
                <a:gd name="connsiteY1" fmla="*/ 12702 h 24845"/>
                <a:gd name="connsiteX2" fmla="*/ 5073 w 16831"/>
                <a:gd name="connsiteY2" fmla="*/ 15425 h 24845"/>
                <a:gd name="connsiteX3" fmla="*/ 2698 w 16831"/>
                <a:gd name="connsiteY3" fmla="*/ 20669 h 24845"/>
                <a:gd name="connsiteX4" fmla="*/ 3748 w 16831"/>
                <a:gd name="connsiteY4" fmla="*/ 24846 h 24845"/>
                <a:gd name="connsiteX5" fmla="*/ 16832 w 16831"/>
                <a:gd name="connsiteY5" fmla="*/ 16945 h 24845"/>
                <a:gd name="connsiteX6" fmla="*/ 15156 w 16831"/>
                <a:gd name="connsiteY6" fmla="*/ 10248 h 24845"/>
                <a:gd name="connsiteX7" fmla="*/ 14582 w 16831"/>
                <a:gd name="connsiteY7" fmla="*/ 0 h 24845"/>
                <a:gd name="connsiteX8" fmla="*/ 5867 w 16831"/>
                <a:gd name="connsiteY8" fmla="*/ 2346 h 24845"/>
                <a:gd name="connsiteX9" fmla="*/ 4304 w 16831"/>
                <a:gd name="connsiteY9" fmla="*/ 8276 h 24845"/>
                <a:gd name="connsiteX10" fmla="*/ 0 w 16831"/>
                <a:gd name="connsiteY10" fmla="*/ 13257 h 24845"/>
                <a:gd name="connsiteX11" fmla="*/ 0 w 16831"/>
                <a:gd name="connsiteY11" fmla="*/ 13257 h 24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831" h="24845">
                  <a:moveTo>
                    <a:pt x="0" y="13257"/>
                  </a:moveTo>
                  <a:lnTo>
                    <a:pt x="4225" y="12702"/>
                  </a:lnTo>
                  <a:lnTo>
                    <a:pt x="5073" y="15425"/>
                  </a:lnTo>
                  <a:lnTo>
                    <a:pt x="2698" y="20669"/>
                  </a:lnTo>
                  <a:lnTo>
                    <a:pt x="3748" y="24846"/>
                  </a:lnTo>
                  <a:lnTo>
                    <a:pt x="16832" y="16945"/>
                  </a:lnTo>
                  <a:lnTo>
                    <a:pt x="15156" y="10248"/>
                  </a:lnTo>
                  <a:lnTo>
                    <a:pt x="14582" y="0"/>
                  </a:lnTo>
                  <a:lnTo>
                    <a:pt x="5867" y="2346"/>
                  </a:lnTo>
                  <a:cubicBezTo>
                    <a:pt x="5867" y="2346"/>
                    <a:pt x="5028" y="6363"/>
                    <a:pt x="4304" y="8276"/>
                  </a:cubicBezTo>
                  <a:cubicBezTo>
                    <a:pt x="3282" y="10974"/>
                    <a:pt x="0" y="13257"/>
                    <a:pt x="0" y="13257"/>
                  </a:cubicBezTo>
                  <a:lnTo>
                    <a:pt x="0" y="13257"/>
                  </a:lnTo>
                  <a:close/>
                </a:path>
              </a:pathLst>
            </a:custGeom>
            <a:solidFill>
              <a:srgbClr val="FFD9B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1" name="Freeform: Shape 3160">
              <a:extLst>
                <a:ext uri="{FF2B5EF4-FFF2-40B4-BE49-F238E27FC236}">
                  <a16:creationId xmlns:a16="http://schemas.microsoft.com/office/drawing/2014/main" id="{F465E062-3DD0-EED1-99A5-4B0A08BC8AC2}"/>
                </a:ext>
              </a:extLst>
            </p:cNvPr>
            <p:cNvSpPr/>
            <p:nvPr/>
          </p:nvSpPr>
          <p:spPr>
            <a:xfrm>
              <a:off x="9329686" y="3580511"/>
              <a:ext cx="14989" cy="27782"/>
            </a:xfrm>
            <a:custGeom>
              <a:avLst/>
              <a:gdLst>
                <a:gd name="connsiteX0" fmla="*/ 171 w 14989"/>
                <a:gd name="connsiteY0" fmla="*/ 13670 h 27782"/>
                <a:gd name="connsiteX1" fmla="*/ 6796 w 14989"/>
                <a:gd name="connsiteY1" fmla="*/ 0 h 27782"/>
                <a:gd name="connsiteX2" fmla="*/ 14990 w 14989"/>
                <a:gd name="connsiteY2" fmla="*/ 14143 h 27782"/>
                <a:gd name="connsiteX3" fmla="*/ 8971 w 14989"/>
                <a:gd name="connsiteY3" fmla="*/ 27782 h 27782"/>
                <a:gd name="connsiteX4" fmla="*/ 171 w 14989"/>
                <a:gd name="connsiteY4" fmla="*/ 13670 h 27782"/>
                <a:gd name="connsiteX5" fmla="*/ 171 w 14989"/>
                <a:gd name="connsiteY5" fmla="*/ 13670 h 2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89" h="27782">
                  <a:moveTo>
                    <a:pt x="171" y="13670"/>
                  </a:moveTo>
                  <a:cubicBezTo>
                    <a:pt x="-770" y="5915"/>
                    <a:pt x="2272" y="0"/>
                    <a:pt x="6796" y="0"/>
                  </a:cubicBezTo>
                  <a:cubicBezTo>
                    <a:pt x="11321" y="0"/>
                    <a:pt x="14990" y="6331"/>
                    <a:pt x="14990" y="14143"/>
                  </a:cubicBezTo>
                  <a:cubicBezTo>
                    <a:pt x="14990" y="21955"/>
                    <a:pt x="13495" y="27782"/>
                    <a:pt x="8971" y="27782"/>
                  </a:cubicBezTo>
                  <a:cubicBezTo>
                    <a:pt x="4446" y="27782"/>
                    <a:pt x="1155" y="21774"/>
                    <a:pt x="171" y="13670"/>
                  </a:cubicBezTo>
                  <a:lnTo>
                    <a:pt x="171" y="13670"/>
                  </a:lnTo>
                  <a:close/>
                </a:path>
              </a:pathLst>
            </a:custGeom>
            <a:solidFill>
              <a:srgbClr val="FFD9B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2" name="Freeform: Shape 3161">
              <a:extLst>
                <a:ext uri="{FF2B5EF4-FFF2-40B4-BE49-F238E27FC236}">
                  <a16:creationId xmlns:a16="http://schemas.microsoft.com/office/drawing/2014/main" id="{E99A2143-4436-F763-F124-9199378EB21E}"/>
                </a:ext>
              </a:extLst>
            </p:cNvPr>
            <p:cNvSpPr/>
            <p:nvPr/>
          </p:nvSpPr>
          <p:spPr>
            <a:xfrm>
              <a:off x="9340205" y="3601564"/>
              <a:ext cx="6834" cy="8896"/>
            </a:xfrm>
            <a:custGeom>
              <a:avLst/>
              <a:gdLst>
                <a:gd name="connsiteX0" fmla="*/ 0 w 6834"/>
                <a:gd name="connsiteY0" fmla="*/ 6525 h 8896"/>
                <a:gd name="connsiteX1" fmla="*/ 2676 w 6834"/>
                <a:gd name="connsiteY1" fmla="*/ 6173 h 8896"/>
                <a:gd name="connsiteX2" fmla="*/ 3524 w 6834"/>
                <a:gd name="connsiteY2" fmla="*/ 8896 h 8896"/>
                <a:gd name="connsiteX3" fmla="*/ 6835 w 6834"/>
                <a:gd name="connsiteY3" fmla="*/ 0 h 8896"/>
                <a:gd name="connsiteX4" fmla="*/ 3524 w 6834"/>
                <a:gd name="connsiteY4" fmla="*/ 4521 h 8896"/>
                <a:gd name="connsiteX5" fmla="*/ 0 w 6834"/>
                <a:gd name="connsiteY5" fmla="*/ 6525 h 8896"/>
                <a:gd name="connsiteX6" fmla="*/ 0 w 6834"/>
                <a:gd name="connsiteY6" fmla="*/ 6525 h 8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34" h="8896">
                  <a:moveTo>
                    <a:pt x="0" y="6525"/>
                  </a:moveTo>
                  <a:lnTo>
                    <a:pt x="2676" y="6173"/>
                  </a:lnTo>
                  <a:lnTo>
                    <a:pt x="3524" y="8896"/>
                  </a:lnTo>
                  <a:lnTo>
                    <a:pt x="6835" y="0"/>
                  </a:lnTo>
                  <a:cubicBezTo>
                    <a:pt x="6835" y="0"/>
                    <a:pt x="5232" y="2890"/>
                    <a:pt x="3524" y="4521"/>
                  </a:cubicBezTo>
                  <a:cubicBezTo>
                    <a:pt x="1816" y="6152"/>
                    <a:pt x="0" y="6525"/>
                    <a:pt x="0" y="6525"/>
                  </a:cubicBezTo>
                  <a:lnTo>
                    <a:pt x="0" y="6525"/>
                  </a:lnTo>
                  <a:close/>
                </a:path>
              </a:pathLst>
            </a:custGeom>
            <a:solidFill>
              <a:srgbClr val="EECAA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3" name="Freeform: Shape 3162">
              <a:extLst>
                <a:ext uri="{FF2B5EF4-FFF2-40B4-BE49-F238E27FC236}">
                  <a16:creationId xmlns:a16="http://schemas.microsoft.com/office/drawing/2014/main" id="{880A879D-2806-5D9F-1DA8-109A5D0BD7A8}"/>
                </a:ext>
              </a:extLst>
            </p:cNvPr>
            <p:cNvSpPr/>
            <p:nvPr/>
          </p:nvSpPr>
          <p:spPr>
            <a:xfrm>
              <a:off x="9336482" y="3574411"/>
              <a:ext cx="34204" cy="43225"/>
            </a:xfrm>
            <a:custGeom>
              <a:avLst/>
              <a:gdLst>
                <a:gd name="connsiteX0" fmla="*/ 5582 w 34204"/>
                <a:gd name="connsiteY0" fmla="*/ 600 h 43225"/>
                <a:gd name="connsiteX1" fmla="*/ 0 w 34204"/>
                <a:gd name="connsiteY1" fmla="*/ 6099 h 43225"/>
                <a:gd name="connsiteX2" fmla="*/ 8041 w 34204"/>
                <a:gd name="connsiteY2" fmla="*/ 22970 h 43225"/>
                <a:gd name="connsiteX3" fmla="*/ 12438 w 34204"/>
                <a:gd name="connsiteY3" fmla="*/ 28891 h 43225"/>
                <a:gd name="connsiteX4" fmla="*/ 14647 w 34204"/>
                <a:gd name="connsiteY4" fmla="*/ 40200 h 43225"/>
                <a:gd name="connsiteX5" fmla="*/ 20894 w 34204"/>
                <a:gd name="connsiteY5" fmla="*/ 36429 h 43225"/>
                <a:gd name="connsiteX6" fmla="*/ 25990 w 34204"/>
                <a:gd name="connsiteY6" fmla="*/ 39691 h 43225"/>
                <a:gd name="connsiteX7" fmla="*/ 34205 w 34204"/>
                <a:gd name="connsiteY7" fmla="*/ 43226 h 43225"/>
                <a:gd name="connsiteX8" fmla="*/ 22622 w 34204"/>
                <a:gd name="connsiteY8" fmla="*/ 6099 h 43225"/>
                <a:gd name="connsiteX9" fmla="*/ 5582 w 34204"/>
                <a:gd name="connsiteY9" fmla="*/ 600 h 43225"/>
                <a:gd name="connsiteX10" fmla="*/ 5582 w 34204"/>
                <a:gd name="connsiteY10" fmla="*/ 600 h 4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204" h="43225">
                  <a:moveTo>
                    <a:pt x="5582" y="600"/>
                  </a:moveTo>
                  <a:lnTo>
                    <a:pt x="0" y="6099"/>
                  </a:lnTo>
                  <a:cubicBezTo>
                    <a:pt x="0" y="6099"/>
                    <a:pt x="6928" y="14734"/>
                    <a:pt x="8041" y="22970"/>
                  </a:cubicBezTo>
                  <a:cubicBezTo>
                    <a:pt x="8314" y="24994"/>
                    <a:pt x="10319" y="26434"/>
                    <a:pt x="12438" y="28891"/>
                  </a:cubicBezTo>
                  <a:cubicBezTo>
                    <a:pt x="15430" y="32361"/>
                    <a:pt x="14647" y="40200"/>
                    <a:pt x="14647" y="40200"/>
                  </a:cubicBezTo>
                  <a:lnTo>
                    <a:pt x="20894" y="36429"/>
                  </a:lnTo>
                  <a:lnTo>
                    <a:pt x="25990" y="39691"/>
                  </a:lnTo>
                  <a:lnTo>
                    <a:pt x="34205" y="43226"/>
                  </a:lnTo>
                  <a:cubicBezTo>
                    <a:pt x="34205" y="43226"/>
                    <a:pt x="30028" y="19990"/>
                    <a:pt x="22622" y="6099"/>
                  </a:cubicBezTo>
                  <a:cubicBezTo>
                    <a:pt x="17939" y="-2680"/>
                    <a:pt x="5582" y="600"/>
                    <a:pt x="5582" y="600"/>
                  </a:cubicBezTo>
                  <a:lnTo>
                    <a:pt x="5582" y="60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4" name="Freeform: Shape 3163">
              <a:extLst>
                <a:ext uri="{FF2B5EF4-FFF2-40B4-BE49-F238E27FC236}">
                  <a16:creationId xmlns:a16="http://schemas.microsoft.com/office/drawing/2014/main" id="{D5C20618-ED5F-1B1B-28EB-176D78BD870A}"/>
                </a:ext>
              </a:extLst>
            </p:cNvPr>
            <p:cNvSpPr/>
            <p:nvPr/>
          </p:nvSpPr>
          <p:spPr>
            <a:xfrm>
              <a:off x="9316752" y="3632164"/>
              <a:ext cx="11726" cy="51246"/>
            </a:xfrm>
            <a:custGeom>
              <a:avLst/>
              <a:gdLst>
                <a:gd name="connsiteX0" fmla="*/ 7978 w 11726"/>
                <a:gd name="connsiteY0" fmla="*/ 0 h 51246"/>
                <a:gd name="connsiteX1" fmla="*/ 9801 w 11726"/>
                <a:gd name="connsiteY1" fmla="*/ 32409 h 51246"/>
                <a:gd name="connsiteX2" fmla="*/ 8041 w 11726"/>
                <a:gd name="connsiteY2" fmla="*/ 45811 h 51246"/>
                <a:gd name="connsiteX3" fmla="*/ 0 w 11726"/>
                <a:gd name="connsiteY3" fmla="*/ 50959 h 51246"/>
                <a:gd name="connsiteX4" fmla="*/ 10414 w 11726"/>
                <a:gd name="connsiteY4" fmla="*/ 51246 h 51246"/>
                <a:gd name="connsiteX5" fmla="*/ 11727 w 11726"/>
                <a:gd name="connsiteY5" fmla="*/ 32236 h 51246"/>
                <a:gd name="connsiteX6" fmla="*/ 7978 w 11726"/>
                <a:gd name="connsiteY6" fmla="*/ 0 h 51246"/>
                <a:gd name="connsiteX7" fmla="*/ 7978 w 11726"/>
                <a:gd name="connsiteY7" fmla="*/ 0 h 51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26" h="51246">
                  <a:moveTo>
                    <a:pt x="7978" y="0"/>
                  </a:moveTo>
                  <a:lnTo>
                    <a:pt x="9801" y="32409"/>
                  </a:lnTo>
                  <a:lnTo>
                    <a:pt x="8041" y="45811"/>
                  </a:lnTo>
                  <a:lnTo>
                    <a:pt x="0" y="50959"/>
                  </a:lnTo>
                  <a:lnTo>
                    <a:pt x="10414" y="51246"/>
                  </a:lnTo>
                  <a:lnTo>
                    <a:pt x="11727" y="32236"/>
                  </a:lnTo>
                  <a:lnTo>
                    <a:pt x="7978" y="0"/>
                  </a:lnTo>
                  <a:lnTo>
                    <a:pt x="7978" y="0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5" name="Freeform: Shape 3164">
              <a:extLst>
                <a:ext uri="{FF2B5EF4-FFF2-40B4-BE49-F238E27FC236}">
                  <a16:creationId xmlns:a16="http://schemas.microsoft.com/office/drawing/2014/main" id="{A8895725-57FE-7526-8281-2A12061D705F}"/>
                </a:ext>
              </a:extLst>
            </p:cNvPr>
            <p:cNvSpPr/>
            <p:nvPr/>
          </p:nvSpPr>
          <p:spPr>
            <a:xfrm>
              <a:off x="9346673" y="3618925"/>
              <a:ext cx="36008" cy="52630"/>
            </a:xfrm>
            <a:custGeom>
              <a:avLst/>
              <a:gdLst>
                <a:gd name="connsiteX0" fmla="*/ 35200 w 36008"/>
                <a:gd name="connsiteY0" fmla="*/ 10693 h 52630"/>
                <a:gd name="connsiteX1" fmla="*/ 20227 w 36008"/>
                <a:gd name="connsiteY1" fmla="*/ 5708 h 52630"/>
                <a:gd name="connsiteX2" fmla="*/ 16774 w 36008"/>
                <a:gd name="connsiteY2" fmla="*/ 34004 h 52630"/>
                <a:gd name="connsiteX3" fmla="*/ 54 w 36008"/>
                <a:gd name="connsiteY3" fmla="*/ 32339 h 52630"/>
                <a:gd name="connsiteX4" fmla="*/ 0 w 36008"/>
                <a:gd name="connsiteY4" fmla="*/ 51831 h 52630"/>
                <a:gd name="connsiteX5" fmla="*/ 27218 w 36008"/>
                <a:gd name="connsiteY5" fmla="*/ 50601 h 52630"/>
                <a:gd name="connsiteX6" fmla="*/ 35200 w 36008"/>
                <a:gd name="connsiteY6" fmla="*/ 10693 h 52630"/>
                <a:gd name="connsiteX7" fmla="*/ 35200 w 36008"/>
                <a:gd name="connsiteY7" fmla="*/ 10693 h 5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008" h="52630">
                  <a:moveTo>
                    <a:pt x="35200" y="10693"/>
                  </a:moveTo>
                  <a:cubicBezTo>
                    <a:pt x="31148" y="-3785"/>
                    <a:pt x="23071" y="-1591"/>
                    <a:pt x="20227" y="5708"/>
                  </a:cubicBezTo>
                  <a:cubicBezTo>
                    <a:pt x="17423" y="12905"/>
                    <a:pt x="16774" y="34004"/>
                    <a:pt x="16774" y="34004"/>
                  </a:cubicBezTo>
                  <a:lnTo>
                    <a:pt x="54" y="32339"/>
                  </a:lnTo>
                  <a:lnTo>
                    <a:pt x="0" y="51831"/>
                  </a:lnTo>
                  <a:cubicBezTo>
                    <a:pt x="0" y="51831"/>
                    <a:pt x="22641" y="54281"/>
                    <a:pt x="27218" y="50601"/>
                  </a:cubicBezTo>
                  <a:cubicBezTo>
                    <a:pt x="31061" y="47515"/>
                    <a:pt x="38460" y="22341"/>
                    <a:pt x="35200" y="10693"/>
                  </a:cubicBezTo>
                  <a:lnTo>
                    <a:pt x="35200" y="10693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6" name="Freeform: Shape 3165">
              <a:extLst>
                <a:ext uri="{FF2B5EF4-FFF2-40B4-BE49-F238E27FC236}">
                  <a16:creationId xmlns:a16="http://schemas.microsoft.com/office/drawing/2014/main" id="{3EA283C0-58FA-60A7-09CD-4CCC0375D481}"/>
                </a:ext>
              </a:extLst>
            </p:cNvPr>
            <p:cNvSpPr/>
            <p:nvPr/>
          </p:nvSpPr>
          <p:spPr>
            <a:xfrm>
              <a:off x="9302864" y="3644241"/>
              <a:ext cx="43859" cy="20330"/>
            </a:xfrm>
            <a:custGeom>
              <a:avLst/>
              <a:gdLst>
                <a:gd name="connsiteX0" fmla="*/ 43859 w 43859"/>
                <a:gd name="connsiteY0" fmla="*/ 8315 h 20330"/>
                <a:gd name="connsiteX1" fmla="*/ 12076 w 43859"/>
                <a:gd name="connsiteY1" fmla="*/ 0 h 20330"/>
                <a:gd name="connsiteX2" fmla="*/ 0 w 43859"/>
                <a:gd name="connsiteY2" fmla="*/ 2735 h 20330"/>
                <a:gd name="connsiteX3" fmla="*/ 2366 w 43859"/>
                <a:gd name="connsiteY3" fmla="*/ 4479 h 20330"/>
                <a:gd name="connsiteX4" fmla="*/ 7333 w 43859"/>
                <a:gd name="connsiteY4" fmla="*/ 3908 h 20330"/>
                <a:gd name="connsiteX5" fmla="*/ 6525 w 43859"/>
                <a:gd name="connsiteY5" fmla="*/ 6756 h 20330"/>
                <a:gd name="connsiteX6" fmla="*/ 15132 w 43859"/>
                <a:gd name="connsiteY6" fmla="*/ 12227 h 20330"/>
                <a:gd name="connsiteX7" fmla="*/ 16751 w 43859"/>
                <a:gd name="connsiteY7" fmla="*/ 11650 h 20330"/>
                <a:gd name="connsiteX8" fmla="*/ 15034 w 43859"/>
                <a:gd name="connsiteY8" fmla="*/ 10133 h 20330"/>
                <a:gd name="connsiteX9" fmla="*/ 24530 w 43859"/>
                <a:gd name="connsiteY9" fmla="*/ 9809 h 20330"/>
                <a:gd name="connsiteX10" fmla="*/ 43825 w 43859"/>
                <a:gd name="connsiteY10" fmla="*/ 20331 h 20330"/>
                <a:gd name="connsiteX11" fmla="*/ 43859 w 43859"/>
                <a:gd name="connsiteY11" fmla="*/ 8315 h 20330"/>
                <a:gd name="connsiteX12" fmla="*/ 43859 w 43859"/>
                <a:gd name="connsiteY12" fmla="*/ 8315 h 20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859" h="20330">
                  <a:moveTo>
                    <a:pt x="43859" y="8315"/>
                  </a:moveTo>
                  <a:lnTo>
                    <a:pt x="12076" y="0"/>
                  </a:lnTo>
                  <a:lnTo>
                    <a:pt x="0" y="2735"/>
                  </a:lnTo>
                  <a:cubicBezTo>
                    <a:pt x="0" y="2735"/>
                    <a:pt x="534" y="4187"/>
                    <a:pt x="2366" y="4479"/>
                  </a:cubicBezTo>
                  <a:cubicBezTo>
                    <a:pt x="4200" y="4772"/>
                    <a:pt x="7333" y="3908"/>
                    <a:pt x="7333" y="3908"/>
                  </a:cubicBezTo>
                  <a:lnTo>
                    <a:pt x="6525" y="6756"/>
                  </a:lnTo>
                  <a:lnTo>
                    <a:pt x="15132" y="12227"/>
                  </a:lnTo>
                  <a:lnTo>
                    <a:pt x="16751" y="11650"/>
                  </a:lnTo>
                  <a:lnTo>
                    <a:pt x="15034" y="10133"/>
                  </a:lnTo>
                  <a:lnTo>
                    <a:pt x="24530" y="9809"/>
                  </a:lnTo>
                  <a:lnTo>
                    <a:pt x="43825" y="20331"/>
                  </a:lnTo>
                  <a:lnTo>
                    <a:pt x="43859" y="8315"/>
                  </a:lnTo>
                  <a:lnTo>
                    <a:pt x="43859" y="8315"/>
                  </a:lnTo>
                  <a:close/>
                </a:path>
              </a:pathLst>
            </a:custGeom>
            <a:solidFill>
              <a:srgbClr val="FFD9B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7" name="Freeform: Shape 3166">
              <a:extLst>
                <a:ext uri="{FF2B5EF4-FFF2-40B4-BE49-F238E27FC236}">
                  <a16:creationId xmlns:a16="http://schemas.microsoft.com/office/drawing/2014/main" id="{F228C3A3-FC1F-1BFF-3E54-DA0E873623A2}"/>
                </a:ext>
              </a:extLst>
            </p:cNvPr>
            <p:cNvSpPr/>
            <p:nvPr/>
          </p:nvSpPr>
          <p:spPr>
            <a:xfrm>
              <a:off x="9275739" y="3641042"/>
              <a:ext cx="42256" cy="19194"/>
            </a:xfrm>
            <a:custGeom>
              <a:avLst/>
              <a:gdLst>
                <a:gd name="connsiteX0" fmla="*/ 42257 w 42256"/>
                <a:gd name="connsiteY0" fmla="*/ 15426 h 19194"/>
                <a:gd name="connsiteX1" fmla="*/ 17473 w 42256"/>
                <a:gd name="connsiteY1" fmla="*/ 0 h 19194"/>
                <a:gd name="connsiteX2" fmla="*/ 1205 w 42256"/>
                <a:gd name="connsiteY2" fmla="*/ 2764 h 19194"/>
                <a:gd name="connsiteX3" fmla="*/ 0 w 42256"/>
                <a:gd name="connsiteY3" fmla="*/ 3874 h 19194"/>
                <a:gd name="connsiteX4" fmla="*/ 24125 w 42256"/>
                <a:gd name="connsiteY4" fmla="*/ 19194 h 19194"/>
                <a:gd name="connsiteX5" fmla="*/ 41052 w 42256"/>
                <a:gd name="connsiteY5" fmla="*/ 16536 h 19194"/>
                <a:gd name="connsiteX6" fmla="*/ 42257 w 42256"/>
                <a:gd name="connsiteY6" fmla="*/ 15426 h 19194"/>
                <a:gd name="connsiteX7" fmla="*/ 42257 w 42256"/>
                <a:gd name="connsiteY7" fmla="*/ 15426 h 1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56" h="19194">
                  <a:moveTo>
                    <a:pt x="42257" y="15426"/>
                  </a:moveTo>
                  <a:lnTo>
                    <a:pt x="17473" y="0"/>
                  </a:lnTo>
                  <a:lnTo>
                    <a:pt x="1205" y="2764"/>
                  </a:lnTo>
                  <a:lnTo>
                    <a:pt x="0" y="3874"/>
                  </a:lnTo>
                  <a:lnTo>
                    <a:pt x="24125" y="19194"/>
                  </a:lnTo>
                  <a:lnTo>
                    <a:pt x="41052" y="16536"/>
                  </a:lnTo>
                  <a:lnTo>
                    <a:pt x="42257" y="15426"/>
                  </a:lnTo>
                  <a:lnTo>
                    <a:pt x="42257" y="15426"/>
                  </a:lnTo>
                  <a:close/>
                </a:path>
              </a:pathLst>
            </a:custGeom>
            <a:solidFill>
              <a:srgbClr val="8B8B8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8" name="Freeform: Shape 3167">
              <a:extLst>
                <a:ext uri="{FF2B5EF4-FFF2-40B4-BE49-F238E27FC236}">
                  <a16:creationId xmlns:a16="http://schemas.microsoft.com/office/drawing/2014/main" id="{84FE4809-E606-8C1D-85E2-B7D592577384}"/>
                </a:ext>
              </a:extLst>
            </p:cNvPr>
            <p:cNvSpPr/>
            <p:nvPr/>
          </p:nvSpPr>
          <p:spPr>
            <a:xfrm>
              <a:off x="9275739" y="3642151"/>
              <a:ext cx="41052" cy="19194"/>
            </a:xfrm>
            <a:custGeom>
              <a:avLst/>
              <a:gdLst>
                <a:gd name="connsiteX0" fmla="*/ 41052 w 41052"/>
                <a:gd name="connsiteY0" fmla="*/ 15426 h 19194"/>
                <a:gd name="connsiteX1" fmla="*/ 16269 w 41052"/>
                <a:gd name="connsiteY1" fmla="*/ 0 h 19194"/>
                <a:gd name="connsiteX2" fmla="*/ 0 w 41052"/>
                <a:gd name="connsiteY2" fmla="*/ 2764 h 19194"/>
                <a:gd name="connsiteX3" fmla="*/ 22921 w 41052"/>
                <a:gd name="connsiteY3" fmla="*/ 19194 h 19194"/>
                <a:gd name="connsiteX4" fmla="*/ 41052 w 41052"/>
                <a:gd name="connsiteY4" fmla="*/ 15426 h 19194"/>
                <a:gd name="connsiteX5" fmla="*/ 41052 w 41052"/>
                <a:gd name="connsiteY5" fmla="*/ 15426 h 1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052" h="19194">
                  <a:moveTo>
                    <a:pt x="41052" y="15426"/>
                  </a:moveTo>
                  <a:lnTo>
                    <a:pt x="16269" y="0"/>
                  </a:lnTo>
                  <a:lnTo>
                    <a:pt x="0" y="2764"/>
                  </a:lnTo>
                  <a:lnTo>
                    <a:pt x="22921" y="19194"/>
                  </a:lnTo>
                  <a:lnTo>
                    <a:pt x="41052" y="15426"/>
                  </a:lnTo>
                  <a:lnTo>
                    <a:pt x="41052" y="15426"/>
                  </a:lnTo>
                  <a:close/>
                </a:path>
              </a:pathLst>
            </a:custGeom>
            <a:solidFill>
              <a:srgbClr val="5E5E5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9" name="Freeform: Shape 3168">
              <a:extLst>
                <a:ext uri="{FF2B5EF4-FFF2-40B4-BE49-F238E27FC236}">
                  <a16:creationId xmlns:a16="http://schemas.microsoft.com/office/drawing/2014/main" id="{49EFB657-0B33-B6EC-0681-4D9AA0E37E2A}"/>
                </a:ext>
              </a:extLst>
            </p:cNvPr>
            <p:cNvSpPr/>
            <p:nvPr/>
          </p:nvSpPr>
          <p:spPr>
            <a:xfrm>
              <a:off x="9284996" y="3648871"/>
              <a:ext cx="31795" cy="27454"/>
            </a:xfrm>
            <a:custGeom>
              <a:avLst/>
              <a:gdLst>
                <a:gd name="connsiteX0" fmla="*/ 31796 w 31795"/>
                <a:gd name="connsiteY0" fmla="*/ 18132 h 27454"/>
                <a:gd name="connsiteX1" fmla="*/ 25977 w 31795"/>
                <a:gd name="connsiteY1" fmla="*/ 15656 h 27454"/>
                <a:gd name="connsiteX2" fmla="*/ 23772 w 31795"/>
                <a:gd name="connsiteY2" fmla="*/ 11231 h 27454"/>
                <a:gd name="connsiteX3" fmla="*/ 24228 w 31795"/>
                <a:gd name="connsiteY3" fmla="*/ 8017 h 27454"/>
                <a:gd name="connsiteX4" fmla="*/ 23529 w 31795"/>
                <a:gd name="connsiteY4" fmla="*/ 6325 h 27454"/>
                <a:gd name="connsiteX5" fmla="*/ 22161 w 31795"/>
                <a:gd name="connsiteY5" fmla="*/ 6739 h 27454"/>
                <a:gd name="connsiteX6" fmla="*/ 19503 w 31795"/>
                <a:gd name="connsiteY6" fmla="*/ 11175 h 27454"/>
                <a:gd name="connsiteX7" fmla="*/ 17805 w 31795"/>
                <a:gd name="connsiteY7" fmla="*/ 10956 h 27454"/>
                <a:gd name="connsiteX8" fmla="*/ 18076 w 31795"/>
                <a:gd name="connsiteY8" fmla="*/ 6629 h 27454"/>
                <a:gd name="connsiteX9" fmla="*/ 16950 w 31795"/>
                <a:gd name="connsiteY9" fmla="*/ 3700 h 27454"/>
                <a:gd name="connsiteX10" fmla="*/ 14514 w 31795"/>
                <a:gd name="connsiteY10" fmla="*/ 3051 h 27454"/>
                <a:gd name="connsiteX11" fmla="*/ 14457 w 31795"/>
                <a:gd name="connsiteY11" fmla="*/ 8995 h 27454"/>
                <a:gd name="connsiteX12" fmla="*/ 12596 w 31795"/>
                <a:gd name="connsiteY12" fmla="*/ 6489 h 27454"/>
                <a:gd name="connsiteX13" fmla="*/ 11662 w 31795"/>
                <a:gd name="connsiteY13" fmla="*/ 3532 h 27454"/>
                <a:gd name="connsiteX14" fmla="*/ 10461 w 31795"/>
                <a:gd name="connsiteY14" fmla="*/ 1060 h 27454"/>
                <a:gd name="connsiteX15" fmla="*/ 7910 w 31795"/>
                <a:gd name="connsiteY15" fmla="*/ 228 h 27454"/>
                <a:gd name="connsiteX16" fmla="*/ 9219 w 31795"/>
                <a:gd name="connsiteY16" fmla="*/ 5953 h 27454"/>
                <a:gd name="connsiteX17" fmla="*/ 2397 w 31795"/>
                <a:gd name="connsiteY17" fmla="*/ 372 h 27454"/>
                <a:gd name="connsiteX18" fmla="*/ 0 w 31795"/>
                <a:gd name="connsiteY18" fmla="*/ 1214 h 27454"/>
                <a:gd name="connsiteX19" fmla="*/ 11132 w 31795"/>
                <a:gd name="connsiteY19" fmla="*/ 12993 h 27454"/>
                <a:gd name="connsiteX20" fmla="*/ 20178 w 31795"/>
                <a:gd name="connsiteY20" fmla="*/ 19689 h 27454"/>
                <a:gd name="connsiteX21" fmla="*/ 23034 w 31795"/>
                <a:gd name="connsiteY21" fmla="*/ 23533 h 27454"/>
                <a:gd name="connsiteX22" fmla="*/ 29851 w 31795"/>
                <a:gd name="connsiteY22" fmla="*/ 27455 h 27454"/>
                <a:gd name="connsiteX23" fmla="*/ 31796 w 31795"/>
                <a:gd name="connsiteY23" fmla="*/ 18132 h 27454"/>
                <a:gd name="connsiteX24" fmla="*/ 31796 w 31795"/>
                <a:gd name="connsiteY24" fmla="*/ 18132 h 27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1795" h="27454">
                  <a:moveTo>
                    <a:pt x="31796" y="18132"/>
                  </a:moveTo>
                  <a:lnTo>
                    <a:pt x="25977" y="15656"/>
                  </a:lnTo>
                  <a:lnTo>
                    <a:pt x="23772" y="11231"/>
                  </a:lnTo>
                  <a:lnTo>
                    <a:pt x="24228" y="8017"/>
                  </a:lnTo>
                  <a:cubicBezTo>
                    <a:pt x="24228" y="8017"/>
                    <a:pt x="24047" y="6644"/>
                    <a:pt x="23529" y="6325"/>
                  </a:cubicBezTo>
                  <a:cubicBezTo>
                    <a:pt x="23012" y="6004"/>
                    <a:pt x="22161" y="6739"/>
                    <a:pt x="22161" y="6739"/>
                  </a:cubicBezTo>
                  <a:lnTo>
                    <a:pt x="19503" y="11175"/>
                  </a:lnTo>
                  <a:lnTo>
                    <a:pt x="17805" y="10956"/>
                  </a:lnTo>
                  <a:lnTo>
                    <a:pt x="18076" y="6629"/>
                  </a:lnTo>
                  <a:cubicBezTo>
                    <a:pt x="18076" y="6629"/>
                    <a:pt x="17841" y="4595"/>
                    <a:pt x="16950" y="3700"/>
                  </a:cubicBezTo>
                  <a:cubicBezTo>
                    <a:pt x="16059" y="2806"/>
                    <a:pt x="14514" y="3051"/>
                    <a:pt x="14514" y="3051"/>
                  </a:cubicBezTo>
                  <a:lnTo>
                    <a:pt x="14457" y="8995"/>
                  </a:lnTo>
                  <a:lnTo>
                    <a:pt x="12596" y="6489"/>
                  </a:lnTo>
                  <a:lnTo>
                    <a:pt x="11662" y="3532"/>
                  </a:lnTo>
                  <a:cubicBezTo>
                    <a:pt x="11662" y="3532"/>
                    <a:pt x="11399" y="1886"/>
                    <a:pt x="10461" y="1060"/>
                  </a:cubicBezTo>
                  <a:cubicBezTo>
                    <a:pt x="9524" y="234"/>
                    <a:pt x="7910" y="228"/>
                    <a:pt x="7910" y="228"/>
                  </a:cubicBezTo>
                  <a:lnTo>
                    <a:pt x="9219" y="5953"/>
                  </a:lnTo>
                  <a:cubicBezTo>
                    <a:pt x="9219" y="5953"/>
                    <a:pt x="4702" y="1556"/>
                    <a:pt x="2397" y="372"/>
                  </a:cubicBezTo>
                  <a:cubicBezTo>
                    <a:pt x="91" y="-813"/>
                    <a:pt x="0" y="1214"/>
                    <a:pt x="0" y="1214"/>
                  </a:cubicBezTo>
                  <a:lnTo>
                    <a:pt x="11132" y="12993"/>
                  </a:lnTo>
                  <a:lnTo>
                    <a:pt x="20178" y="19689"/>
                  </a:lnTo>
                  <a:lnTo>
                    <a:pt x="23034" y="23533"/>
                  </a:lnTo>
                  <a:lnTo>
                    <a:pt x="29851" y="27455"/>
                  </a:lnTo>
                  <a:lnTo>
                    <a:pt x="31796" y="18132"/>
                  </a:lnTo>
                  <a:lnTo>
                    <a:pt x="31796" y="18132"/>
                  </a:lnTo>
                  <a:close/>
                </a:path>
              </a:pathLst>
            </a:custGeom>
            <a:solidFill>
              <a:srgbClr val="FFD9B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CBBCCA9-2572-B3A6-91CC-B433E565D41C}"/>
              </a:ext>
            </a:extLst>
          </p:cNvPr>
          <p:cNvSpPr txBox="1">
            <a:spLocks/>
          </p:cNvSpPr>
          <p:nvPr/>
        </p:nvSpPr>
        <p:spPr>
          <a:xfrm>
            <a:off x="10085819" y="1266445"/>
            <a:ext cx="303575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60000"/>
                  <a:lumOff val="40000"/>
                </a:scheme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3143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39" name="Object 2" hidden="1">
            <a:extLst>
              <a:ext uri="{FF2B5EF4-FFF2-40B4-BE49-F238E27FC236}">
                <a16:creationId xmlns:a16="http://schemas.microsoft.com/office/drawing/2014/main" id="{AC447477-BD36-4A41-9239-D0086A7C47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6" progId="TCLayout.ActiveDocument.1">
                  <p:embed/>
                </p:oleObj>
              </mc:Choice>
              <mc:Fallback>
                <p:oleObj name="think-cell Slide" r:id="rId11" imgW="473" imgH="476" progId="TCLayout.ActiveDocument.1">
                  <p:embed/>
                  <p:pic>
                    <p:nvPicPr>
                      <p:cNvPr id="4139" name="Object 2" hidden="1">
                        <a:extLst>
                          <a:ext uri="{FF2B5EF4-FFF2-40B4-BE49-F238E27FC236}">
                            <a16:creationId xmlns:a16="http://schemas.microsoft.com/office/drawing/2014/main" id="{AC447477-BD36-4A41-9239-D0086A7C47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Slide Number">
            <a:extLst>
              <a:ext uri="{FF2B5EF4-FFF2-40B4-BE49-F238E27FC236}">
                <a16:creationId xmlns:a16="http://schemas.microsoft.com/office/drawing/2014/main" id="{F77F51F5-EF24-42B1-9731-7A441BE317C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SlideLogoText">
            <a:extLst>
              <a:ext uri="{FF2B5EF4-FFF2-40B4-BE49-F238E27FC236}">
                <a16:creationId xmlns:a16="http://schemas.microsoft.com/office/drawing/2014/main" id="{21B69CEB-ECD1-4DC3-BAF8-55FB3B27359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36BA0F92-6E46-4EEB-B3DD-22FE8C48090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56102"/>
            <a:ext cx="11082528" cy="35779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>
                <a:ea typeface="Calibri" panose="020F0502020204030204" pitchFamily="34" charset="0"/>
              </a:rPr>
              <a:t>However, few </a:t>
            </a:r>
            <a:r>
              <a:rPr lang="en-US" dirty="0">
                <a:effectLst/>
                <a:ea typeface="Calibri" panose="020F0502020204030204" pitchFamily="34" charset="0"/>
              </a:rPr>
              <a:t>companies have </a:t>
            </a:r>
            <a:r>
              <a:rPr lang="en-US" dirty="0">
                <a:ea typeface="Calibri" panose="020F0502020204030204" pitchFamily="34" charset="0"/>
              </a:rPr>
              <a:t> been able</a:t>
            </a:r>
            <a:r>
              <a:rPr lang="en-US" dirty="0">
                <a:effectLst/>
                <a:ea typeface="Calibri" panose="020F0502020204030204" pitchFamily="34" charset="0"/>
              </a:rPr>
              <a:t> to generate impact at scale</a:t>
            </a:r>
            <a:endParaRPr lang="en-NZ" dirty="0"/>
          </a:p>
        </p:txBody>
      </p:sp>
      <p:sp>
        <p:nvSpPr>
          <p:cNvPr id="77" name="5. Source">
            <a:extLst>
              <a:ext uri="{FF2B5EF4-FFF2-40B4-BE49-F238E27FC236}">
                <a16:creationId xmlns:a16="http://schemas.microsoft.com/office/drawing/2014/main" id="{32368A77-3BCF-45EC-AC7A-858C4C04568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McKinsey State of AI 2022 survey – responses gathered from 1492 organizations, out of which 744 indicated they had adopted AI in at least one function and were asked questions about their organizations’ AI us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DCBC53-CFBB-C744-EE0D-C2AA946378AC}"/>
              </a:ext>
            </a:extLst>
          </p:cNvPr>
          <p:cNvGrpSpPr/>
          <p:nvPr/>
        </p:nvGrpSpPr>
        <p:grpSpPr>
          <a:xfrm>
            <a:off x="6451150" y="1168387"/>
            <a:ext cx="5186114" cy="246221"/>
            <a:chOff x="8426370" y="1062297"/>
            <a:chExt cx="5186114" cy="246221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633CB90F-6DC1-46B5-B141-442FFB741EFC}"/>
                </a:ext>
              </a:extLst>
            </p:cNvPr>
            <p:cNvSpPr txBox="1">
              <a:spLocks/>
            </p:cNvSpPr>
            <p:nvPr/>
          </p:nvSpPr>
          <p:spPr>
            <a:xfrm>
              <a:off x="9239620" y="1062297"/>
              <a:ext cx="4372864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Share of Net income attributable to the use of AI</a:t>
              </a:r>
              <a:endParaRPr kumimoji="0" lang="en-NZ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FBFAD56D-55F6-41C0-9B32-EC3DE4D9A71D}"/>
                </a:ext>
              </a:extLst>
            </p:cNvPr>
            <p:cNvSpPr/>
            <p:nvPr/>
          </p:nvSpPr>
          <p:spPr>
            <a:xfrm>
              <a:off x="8426370" y="1077685"/>
              <a:ext cx="679239" cy="215444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NZ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51C2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x%</a:t>
              </a:r>
            </a:p>
          </p:txBody>
        </p:sp>
      </p:grpSp>
      <p:sp>
        <p:nvSpPr>
          <p:cNvPr id="32" name="Oval 31">
            <a:extLst>
              <a:ext uri="{FF2B5EF4-FFF2-40B4-BE49-F238E27FC236}">
                <a16:creationId xmlns:a16="http://schemas.microsoft.com/office/drawing/2014/main" id="{2B112200-6FFF-ED9B-8781-3650BC78A066}"/>
              </a:ext>
            </a:extLst>
          </p:cNvPr>
          <p:cNvSpPr/>
          <p:nvPr/>
        </p:nvSpPr>
        <p:spPr>
          <a:xfrm>
            <a:off x="2260730" y="2156578"/>
            <a:ext cx="872475" cy="36347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16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≥20%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3468732-4BDD-9CA9-7C7B-99458819E683}"/>
              </a:ext>
            </a:extLst>
          </p:cNvPr>
          <p:cNvSpPr/>
          <p:nvPr/>
        </p:nvSpPr>
        <p:spPr>
          <a:xfrm>
            <a:off x="1610412" y="3478350"/>
            <a:ext cx="872475" cy="36347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16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≥5%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9519FD1-E921-26FE-7977-D1743306C0D2}"/>
              </a:ext>
            </a:extLst>
          </p:cNvPr>
          <p:cNvSpPr/>
          <p:nvPr/>
        </p:nvSpPr>
        <p:spPr>
          <a:xfrm>
            <a:off x="960094" y="4833890"/>
            <a:ext cx="872475" cy="36347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16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5%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7C08646-B34B-000C-15DD-3FE80DB523D5}"/>
              </a:ext>
            </a:extLst>
          </p:cNvPr>
          <p:cNvSpPr txBox="1">
            <a:spLocks/>
          </p:cNvSpPr>
          <p:nvPr/>
        </p:nvSpPr>
        <p:spPr>
          <a:xfrm>
            <a:off x="7557054" y="4600131"/>
            <a:ext cx="4080210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Are considered a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AAE6F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AI laggard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failing to capture significant impact from their AI investment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AAE6F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CC65FB6-D160-133D-8BB6-FC7F9C54D8CA}"/>
              </a:ext>
            </a:extLst>
          </p:cNvPr>
          <p:cNvSpPr txBox="1">
            <a:spLocks/>
          </p:cNvSpPr>
          <p:nvPr/>
        </p:nvSpPr>
        <p:spPr>
          <a:xfrm>
            <a:off x="7557054" y="3383090"/>
            <a:ext cx="4080210" cy="55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Are still lagging but achieving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medium bottom-line impac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from A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A1EBCA2-68C4-1021-1143-E1EA24E9DDAB}"/>
              </a:ext>
            </a:extLst>
          </p:cNvPr>
          <p:cNvSpPr txBox="1">
            <a:spLocks/>
          </p:cNvSpPr>
          <p:nvPr/>
        </p:nvSpPr>
        <p:spPr>
          <a:xfrm>
            <a:off x="7557054" y="1922819"/>
            <a:ext cx="4080210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Of organizations are considered as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251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AI champion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 (i.e., ≥20% of Net Income attributed to the use of AI)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182DB3C-E81E-3EEF-8CB2-DFF4BC3C91C4}"/>
              </a:ext>
            </a:extLst>
          </p:cNvPr>
          <p:cNvCxnSpPr>
            <a:cxnSpLocks/>
          </p:cNvCxnSpPr>
          <p:nvPr/>
        </p:nvCxnSpPr>
        <p:spPr>
          <a:xfrm>
            <a:off x="4849963" y="5015629"/>
            <a:ext cx="1171448" cy="0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DA570F0-C3A0-A156-58EB-CA2B5302C3F5}"/>
              </a:ext>
            </a:extLst>
          </p:cNvPr>
          <p:cNvCxnSpPr>
            <a:cxnSpLocks/>
          </p:cNvCxnSpPr>
          <p:nvPr/>
        </p:nvCxnSpPr>
        <p:spPr>
          <a:xfrm>
            <a:off x="4148923" y="3660089"/>
            <a:ext cx="1872488" cy="0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60E180B-5D32-AF12-159C-4A1BEE291DFB}"/>
              </a:ext>
            </a:extLst>
          </p:cNvPr>
          <p:cNvCxnSpPr>
            <a:cxnSpLocks/>
          </p:cNvCxnSpPr>
          <p:nvPr/>
        </p:nvCxnSpPr>
        <p:spPr>
          <a:xfrm>
            <a:off x="3496651" y="2338317"/>
            <a:ext cx="2524760" cy="0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7" name="LineContentSeparatorDefaultVertical 4095">
            <a:extLst>
              <a:ext uri="{FF2B5EF4-FFF2-40B4-BE49-F238E27FC236}">
                <a16:creationId xmlns:a16="http://schemas.microsoft.com/office/drawing/2014/main" id="{BC2ACFAD-15EE-00B2-A97A-333A53DAC53F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6021411" y="3244591"/>
            <a:ext cx="0" cy="830997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8" name="LineContentSeparatorDefaultVertical 4095">
            <a:extLst>
              <a:ext uri="{FF2B5EF4-FFF2-40B4-BE49-F238E27FC236}">
                <a16:creationId xmlns:a16="http://schemas.microsoft.com/office/drawing/2014/main" id="{0B640E32-A40B-14E5-69C1-88797B950306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021411" y="4600131"/>
            <a:ext cx="0" cy="830997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5" name="LineContentSeparatorDefaultVertical 4095">
            <a:extLst>
              <a:ext uri="{FF2B5EF4-FFF2-40B4-BE49-F238E27FC236}">
                <a16:creationId xmlns:a16="http://schemas.microsoft.com/office/drawing/2014/main" id="{901D0BA5-3C91-DB67-101B-C6CDACC0F69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021411" y="1922819"/>
            <a:ext cx="0" cy="830997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04" name="Group 4103">
            <a:extLst>
              <a:ext uri="{FF2B5EF4-FFF2-40B4-BE49-F238E27FC236}">
                <a16:creationId xmlns:a16="http://schemas.microsoft.com/office/drawing/2014/main" id="{E931F44C-9DB2-24D4-1977-E032DFCD8CE9}"/>
              </a:ext>
            </a:extLst>
          </p:cNvPr>
          <p:cNvGrpSpPr/>
          <p:nvPr/>
        </p:nvGrpSpPr>
        <p:grpSpPr>
          <a:xfrm>
            <a:off x="1598362" y="4034439"/>
            <a:ext cx="4127796" cy="2182023"/>
            <a:chOff x="3428726" y="4034439"/>
            <a:chExt cx="4127796" cy="2182023"/>
          </a:xfrm>
        </p:grpSpPr>
        <p:sp>
          <p:nvSpPr>
            <p:cNvPr id="41" name="Freeform 98">
              <a:extLst>
                <a:ext uri="{FF2B5EF4-FFF2-40B4-BE49-F238E27FC236}">
                  <a16:creationId xmlns:a16="http://schemas.microsoft.com/office/drawing/2014/main" id="{BAB3C954-52A4-077C-E7DD-F73B04A55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26" y="4034439"/>
              <a:ext cx="4101546" cy="2182023"/>
            </a:xfrm>
            <a:custGeom>
              <a:avLst/>
              <a:gdLst>
                <a:gd name="T0" fmla="*/ 1044 w 1250"/>
                <a:gd name="T1" fmla="*/ 136 h 665"/>
                <a:gd name="T2" fmla="*/ 625 w 1250"/>
                <a:gd name="T3" fmla="*/ 0 h 665"/>
                <a:gd name="T4" fmla="*/ 205 w 1250"/>
                <a:gd name="T5" fmla="*/ 136 h 665"/>
                <a:gd name="T6" fmla="*/ 0 w 1250"/>
                <a:gd name="T7" fmla="*/ 460 h 665"/>
                <a:gd name="T8" fmla="*/ 625 w 1250"/>
                <a:gd name="T9" fmla="*/ 665 h 665"/>
                <a:gd name="T10" fmla="*/ 1250 w 1250"/>
                <a:gd name="T11" fmla="*/ 452 h 665"/>
                <a:gd name="T12" fmla="*/ 1044 w 1250"/>
                <a:gd name="T13" fmla="*/ 136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0" h="665">
                  <a:moveTo>
                    <a:pt x="1044" y="136"/>
                  </a:moveTo>
                  <a:lnTo>
                    <a:pt x="625" y="0"/>
                  </a:lnTo>
                  <a:lnTo>
                    <a:pt x="205" y="136"/>
                  </a:lnTo>
                  <a:lnTo>
                    <a:pt x="0" y="460"/>
                  </a:lnTo>
                  <a:lnTo>
                    <a:pt x="625" y="665"/>
                  </a:lnTo>
                  <a:lnTo>
                    <a:pt x="1250" y="452"/>
                  </a:lnTo>
                  <a:lnTo>
                    <a:pt x="1044" y="136"/>
                  </a:lnTo>
                  <a:close/>
                </a:path>
              </a:pathLst>
            </a:custGeom>
            <a:solidFill>
              <a:schemeClr val="accent4">
                <a:lumMod val="9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eform 99">
              <a:extLst>
                <a:ext uri="{FF2B5EF4-FFF2-40B4-BE49-F238E27FC236}">
                  <a16:creationId xmlns:a16="http://schemas.microsoft.com/office/drawing/2014/main" id="{51398317-135F-FDDB-D3DB-C5E06E389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26" y="4480687"/>
              <a:ext cx="4127796" cy="1735775"/>
            </a:xfrm>
            <a:custGeom>
              <a:avLst/>
              <a:gdLst>
                <a:gd name="T0" fmla="*/ 1044 w 1258"/>
                <a:gd name="T1" fmla="*/ 0 h 529"/>
                <a:gd name="T2" fmla="*/ 625 w 1258"/>
                <a:gd name="T3" fmla="*/ 137 h 529"/>
                <a:gd name="T4" fmla="*/ 205 w 1258"/>
                <a:gd name="T5" fmla="*/ 0 h 529"/>
                <a:gd name="T6" fmla="*/ 0 w 1258"/>
                <a:gd name="T7" fmla="*/ 324 h 529"/>
                <a:gd name="T8" fmla="*/ 625 w 1258"/>
                <a:gd name="T9" fmla="*/ 529 h 529"/>
                <a:gd name="T10" fmla="*/ 1258 w 1258"/>
                <a:gd name="T11" fmla="*/ 324 h 529"/>
                <a:gd name="T12" fmla="*/ 1044 w 1258"/>
                <a:gd name="T13" fmla="*/ 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8" h="529">
                  <a:moveTo>
                    <a:pt x="1044" y="0"/>
                  </a:moveTo>
                  <a:lnTo>
                    <a:pt x="625" y="137"/>
                  </a:lnTo>
                  <a:lnTo>
                    <a:pt x="205" y="0"/>
                  </a:lnTo>
                  <a:lnTo>
                    <a:pt x="0" y="324"/>
                  </a:lnTo>
                  <a:lnTo>
                    <a:pt x="625" y="529"/>
                  </a:lnTo>
                  <a:lnTo>
                    <a:pt x="1258" y="324"/>
                  </a:lnTo>
                  <a:lnTo>
                    <a:pt x="104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eform 100">
              <a:extLst>
                <a:ext uri="{FF2B5EF4-FFF2-40B4-BE49-F238E27FC236}">
                  <a16:creationId xmlns:a16="http://schemas.microsoft.com/office/drawing/2014/main" id="{C8C2667A-2531-25A6-DDAC-D00164AA8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498" y="4480687"/>
              <a:ext cx="2077024" cy="1735775"/>
            </a:xfrm>
            <a:custGeom>
              <a:avLst/>
              <a:gdLst>
                <a:gd name="T0" fmla="*/ 419 w 633"/>
                <a:gd name="T1" fmla="*/ 0 h 529"/>
                <a:gd name="T2" fmla="*/ 0 w 633"/>
                <a:gd name="T3" fmla="*/ 137 h 529"/>
                <a:gd name="T4" fmla="*/ 0 w 633"/>
                <a:gd name="T5" fmla="*/ 529 h 529"/>
                <a:gd name="T6" fmla="*/ 633 w 633"/>
                <a:gd name="T7" fmla="*/ 324 h 529"/>
                <a:gd name="T8" fmla="*/ 419 w 633"/>
                <a:gd name="T9" fmla="*/ 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3" h="529">
                  <a:moveTo>
                    <a:pt x="419" y="0"/>
                  </a:moveTo>
                  <a:lnTo>
                    <a:pt x="0" y="137"/>
                  </a:lnTo>
                  <a:lnTo>
                    <a:pt x="0" y="529"/>
                  </a:lnTo>
                  <a:lnTo>
                    <a:pt x="633" y="324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113" name="Group 4112">
            <a:extLst>
              <a:ext uri="{FF2B5EF4-FFF2-40B4-BE49-F238E27FC236}">
                <a16:creationId xmlns:a16="http://schemas.microsoft.com/office/drawing/2014/main" id="{8F974C06-68D0-8989-673C-2405B1BC27D7}"/>
              </a:ext>
            </a:extLst>
          </p:cNvPr>
          <p:cNvGrpSpPr/>
          <p:nvPr/>
        </p:nvGrpSpPr>
        <p:grpSpPr>
          <a:xfrm>
            <a:off x="2283880" y="2859756"/>
            <a:ext cx="2773823" cy="1732493"/>
            <a:chOff x="4114244" y="2859756"/>
            <a:chExt cx="2773823" cy="1732493"/>
          </a:xfrm>
        </p:grpSpPr>
        <p:sp>
          <p:nvSpPr>
            <p:cNvPr id="44" name="Freeform 101">
              <a:extLst>
                <a:ext uri="{FF2B5EF4-FFF2-40B4-BE49-F238E27FC236}">
                  <a16:creationId xmlns:a16="http://schemas.microsoft.com/office/drawing/2014/main" id="{ADC3A62B-A55C-12DC-4DF9-81FCA26F7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1858" y="2859756"/>
              <a:ext cx="1389825" cy="1509369"/>
            </a:xfrm>
            <a:custGeom>
              <a:avLst/>
              <a:gdLst>
                <a:gd name="T0" fmla="*/ 206 w 420"/>
                <a:gd name="T1" fmla="*/ 0 h 460"/>
                <a:gd name="T2" fmla="*/ 0 w 420"/>
                <a:gd name="T3" fmla="*/ 76 h 460"/>
                <a:gd name="T4" fmla="*/ 0 w 420"/>
                <a:gd name="T5" fmla="*/ 460 h 460"/>
                <a:gd name="T6" fmla="*/ 420 w 420"/>
                <a:gd name="T7" fmla="*/ 76 h 460"/>
                <a:gd name="T8" fmla="*/ 206 w 420"/>
                <a:gd name="T9" fmla="*/ 0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" h="460">
                  <a:moveTo>
                    <a:pt x="206" y="0"/>
                  </a:moveTo>
                  <a:lnTo>
                    <a:pt x="0" y="76"/>
                  </a:lnTo>
                  <a:lnTo>
                    <a:pt x="0" y="460"/>
                  </a:lnTo>
                  <a:lnTo>
                    <a:pt x="420" y="76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102">
              <a:extLst>
                <a:ext uri="{FF2B5EF4-FFF2-40B4-BE49-F238E27FC236}">
                  <a16:creationId xmlns:a16="http://schemas.microsoft.com/office/drawing/2014/main" id="{2C6A790C-6930-7628-F817-0493BD390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244" y="3109130"/>
              <a:ext cx="2697177" cy="1483119"/>
            </a:xfrm>
            <a:custGeom>
              <a:avLst/>
              <a:gdLst>
                <a:gd name="T0" fmla="*/ 608 w 822"/>
                <a:gd name="T1" fmla="*/ 17 h 452"/>
                <a:gd name="T2" fmla="*/ 411 w 822"/>
                <a:gd name="T3" fmla="*/ 69 h 452"/>
                <a:gd name="T4" fmla="*/ 205 w 822"/>
                <a:gd name="T5" fmla="*/ 0 h 452"/>
                <a:gd name="T6" fmla="*/ 0 w 822"/>
                <a:gd name="T7" fmla="*/ 316 h 452"/>
                <a:gd name="T8" fmla="*/ 411 w 822"/>
                <a:gd name="T9" fmla="*/ 452 h 452"/>
                <a:gd name="T10" fmla="*/ 822 w 822"/>
                <a:gd name="T11" fmla="*/ 324 h 452"/>
                <a:gd name="T12" fmla="*/ 608 w 822"/>
                <a:gd name="T13" fmla="*/ 17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2" h="452">
                  <a:moveTo>
                    <a:pt x="608" y="17"/>
                  </a:moveTo>
                  <a:lnTo>
                    <a:pt x="411" y="69"/>
                  </a:lnTo>
                  <a:lnTo>
                    <a:pt x="205" y="0"/>
                  </a:lnTo>
                  <a:lnTo>
                    <a:pt x="0" y="316"/>
                  </a:lnTo>
                  <a:lnTo>
                    <a:pt x="411" y="452"/>
                  </a:lnTo>
                  <a:lnTo>
                    <a:pt x="822" y="324"/>
                  </a:lnTo>
                  <a:lnTo>
                    <a:pt x="608" y="1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103">
              <a:extLst>
                <a:ext uri="{FF2B5EF4-FFF2-40B4-BE49-F238E27FC236}">
                  <a16:creationId xmlns:a16="http://schemas.microsoft.com/office/drawing/2014/main" id="{10AAAA83-8DF3-E01B-5565-0C52E413C8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483" y="3109131"/>
              <a:ext cx="1422584" cy="1483118"/>
            </a:xfrm>
            <a:custGeom>
              <a:avLst/>
              <a:gdLst>
                <a:gd name="T0" fmla="*/ 214 w 419"/>
                <a:gd name="T1" fmla="*/ 0 h 452"/>
                <a:gd name="T2" fmla="*/ 0 w 419"/>
                <a:gd name="T3" fmla="*/ 69 h 452"/>
                <a:gd name="T4" fmla="*/ 0 w 419"/>
                <a:gd name="T5" fmla="*/ 452 h 452"/>
                <a:gd name="T6" fmla="*/ 419 w 419"/>
                <a:gd name="T7" fmla="*/ 316 h 452"/>
                <a:gd name="T8" fmla="*/ 214 w 419"/>
                <a:gd name="T9" fmla="*/ 0 h 452"/>
                <a:gd name="connsiteX0" fmla="*/ 5107 w 10029"/>
                <a:gd name="connsiteY0" fmla="*/ 0 h 10000"/>
                <a:gd name="connsiteX1" fmla="*/ 0 w 10029"/>
                <a:gd name="connsiteY1" fmla="*/ 1527 h 10000"/>
                <a:gd name="connsiteX2" fmla="*/ 0 w 10029"/>
                <a:gd name="connsiteY2" fmla="*/ 10000 h 10000"/>
                <a:gd name="connsiteX3" fmla="*/ 10029 w 10029"/>
                <a:gd name="connsiteY3" fmla="*/ 7044 h 10000"/>
                <a:gd name="connsiteX4" fmla="*/ 5107 w 10029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29" h="10000">
                  <a:moveTo>
                    <a:pt x="5107" y="0"/>
                  </a:moveTo>
                  <a:lnTo>
                    <a:pt x="0" y="1527"/>
                  </a:lnTo>
                  <a:lnTo>
                    <a:pt x="0" y="10000"/>
                  </a:lnTo>
                  <a:lnTo>
                    <a:pt x="10029" y="7044"/>
                  </a:lnTo>
                  <a:lnTo>
                    <a:pt x="5107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111" name="Group 4110">
            <a:extLst>
              <a:ext uri="{FF2B5EF4-FFF2-40B4-BE49-F238E27FC236}">
                <a16:creationId xmlns:a16="http://schemas.microsoft.com/office/drawing/2014/main" id="{890213C8-0532-6B1B-9EAC-6E2C4AF44958}"/>
              </a:ext>
            </a:extLst>
          </p:cNvPr>
          <p:cNvGrpSpPr/>
          <p:nvPr/>
        </p:nvGrpSpPr>
        <p:grpSpPr>
          <a:xfrm>
            <a:off x="2973199" y="1711323"/>
            <a:ext cx="1378120" cy="1286245"/>
            <a:chOff x="4803563" y="1711323"/>
            <a:chExt cx="1378120" cy="1286245"/>
          </a:xfrm>
        </p:grpSpPr>
        <p:sp>
          <p:nvSpPr>
            <p:cNvPr id="47" name="Freeform 104">
              <a:extLst>
                <a:ext uri="{FF2B5EF4-FFF2-40B4-BE49-F238E27FC236}">
                  <a16:creationId xmlns:a16="http://schemas.microsoft.com/office/drawing/2014/main" id="{8C11B54A-BC00-5FE4-F327-4F6552C88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3563" y="1711323"/>
              <a:ext cx="1378119" cy="1286245"/>
            </a:xfrm>
            <a:custGeom>
              <a:avLst/>
              <a:gdLst>
                <a:gd name="T0" fmla="*/ 206 w 420"/>
                <a:gd name="T1" fmla="*/ 0 h 392"/>
                <a:gd name="T2" fmla="*/ 0 w 420"/>
                <a:gd name="T3" fmla="*/ 315 h 392"/>
                <a:gd name="T4" fmla="*/ 206 w 420"/>
                <a:gd name="T5" fmla="*/ 392 h 392"/>
                <a:gd name="T6" fmla="*/ 420 w 420"/>
                <a:gd name="T7" fmla="*/ 315 h 392"/>
                <a:gd name="T8" fmla="*/ 206 w 420"/>
                <a:gd name="T9" fmla="*/ 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" h="392">
                  <a:moveTo>
                    <a:pt x="206" y="0"/>
                  </a:moveTo>
                  <a:lnTo>
                    <a:pt x="0" y="315"/>
                  </a:lnTo>
                  <a:lnTo>
                    <a:pt x="206" y="392"/>
                  </a:lnTo>
                  <a:lnTo>
                    <a:pt x="420" y="315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Z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105">
              <a:extLst>
                <a:ext uri="{FF2B5EF4-FFF2-40B4-BE49-F238E27FC236}">
                  <a16:creationId xmlns:a16="http://schemas.microsoft.com/office/drawing/2014/main" id="{753571BC-DB2F-196A-A46D-A403B8F83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498" y="1711323"/>
              <a:ext cx="702185" cy="1286245"/>
            </a:xfrm>
            <a:custGeom>
              <a:avLst/>
              <a:gdLst>
                <a:gd name="T0" fmla="*/ 0 w 214"/>
                <a:gd name="T1" fmla="*/ 0 h 392"/>
                <a:gd name="T2" fmla="*/ 0 w 214"/>
                <a:gd name="T3" fmla="*/ 392 h 392"/>
                <a:gd name="T4" fmla="*/ 214 w 214"/>
                <a:gd name="T5" fmla="*/ 315 h 392"/>
                <a:gd name="T6" fmla="*/ 0 w 214"/>
                <a:gd name="T7" fmla="*/ 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4" h="392">
                  <a:moveTo>
                    <a:pt x="0" y="0"/>
                  </a:moveTo>
                  <a:lnTo>
                    <a:pt x="0" y="392"/>
                  </a:lnTo>
                  <a:lnTo>
                    <a:pt x="214" y="3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116" name="TextBox 4115">
            <a:extLst>
              <a:ext uri="{FF2B5EF4-FFF2-40B4-BE49-F238E27FC236}">
                <a16:creationId xmlns:a16="http://schemas.microsoft.com/office/drawing/2014/main" id="{8CD85727-C7D1-1DE9-2FBD-7182CD28A002}"/>
              </a:ext>
            </a:extLst>
          </p:cNvPr>
          <p:cNvSpPr txBox="1">
            <a:spLocks/>
          </p:cNvSpPr>
          <p:nvPr/>
        </p:nvSpPr>
        <p:spPr>
          <a:xfrm>
            <a:off x="5725105" y="2092096"/>
            <a:ext cx="1535643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251FF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  <a:sym typeface=""/>
              </a:rPr>
              <a:t>~8%</a:t>
            </a:r>
          </a:p>
        </p:txBody>
      </p:sp>
      <p:sp>
        <p:nvSpPr>
          <p:cNvPr id="4117" name="TextBox 4116">
            <a:extLst>
              <a:ext uri="{FF2B5EF4-FFF2-40B4-BE49-F238E27FC236}">
                <a16:creationId xmlns:a16="http://schemas.microsoft.com/office/drawing/2014/main" id="{ABF780C9-6AE9-B739-8648-14B37BA4FF13}"/>
              </a:ext>
            </a:extLst>
          </p:cNvPr>
          <p:cNvSpPr txBox="1">
            <a:spLocks/>
          </p:cNvSpPr>
          <p:nvPr/>
        </p:nvSpPr>
        <p:spPr>
          <a:xfrm>
            <a:off x="5725105" y="3413868"/>
            <a:ext cx="1535643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  <a:sym typeface=""/>
              </a:rPr>
              <a:t>~18%</a:t>
            </a:r>
          </a:p>
        </p:txBody>
      </p:sp>
      <p:sp>
        <p:nvSpPr>
          <p:cNvPr id="4118" name="TextBox 4117">
            <a:extLst>
              <a:ext uri="{FF2B5EF4-FFF2-40B4-BE49-F238E27FC236}">
                <a16:creationId xmlns:a16="http://schemas.microsoft.com/office/drawing/2014/main" id="{8F71FA88-2312-5F77-548D-CE8729C8BA26}"/>
              </a:ext>
            </a:extLst>
          </p:cNvPr>
          <p:cNvSpPr txBox="1">
            <a:spLocks/>
          </p:cNvSpPr>
          <p:nvPr/>
        </p:nvSpPr>
        <p:spPr>
          <a:xfrm>
            <a:off x="5725105" y="4769408"/>
            <a:ext cx="1535643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AAE6F0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  <a:sym typeface=""/>
              </a:rPr>
              <a:t>~74%</a:t>
            </a:r>
          </a:p>
        </p:txBody>
      </p:sp>
    </p:spTree>
    <p:extLst>
      <p:ext uri="{BB962C8B-B14F-4D97-AF65-F5344CB8AC3E}">
        <p14:creationId xmlns:p14="http://schemas.microsoft.com/office/powerpoint/2010/main" val="436091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2" hidden="1">
            <a:extLst>
              <a:ext uri="{FF2B5EF4-FFF2-40B4-BE49-F238E27FC236}">
                <a16:creationId xmlns:a16="http://schemas.microsoft.com/office/drawing/2014/main" id="{7337C3DD-1C08-45CB-94B2-FEC9E5EF64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395" imgH="396" progId="TCLayout.ActiveDocument.1">
                  <p:embed/>
                </p:oleObj>
              </mc:Choice>
              <mc:Fallback>
                <p:oleObj name="think-cell Slide" r:id="rId49" imgW="395" imgH="396" progId="TCLayout.ActiveDocument.1">
                  <p:embed/>
                  <p:pic>
                    <p:nvPicPr>
                      <p:cNvPr id="19" name="Object 2" hidden="1">
                        <a:extLst>
                          <a:ext uri="{FF2B5EF4-FFF2-40B4-BE49-F238E27FC236}">
                            <a16:creationId xmlns:a16="http://schemas.microsoft.com/office/drawing/2014/main" id="{7337C3DD-1C08-45CB-94B2-FEC9E5EF64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922" name="Rectangle 3">
            <a:extLst>
              <a:ext uri="{FF2B5EF4-FFF2-40B4-BE49-F238E27FC236}">
                <a16:creationId xmlns:a16="http://schemas.microsoft.com/office/drawing/2014/main" id="{84EFF1A0-BE41-4946-A2F4-39F674C6F59C}"/>
              </a:ext>
            </a:extLst>
          </p:cNvPr>
          <p:cNvPicPr>
            <a:picLocks noChangeArrowheads="1"/>
          </p:cNvPicPr>
          <p:nvPr/>
        </p:nvPicPr>
        <p:blipFill>
          <a:blip r:embed="rId51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8823" cy="685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3">
            <a:extLst>
              <a:ext uri="{FF2B5EF4-FFF2-40B4-BE49-F238E27FC236}">
                <a16:creationId xmlns:a16="http://schemas.microsoft.com/office/drawing/2014/main" id="{C62626CD-EBE3-4CCF-AEC6-764161FCE86A}"/>
              </a:ext>
            </a:extLst>
          </p:cNvPr>
          <p:cNvSpPr>
            <a:spLocks/>
          </p:cNvSpPr>
          <p:nvPr/>
        </p:nvSpPr>
        <p:spPr>
          <a:xfrm>
            <a:off x="-1" y="0"/>
            <a:ext cx="12188823" cy="6858000"/>
          </a:xfrm>
          <a:prstGeom prst="rect">
            <a:avLst/>
          </a:prstGeom>
          <a:solidFill>
            <a:srgbClr val="04080A">
              <a:alpha val="77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EC2C56-61DC-43D3-FE43-4EECD28837E2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noAutofit/>
          </a:bodyPr>
          <a:lstStyle/>
          <a:p>
            <a:r>
              <a:rPr lang="fr-FR" dirty="0"/>
              <a:t>Agenda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0E4D36F8-2645-492F-874B-5AB7029A59F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FB06B1-E725-403B-B221-89F65B349F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3CB8BA-E5A5-D9B6-AE60-7D7CEF0BAEED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554736" y="1715907"/>
            <a:ext cx="11082528" cy="0"/>
          </a:xfrm>
          <a:prstGeom prst="line">
            <a:avLst/>
          </a:prstGeom>
          <a:ln w="1270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24C9B605-1E9A-C98C-7E4C-5F5D2DEFA52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287389"/>
            <a:ext cx="2573626" cy="3693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y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70CFDB3-7B99-C4F0-6E21-91CEB54B2EE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1785170"/>
            <a:ext cx="2835954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aturday </a:t>
            </a:r>
            <a:r>
              <a:rPr lang="fr-FR" sz="2200" b="1" dirty="0">
                <a:solidFill>
                  <a:srgbClr val="FFFFFF"/>
                </a:solidFill>
                <a:latin typeface="Arial"/>
              </a:rPr>
              <a:t>23</a:t>
            </a:r>
            <a:r>
              <a:rPr kumimoji="0" 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/11</a:t>
            </a:r>
          </a:p>
        </p:txBody>
      </p:sp>
      <p:cxnSp>
        <p:nvCxnSpPr>
          <p:cNvPr id="26" name="LineBasicVerticalDefault 26">
            <a:extLst>
              <a:ext uri="{FF2B5EF4-FFF2-40B4-BE49-F238E27FC236}">
                <a16:creationId xmlns:a16="http://schemas.microsoft.com/office/drawing/2014/main" id="{3E18A88D-8D6F-4B48-917B-676717F5DEE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690337" y="1836629"/>
            <a:ext cx="0" cy="1990071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LineBasicDefault 36">
            <a:extLst>
              <a:ext uri="{FF2B5EF4-FFF2-40B4-BE49-F238E27FC236}">
                <a16:creationId xmlns:a16="http://schemas.microsoft.com/office/drawing/2014/main" id="{18E17E9F-D1B6-4213-8F4A-CBA1E6C18B88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3973225" y="2162210"/>
            <a:ext cx="766403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LineBasicDefault 36">
            <a:extLst>
              <a:ext uri="{FF2B5EF4-FFF2-40B4-BE49-F238E27FC236}">
                <a16:creationId xmlns:a16="http://schemas.microsoft.com/office/drawing/2014/main" id="{57196617-9AB3-4C06-9769-D01CC7542239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973225" y="3054816"/>
            <a:ext cx="766403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LineBasicDefault 36">
            <a:extLst>
              <a:ext uri="{FF2B5EF4-FFF2-40B4-BE49-F238E27FC236}">
                <a16:creationId xmlns:a16="http://schemas.microsoft.com/office/drawing/2014/main" id="{99DDC6E9-C968-4609-A8FE-5CA36A78B99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973225" y="2608513"/>
            <a:ext cx="766403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neBasicDefault 36">
            <a:extLst>
              <a:ext uri="{FF2B5EF4-FFF2-40B4-BE49-F238E27FC236}">
                <a16:creationId xmlns:a16="http://schemas.microsoft.com/office/drawing/2014/main" id="{B406CDC2-504A-4273-9F4A-01E0D2A15D7F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3973225" y="4393725"/>
            <a:ext cx="766403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LineBasicDefault 36">
            <a:extLst>
              <a:ext uri="{FF2B5EF4-FFF2-40B4-BE49-F238E27FC236}">
                <a16:creationId xmlns:a16="http://schemas.microsoft.com/office/drawing/2014/main" id="{0116DA1F-CEA7-4925-A127-8828ED986900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3973225" y="6178937"/>
            <a:ext cx="766403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9BA120D2-1EEC-49D0-94F7-EB3DFB2881EC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554736" y="3947422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8C37BF2F-0FC1-4D1D-8FDD-09A75F110D56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554736" y="4016685"/>
            <a:ext cx="2835954" cy="338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unday </a:t>
            </a:r>
            <a:r>
              <a:rPr lang="fr-FR" sz="2200" b="1" dirty="0">
                <a:solidFill>
                  <a:srgbClr val="FFFFFF"/>
                </a:solidFill>
                <a:latin typeface="Arial"/>
              </a:rPr>
              <a:t>24</a:t>
            </a:r>
            <a:r>
              <a:rPr kumimoji="0" lang="fr-FR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/1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9E6A1B-AF69-FE6C-E51D-8A436D433A06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3973225" y="1287389"/>
            <a:ext cx="1598664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i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134D06-2D9C-2C16-9457-6F68FB9C3B9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6148819" y="1287389"/>
            <a:ext cx="5488445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tiv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1870D57-7478-0173-4A45-1AD6E0BB6224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3973226" y="2231473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fr-FR" sz="2000" dirty="0">
                <a:latin typeface="Arial"/>
              </a:rPr>
              <a:t>11h-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2h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6A48EB68-AB17-4F37-9F56-7903AAD34BA2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3973226" y="1785170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fr-FR" sz="2000" dirty="0">
                <a:latin typeface="Arial"/>
              </a:rPr>
              <a:t>10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-11h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839E7DA-E49B-D8AE-EC44-FECA3188EECB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3973226" y="3124079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3h30-14h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AAD268A-0BF7-449E-ADB6-300CCB04E57B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3973226" y="3570382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fr-FR" sz="2000" dirty="0">
                <a:latin typeface="Arial"/>
              </a:rPr>
              <a:t>14h-18h</a:t>
            </a:r>
            <a:endParaRPr kumimoji="0" lang="fr-FR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7711338-B6EB-B894-0B89-940F46A403BB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3973226" y="4909291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fr-FR" sz="2000" dirty="0">
                <a:latin typeface="Arial"/>
              </a:rPr>
              <a:t>14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-20h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71D09A6-6F05-57B2-0DB7-B12161EC9398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3973226" y="6248207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9h15-19h30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681B450-CCA7-2FF5-E803-64AC085AFB83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3973226" y="5783488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8h-19h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2F5C5E9-84E7-CE2F-8BC3-F1467C592D2A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6148819" y="2725045"/>
            <a:ext cx="5488445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endParaRPr kumimoji="0" lang="fr-FR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2262B2CA-564B-4F00-B427-53DF3B68BB51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6148819" y="1785170"/>
            <a:ext cx="5488445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rgbClr val="FFFFFF"/>
              </a:buClr>
              <a:buNone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hallenge kick off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endParaRPr kumimoji="0" lang="fr-FR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1989D99-3962-0344-3C44-8D82CAF7EECE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6148819" y="3124079"/>
            <a:ext cx="5488445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Q&amp;A sess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endParaRPr kumimoji="0" lang="fr-FR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B01BFAA-7B67-484A-BE4C-708877EB9FCB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6148819" y="3570382"/>
            <a:ext cx="5488445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eam </a:t>
            </a: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ork</a:t>
            </a:r>
            <a:endParaRPr kumimoji="0" lang="fr-FR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5A43692-23C4-E306-7098-6F54A528845E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6148819" y="4909291"/>
            <a:ext cx="5488445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eam </a:t>
            </a: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ork</a:t>
            </a:r>
            <a:endParaRPr kumimoji="0" lang="fr-FR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AA13347-BDDE-0382-9989-FE40250B5B17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6148819" y="5783488"/>
            <a:ext cx="5488445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inal </a:t>
            </a:r>
            <a:r>
              <a:rPr lang="fr-FR" sz="2000" dirty="0" err="1">
                <a:latin typeface="Arial"/>
              </a:rPr>
              <a:t>between</a:t>
            </a:r>
            <a:r>
              <a:rPr lang="fr-FR" sz="2000" dirty="0">
                <a:latin typeface="Arial"/>
              </a:rPr>
              <a:t> </a:t>
            </a:r>
            <a:r>
              <a:rPr lang="fr-FR" sz="2000" dirty="0" err="1">
                <a:latin typeface="Arial"/>
              </a:rPr>
              <a:t>pre</a:t>
            </a:r>
            <a:r>
              <a:rPr lang="fr-FR" sz="2000" dirty="0">
                <a:latin typeface="Arial"/>
              </a:rPr>
              <a:t>-</a:t>
            </a: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elected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team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36393D2-B25C-1D79-3B79-17C3BEE12F7F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6148819" y="6248207"/>
            <a:ext cx="5488445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hallenge </a:t>
            </a: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sults</a:t>
            </a:r>
            <a:endParaRPr kumimoji="0" lang="fr-FR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4BA34F-61E2-6F83-C1E7-BD4843CBCBFD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3973226" y="4462988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2h-13h3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AF2A76-C73B-6638-AA9B-28991ADF3A90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6148819" y="4462988"/>
            <a:ext cx="5488445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unch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938312E-80E9-44F4-B999-36CE7707D6A5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6148819" y="4016685"/>
            <a:ext cx="5488445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rgbClr val="FFFFFF"/>
              </a:buClr>
              <a:buNone/>
              <a:defRPr/>
            </a:pP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eam </a:t>
            </a:r>
            <a:r>
              <a:rPr kumimoji="0" lang="fr-FR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ork</a:t>
            </a:r>
            <a:endParaRPr kumimoji="0" lang="fr-FR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endParaRPr kumimoji="0" lang="fr-FR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D07512B-F5C0-46C6-82C5-5406487A1D8F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3973226" y="4016685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fr-FR" sz="2000" dirty="0">
                <a:latin typeface="Arial"/>
              </a:rPr>
              <a:t>9h-12h</a:t>
            </a:r>
            <a:endParaRPr kumimoji="0" lang="fr-FR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SlideLogoText">
            <a:extLst>
              <a:ext uri="{FF2B5EF4-FFF2-40B4-BE49-F238E27FC236}">
                <a16:creationId xmlns:a16="http://schemas.microsoft.com/office/drawing/2014/main" id="{9B5D5C17-89AF-4C1A-A5FF-B024BC1CBB88}"/>
              </a:ext>
            </a:extLst>
          </p:cNvPr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9587101" y="6841607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  <p:sp>
        <p:nvSpPr>
          <p:cNvPr id="47" name="Slide Number">
            <a:extLst>
              <a:ext uri="{FF2B5EF4-FFF2-40B4-BE49-F238E27FC236}">
                <a16:creationId xmlns:a16="http://schemas.microsoft.com/office/drawing/2014/main" id="{70384310-2C3A-42AB-A6D6-D513E38A88B4}"/>
              </a:ext>
            </a:extLst>
          </p:cNvPr>
          <p:cNvSpPr>
            <a:spLocks noChangeArrowheads="1"/>
          </p:cNvSpPr>
          <p:nvPr>
            <p:custDataLst>
              <p:tags r:id="rId34"/>
            </p:custDataLst>
          </p:nvPr>
        </p:nvSpPr>
        <p:spPr bwMode="black">
          <a:xfrm>
            <a:off x="11312525" y="684160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9C91E6C-7109-F050-7BBB-6F72989025FF}"/>
              </a:ext>
            </a:extLst>
          </p:cNvPr>
          <p:cNvSpPr txBox="1"/>
          <p:nvPr/>
        </p:nvSpPr>
        <p:spPr>
          <a:xfrm>
            <a:off x="12496800" y="34544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cxnSp>
        <p:nvCxnSpPr>
          <p:cNvPr id="7" name="LineBasicDefault 36">
            <a:extLst>
              <a:ext uri="{FF2B5EF4-FFF2-40B4-BE49-F238E27FC236}">
                <a16:creationId xmlns:a16="http://schemas.microsoft.com/office/drawing/2014/main" id="{0BE184FF-32E7-4388-D1ED-A4DA8E9F7693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>
          <a:xfrm>
            <a:off x="3973225" y="3501119"/>
            <a:ext cx="766403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F0DB1AE-5413-8567-E7FC-DA572E5F8B72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>
          <a:xfrm>
            <a:off x="3973226" y="2677776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2h-13h3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EFBC91-81CF-7C4A-5D8F-1672C80228D1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>
          <a:xfrm>
            <a:off x="6148819" y="2677776"/>
            <a:ext cx="5488445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unch</a:t>
            </a:r>
          </a:p>
        </p:txBody>
      </p:sp>
      <p:cxnSp>
        <p:nvCxnSpPr>
          <p:cNvPr id="15" name="LineBasicVerticalDefault 26">
            <a:extLst>
              <a:ext uri="{FF2B5EF4-FFF2-40B4-BE49-F238E27FC236}">
                <a16:creationId xmlns:a16="http://schemas.microsoft.com/office/drawing/2014/main" id="{D7FB067E-AFE5-7D16-721D-712F0A51E809}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>
          <a:xfrm>
            <a:off x="3691812" y="4088538"/>
            <a:ext cx="0" cy="1502979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LineBasicDefault 36">
            <a:extLst>
              <a:ext uri="{FF2B5EF4-FFF2-40B4-BE49-F238E27FC236}">
                <a16:creationId xmlns:a16="http://schemas.microsoft.com/office/drawing/2014/main" id="{60F43BF8-288F-2EA5-0896-B296126DF0F8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>
          <a:xfrm>
            <a:off x="3973225" y="4840028"/>
            <a:ext cx="766403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A065DBF7-E475-29D4-CCD8-599DE26537C8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>
          <a:xfrm>
            <a:off x="6148819" y="2231473"/>
            <a:ext cx="5488445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etup and Team </a:t>
            </a:r>
            <a:r>
              <a:rPr kumimoji="0" lang="fr-FR" sz="200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ork</a:t>
            </a:r>
            <a:endParaRPr kumimoji="0" lang="fr-FR" sz="20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88D82F2-A790-4438-5448-A5A90B871FDD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>
          <a:xfrm>
            <a:off x="554736" y="5783488"/>
            <a:ext cx="2835954" cy="338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ednesday </a:t>
            </a:r>
            <a:r>
              <a:rPr lang="en-US" sz="2200" b="1" dirty="0">
                <a:solidFill>
                  <a:srgbClr val="FFFFFF"/>
                </a:solidFill>
                <a:latin typeface="Arial"/>
              </a:rPr>
              <a:t>27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/11</a:t>
            </a:r>
          </a:p>
        </p:txBody>
      </p:sp>
      <p:cxnSp>
        <p:nvCxnSpPr>
          <p:cNvPr id="16" name="LineBasicVerticalDefault 26">
            <a:extLst>
              <a:ext uri="{FF2B5EF4-FFF2-40B4-BE49-F238E27FC236}">
                <a16:creationId xmlns:a16="http://schemas.microsoft.com/office/drawing/2014/main" id="{E17DB9AC-AAB5-E570-3934-6710012B8B33}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>
          <a:xfrm>
            <a:off x="3691812" y="5834804"/>
            <a:ext cx="0" cy="697508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33D57FD-C219-7231-9F50-1A7E11998719}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>
          <a:xfrm>
            <a:off x="554736" y="5732634"/>
            <a:ext cx="1108252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2642F900-9B7E-83FE-4509-33F45587EE28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>
          <a:xfrm>
            <a:off x="3973226" y="5355594"/>
            <a:ext cx="1598664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fr-FR" sz="2000" dirty="0">
                <a:latin typeface="Arial"/>
              </a:rPr>
              <a:t>20h</a:t>
            </a:r>
            <a:endParaRPr kumimoji="0" lang="fr-FR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F44AD14-6A13-A08A-8160-B8466ED32D34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>
          <a:xfrm>
            <a:off x="6148819" y="5355594"/>
            <a:ext cx="5488445" cy="3077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fr-FR" sz="2000" dirty="0">
                <a:latin typeface="Arial"/>
              </a:rPr>
              <a:t>End of the Hackathon</a:t>
            </a:r>
            <a:endParaRPr kumimoji="0" lang="fr-FR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1" name="LineBasicDefault 36">
            <a:extLst>
              <a:ext uri="{FF2B5EF4-FFF2-40B4-BE49-F238E27FC236}">
                <a16:creationId xmlns:a16="http://schemas.microsoft.com/office/drawing/2014/main" id="{518FCB50-3B31-0069-D0EC-605EA384F3E8}"/>
              </a:ext>
            </a:extLst>
          </p:cNvPr>
          <p:cNvCxnSpPr>
            <a:cxnSpLocks/>
          </p:cNvCxnSpPr>
          <p:nvPr>
            <p:custDataLst>
              <p:tags r:id="rId46"/>
            </p:custDataLst>
          </p:nvPr>
        </p:nvCxnSpPr>
        <p:spPr>
          <a:xfrm>
            <a:off x="3973225" y="5286331"/>
            <a:ext cx="766403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62380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" hidden="1">
            <a:extLst>
              <a:ext uri="{FF2B5EF4-FFF2-40B4-BE49-F238E27FC236}">
                <a16:creationId xmlns:a16="http://schemas.microsoft.com/office/drawing/2014/main" id="{DDAEAA92-66A4-C1E4-E096-498209A476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7772400" imgH="10058400" progId="TCLayout.ActiveDocument.1">
                  <p:embed/>
                </p:oleObj>
              </mc:Choice>
              <mc:Fallback>
                <p:oleObj name="think-cell Slide" r:id="rId25" imgW="7772400" imgH="10058400" progId="TCLayout.ActiveDocument.1">
                  <p:embed/>
                  <p:pic>
                    <p:nvPicPr>
                      <p:cNvPr id="21" name="Object 2" hidden="1">
                        <a:extLst>
                          <a:ext uri="{FF2B5EF4-FFF2-40B4-BE49-F238E27FC236}">
                            <a16:creationId xmlns:a16="http://schemas.microsoft.com/office/drawing/2014/main" id="{DDAEAA92-66A4-C1E4-E096-498209A476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D1BC7265-4FFA-D8E3-7269-9CF759588B5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288901"/>
            <a:ext cx="11082528" cy="715581"/>
          </a:xfrm>
        </p:spPr>
        <p:txBody>
          <a:bodyPr vert="horz">
            <a:spAutoFit/>
          </a:bodyPr>
          <a:lstStyle/>
          <a:p>
            <a:r>
              <a:rPr lang="en-US" dirty="0"/>
              <a:t>Scaling </a:t>
            </a:r>
            <a:r>
              <a:rPr lang="en-US" dirty="0" err="1"/>
              <a:t>GenAI</a:t>
            </a:r>
            <a:r>
              <a:rPr lang="en-US" dirty="0"/>
              <a:t> requires a radical change on multiple dimensions vs the approach adopted for experimentation</a:t>
            </a:r>
          </a:p>
        </p:txBody>
      </p:sp>
      <p:sp>
        <p:nvSpPr>
          <p:cNvPr id="11" name="TextBox 73">
            <a:extLst>
              <a:ext uri="{FF2B5EF4-FFF2-40B4-BE49-F238E27FC236}">
                <a16:creationId xmlns:a16="http://schemas.microsoft.com/office/drawing/2014/main" id="{6CED3979-D227-3C93-502D-244A37D5CB2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110433" y="1738262"/>
            <a:ext cx="344235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  <a:sym typeface="+mn-lt"/>
              </a:defRPr>
            </a:lvl1pPr>
            <a:lvl2pPr marL="192024" lvl="1" indent="-192024" defTabSz="91354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  <a:sym typeface="+mn-lt"/>
              </a:defRPr>
            </a:lvl2pPr>
            <a:lvl3pPr marL="457200" lvl="2" indent="-265176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  <a:sym typeface="+mn-lt"/>
              </a:defRPr>
            </a:lvl3pPr>
            <a:lvl4pPr marL="630936" lvl="3" indent="-155448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  <a:sym typeface="+mn-lt"/>
              </a:defRPr>
            </a:lvl4pPr>
            <a:lvl5pPr marL="749808" lvl="4" indent="-128016" defTabSz="913542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  <a:sym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Large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number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of use case investi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gated</a:t>
            </a:r>
            <a:endParaRPr lang="fr-FR" sz="1400" b="1" dirty="0">
              <a:solidFill>
                <a:srgbClr val="FFFFFF"/>
              </a:solidFill>
              <a:latin typeface="Arial"/>
              <a:cs typeface="Arabic Typesetting" panose="020B0604020202020204" pitchFamily="66" charset="-78"/>
            </a:endParaRPr>
          </a:p>
        </p:txBody>
      </p:sp>
      <p:sp>
        <p:nvSpPr>
          <p:cNvPr id="13" name="TextBox 73">
            <a:extLst>
              <a:ext uri="{FF2B5EF4-FFF2-40B4-BE49-F238E27FC236}">
                <a16:creationId xmlns:a16="http://schemas.microsoft.com/office/drawing/2014/main" id="{310C3E32-B17A-3B95-FF65-EFD0D7719E2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521065" y="1738262"/>
            <a:ext cx="50093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  <a:sym typeface="+mn-lt"/>
              </a:defRPr>
            </a:lvl1pPr>
            <a:lvl2pPr marL="192024" lvl="1" indent="-192024" defTabSz="91354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  <a:sym typeface="+mn-lt"/>
              </a:defRPr>
            </a:lvl2pPr>
            <a:lvl3pPr marL="457200" lvl="2" indent="-265176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  <a:sym typeface="+mn-lt"/>
              </a:defRPr>
            </a:lvl3pPr>
            <a:lvl4pPr marL="630936" lvl="3" indent="-155448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  <a:sym typeface="+mn-lt"/>
              </a:defRPr>
            </a:lvl4pPr>
            <a:lvl5pPr marL="749808" lvl="4" indent="-128016" defTabSz="913542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  <a:sym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Focus on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limited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number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of high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potential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use cases</a:t>
            </a:r>
          </a:p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Robust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 business case (value levers and run 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cost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)</a:t>
            </a:r>
            <a:endParaRPr kumimoji="0" lang="fr-FR" sz="1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abic Typesetting" panose="020B0604020202020204" pitchFamily="66" charset="-78"/>
              <a:sym typeface="+mn-lt"/>
            </a:endParaRPr>
          </a:p>
        </p:txBody>
      </p:sp>
      <p:sp>
        <p:nvSpPr>
          <p:cNvPr id="14" name="TextBox 73">
            <a:extLst>
              <a:ext uri="{FF2B5EF4-FFF2-40B4-BE49-F238E27FC236}">
                <a16:creationId xmlns:a16="http://schemas.microsoft.com/office/drawing/2014/main" id="{47ECC500-EE2A-2983-434C-A3C48F3A13A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110433" y="2469889"/>
            <a:ext cx="3524653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  <a:sym typeface="+mn-lt"/>
              </a:defRPr>
            </a:lvl1pPr>
            <a:lvl2pPr marL="192024" lvl="1" indent="-192024" defTabSz="91354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  <a:sym typeface="+mn-lt"/>
              </a:defRPr>
            </a:lvl2pPr>
            <a:lvl3pPr marL="457200" lvl="2" indent="-265176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  <a:sym typeface="+mn-lt"/>
              </a:defRPr>
            </a:lvl3pPr>
            <a:lvl4pPr marL="630936" lvl="3" indent="-155448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  <a:sym typeface="+mn-lt"/>
              </a:defRPr>
            </a:lvl4pPr>
            <a:lvl5pPr marL="749808" lvl="4" indent="-128016" defTabSz="913542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  <a:sym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De-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centralized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or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centralized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(AI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lab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)</a:t>
            </a:r>
            <a:endParaRPr kumimoji="0" lang="fr-FR" sz="1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abic Typesetting" panose="020B0604020202020204" pitchFamily="66" charset="-78"/>
              <a:sym typeface="+mn-lt"/>
            </a:endParaRPr>
          </a:p>
        </p:txBody>
      </p:sp>
      <p:sp>
        <p:nvSpPr>
          <p:cNvPr id="15" name="TextBox 73">
            <a:extLst>
              <a:ext uri="{FF2B5EF4-FFF2-40B4-BE49-F238E27FC236}">
                <a16:creationId xmlns:a16="http://schemas.microsoft.com/office/drawing/2014/main" id="{7F2F732E-6ECC-5287-6A57-5B5C24268B5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6521065" y="2469889"/>
            <a:ext cx="5047297" cy="8002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  <a:sym typeface="+mn-lt"/>
              </a:defRPr>
            </a:lvl1pPr>
            <a:lvl2pPr marL="192024" lvl="1" indent="-192024" defTabSz="91354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  <a:sym typeface="+mn-lt"/>
              </a:defRPr>
            </a:lvl2pPr>
            <a:lvl3pPr marL="457200" lvl="2" indent="-265176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  <a:sym typeface="+mn-lt"/>
              </a:defRPr>
            </a:lvl3pPr>
            <a:lvl4pPr marL="630936" lvl="3" indent="-155448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  <a:sym typeface="+mn-lt"/>
              </a:defRPr>
            </a:lvl4pPr>
            <a:lvl5pPr marL="749808" lvl="4" indent="-128016" defTabSz="913542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  <a:sym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Federated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Product &amp; Platform operating model</a:t>
            </a:r>
            <a:endParaRPr kumimoji="0" lang="fr-FR" sz="1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abic Typesetting" panose="020B0604020202020204" pitchFamily="66" charset="-78"/>
              <a:sym typeface="+mn-lt"/>
            </a:endParaRPr>
          </a:p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D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ata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 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governance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 for 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unstructured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 data</a:t>
            </a:r>
            <a:endParaRPr kumimoji="0" lang="fr-FR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abic Typesetting" panose="020B0604020202020204" pitchFamily="66" charset="-78"/>
              <a:sym typeface="+mn-lt"/>
            </a:endParaRPr>
          </a:p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kumimoji="0" lang="fr-FR" sz="1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abic Typesetting" panose="020B0604020202020204" pitchFamily="66" charset="-78"/>
              <a:sym typeface="+mn-lt"/>
            </a:endParaRPr>
          </a:p>
        </p:txBody>
      </p:sp>
      <p:sp>
        <p:nvSpPr>
          <p:cNvPr id="16" name="TextBox 73">
            <a:extLst>
              <a:ext uri="{FF2B5EF4-FFF2-40B4-BE49-F238E27FC236}">
                <a16:creationId xmlns:a16="http://schemas.microsoft.com/office/drawing/2014/main" id="{B1C09D15-FBB0-91FF-0BA0-17771808FA5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2110433" y="3810259"/>
            <a:ext cx="3698387" cy="646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  <a:sym typeface="+mn-lt"/>
              </a:defRPr>
            </a:lvl1pPr>
            <a:lvl2pPr marL="192024" lvl="1" indent="-192024" defTabSz="91354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  <a:sym typeface="+mn-lt"/>
              </a:defRPr>
            </a:lvl2pPr>
            <a:lvl3pPr marL="457200" lvl="2" indent="-265176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  <a:sym typeface="+mn-lt"/>
              </a:defRPr>
            </a:lvl3pPr>
            <a:lvl4pPr marL="630936" lvl="3" indent="-155448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  <a:sym typeface="+mn-lt"/>
              </a:defRPr>
            </a:lvl4pPr>
            <a:lvl5pPr marL="749808" lvl="4" indent="-128016" defTabSz="913542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  <a:sym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« Proof Of Concept » </a:t>
            </a:r>
            <a:r>
              <a:rPr kumimoji="0" lang="fr-FR" sz="14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approach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</a:t>
            </a:r>
            <a:r>
              <a:rPr kumimoji="0" lang="fr-FR" sz="14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focused</a:t>
            </a:r>
            <a:r>
              <a:rPr kumimoji="0" lang="fr-FR" sz="14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on checking tech </a:t>
            </a:r>
            <a:r>
              <a:rPr kumimoji="0" lang="fr-FR" sz="14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feasibility</a:t>
            </a:r>
            <a:r>
              <a:rPr kumimoji="0" lang="fr-FR" sz="14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and value </a:t>
            </a:r>
            <a:r>
              <a:rPr kumimoji="0" lang="fr-FR" sz="14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creation</a:t>
            </a:r>
            <a:r>
              <a:rPr kumimoji="0" lang="fr-FR" sz="14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</a:t>
            </a:r>
            <a:r>
              <a:rPr kumimoji="0" lang="fr-FR" sz="14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potential</a:t>
            </a:r>
            <a:endParaRPr kumimoji="0" lang="fr-FR" sz="1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abic Typesetting" panose="020B0604020202020204" pitchFamily="66" charset="-78"/>
              <a:sym typeface="+mn-lt"/>
            </a:endParaRPr>
          </a:p>
        </p:txBody>
      </p:sp>
      <p:sp>
        <p:nvSpPr>
          <p:cNvPr id="17" name="TextBox 73">
            <a:extLst>
              <a:ext uri="{FF2B5EF4-FFF2-40B4-BE49-F238E27FC236}">
                <a16:creationId xmlns:a16="http://schemas.microsoft.com/office/drawing/2014/main" id="{4083833C-7821-FF6A-2437-B796F00A203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521065" y="3810259"/>
            <a:ext cx="5271532" cy="646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  <a:sym typeface="+mn-lt"/>
              </a:defRPr>
            </a:lvl1pPr>
            <a:lvl2pPr marL="192024" lvl="1" indent="-192024" defTabSz="91354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  <a:sym typeface="+mn-lt"/>
              </a:defRPr>
            </a:lvl2pPr>
            <a:lvl3pPr marL="457200" lvl="2" indent="-265176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  <a:sym typeface="+mn-lt"/>
              </a:defRPr>
            </a:lvl3pPr>
            <a:lvl4pPr marL="630936" lvl="3" indent="-155448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  <a:sym typeface="+mn-lt"/>
              </a:defRPr>
            </a:lvl4pPr>
            <a:lvl5pPr marL="749808" lvl="4" indent="-128016" defTabSz="913542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  <a:sym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« 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T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ransformative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 »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approach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</a:t>
            </a:r>
            <a:r>
              <a:rPr lang="fr-FR" sz="1400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covering</a:t>
            </a:r>
            <a:r>
              <a:rPr lang="fr-FR" sz="1400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 process reengineering, change management, </a:t>
            </a:r>
            <a:r>
              <a:rPr lang="fr-FR" sz="1400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tracking</a:t>
            </a:r>
            <a:r>
              <a:rPr lang="fr-FR" sz="1400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 of adoption/value capture, </a:t>
            </a:r>
            <a:r>
              <a:rPr lang="fr-FR" sz="1400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GenAI</a:t>
            </a:r>
            <a:r>
              <a:rPr lang="fr-FR" sz="1400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 application </a:t>
            </a:r>
            <a:r>
              <a:rPr lang="fr-FR" sz="1400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industrialization</a:t>
            </a:r>
            <a:r>
              <a:rPr lang="fr-FR" sz="1400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 and 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proactive 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risk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 mitigation</a:t>
            </a:r>
          </a:p>
        </p:txBody>
      </p:sp>
      <p:sp>
        <p:nvSpPr>
          <p:cNvPr id="18" name="TextBox 73">
            <a:extLst>
              <a:ext uri="{FF2B5EF4-FFF2-40B4-BE49-F238E27FC236}">
                <a16:creationId xmlns:a16="http://schemas.microsoft.com/office/drawing/2014/main" id="{1CB1BB2C-B840-DC5F-B03E-83917BD1EB2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2110433" y="4628100"/>
            <a:ext cx="3960516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  <a:sym typeface="+mn-lt"/>
              </a:defRPr>
            </a:lvl1pPr>
            <a:lvl2pPr marL="192024" lvl="1" indent="-192024" defTabSz="91354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  <a:sym typeface="+mn-lt"/>
              </a:defRPr>
            </a:lvl2pPr>
            <a:lvl3pPr marL="457200" lvl="2" indent="-265176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  <a:sym typeface="+mn-lt"/>
              </a:defRPr>
            </a:lvl3pPr>
            <a:lvl4pPr marL="630936" lvl="3" indent="-155448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  <a:sym typeface="+mn-lt"/>
              </a:defRPr>
            </a:lvl4pPr>
            <a:lvl5pPr marL="749808" lvl="4" indent="-128016" defTabSz="913542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  <a:sym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Standalone 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sandbox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 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environment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 leveraging CSP off the shelf AI/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GenAI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 panose="020B0604020202020204" pitchFamily="66" charset="-78"/>
              </a:rPr>
              <a:t> services</a:t>
            </a:r>
          </a:p>
        </p:txBody>
      </p:sp>
      <p:sp>
        <p:nvSpPr>
          <p:cNvPr id="47" name="TextBox 73">
            <a:extLst>
              <a:ext uri="{FF2B5EF4-FFF2-40B4-BE49-F238E27FC236}">
                <a16:creationId xmlns:a16="http://schemas.microsoft.com/office/drawing/2014/main" id="{4CFF136A-CAD5-E961-F69C-54B0DD00E0F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6521064" y="4628100"/>
            <a:ext cx="5139930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  <a:sym typeface="+mn-lt"/>
              </a:defRPr>
            </a:lvl1pPr>
            <a:lvl2pPr marL="192024" lvl="1" indent="-192024" defTabSz="91354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  <a:sym typeface="+mn-lt"/>
              </a:defRPr>
            </a:lvl2pPr>
            <a:lvl3pPr marL="457200" lvl="2" indent="-265176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  <a:sym typeface="+mn-lt"/>
              </a:defRPr>
            </a:lvl3pPr>
            <a:lvl4pPr marL="630936" lvl="3" indent="-155448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  <a:sym typeface="+mn-lt"/>
              </a:defRPr>
            </a:lvl4pPr>
            <a:lvl5pPr marL="749808" lvl="4" indent="-128016" defTabSz="913542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  <a:sym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Secured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, scalable and flexible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GenAI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tech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foundation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(incl.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Industrialized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data pipeline &amp; LLM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OPs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),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enabling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abic Typesetting" panose="020B0604020202020204" pitchFamily="66" charset="-78"/>
                <a:sym typeface="+mn-lt"/>
              </a:rPr>
              <a:t> re-use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E04D2578-5236-A26F-7F82-397410DCD556}"/>
              </a:ext>
            </a:extLst>
          </p:cNvPr>
          <p:cNvSpPr txBox="1"/>
          <p:nvPr/>
        </p:nvSpPr>
        <p:spPr>
          <a:xfrm>
            <a:off x="1673351" y="6995160"/>
            <a:ext cx="45719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1600" dirty="0"/>
          </a:p>
        </p:txBody>
      </p:sp>
      <p:sp>
        <p:nvSpPr>
          <p:cNvPr id="59" name="TextBox 73">
            <a:extLst>
              <a:ext uri="{FF2B5EF4-FFF2-40B4-BE49-F238E27FC236}">
                <a16:creationId xmlns:a16="http://schemas.microsoft.com/office/drawing/2014/main" id="{85519385-4FE6-E847-62CD-005E0F70B051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10433" y="5602681"/>
            <a:ext cx="3960516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  <a:sym typeface="+mn-lt"/>
              </a:defRPr>
            </a:lvl1pPr>
            <a:lvl2pPr marL="192024" lvl="1" indent="-192024" defTabSz="91354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  <a:sym typeface="+mn-lt"/>
              </a:defRPr>
            </a:lvl2pPr>
            <a:lvl3pPr marL="457200" lvl="2" indent="-265176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  <a:sym typeface="+mn-lt"/>
              </a:defRPr>
            </a:lvl3pPr>
            <a:lvl4pPr marL="630936" lvl="3" indent="-155448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  <a:sym typeface="+mn-lt"/>
              </a:defRPr>
            </a:lvl4pPr>
            <a:lvl5pPr marL="749808" lvl="4" indent="-128016" defTabSz="913542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  <a:sym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fr-FR" sz="1400" b="1" dirty="0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Enterprise acculturation</a:t>
            </a:r>
          </a:p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fr-FR" sz="1400" b="1" dirty="0" err="1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Understanding</a:t>
            </a:r>
            <a:r>
              <a:rPr lang="fr-FR" sz="1400" b="1" dirty="0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 of AI/</a:t>
            </a:r>
            <a:r>
              <a:rPr lang="fr-FR" sz="1400" b="1" dirty="0" err="1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GenAI</a:t>
            </a:r>
            <a:r>
              <a:rPr lang="fr-FR" sz="1400" b="1" dirty="0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 </a:t>
            </a:r>
            <a:r>
              <a:rPr lang="fr-FR" sz="1400" b="1" dirty="0" err="1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potential</a:t>
            </a:r>
            <a:endParaRPr lang="fr-FR" sz="1400" b="1" dirty="0">
              <a:solidFill>
                <a:schemeClr val="accent2"/>
              </a:solidFill>
              <a:latin typeface="Arial"/>
              <a:cs typeface="Arabic Typesetting" panose="020B0604020202020204" pitchFamily="66" charset="-78"/>
            </a:endParaRPr>
          </a:p>
        </p:txBody>
      </p:sp>
      <p:sp>
        <p:nvSpPr>
          <p:cNvPr id="60" name="TextBox 73">
            <a:extLst>
              <a:ext uri="{FF2B5EF4-FFF2-40B4-BE49-F238E27FC236}">
                <a16:creationId xmlns:a16="http://schemas.microsoft.com/office/drawing/2014/main" id="{B58AFF23-5811-9640-F738-97F495A35B1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6521064" y="5602681"/>
            <a:ext cx="5047298" cy="8002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  <a:sym typeface="+mn-lt"/>
              </a:defRPr>
            </a:lvl1pPr>
            <a:lvl2pPr marL="192024" lvl="1" indent="-192024" defTabSz="91354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  <a:sym typeface="+mn-lt"/>
              </a:defRPr>
            </a:lvl2pPr>
            <a:lvl3pPr marL="457200" lvl="2" indent="-265176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  <a:sym typeface="+mn-lt"/>
              </a:defRPr>
            </a:lvl3pPr>
            <a:lvl4pPr marL="630936" lvl="3" indent="-155448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  <a:sym typeface="+mn-lt"/>
              </a:defRPr>
            </a:lvl4pPr>
            <a:lvl5pPr marL="749808" lvl="4" indent="-128016" defTabSz="913542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  <a:sym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fr-FR" sz="1400" b="1" dirty="0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Value capture at </a:t>
            </a:r>
            <a:r>
              <a:rPr lang="fr-FR" sz="1400" b="1" dirty="0" err="1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scale</a:t>
            </a:r>
            <a:endParaRPr lang="fr-FR" sz="1400" b="1" dirty="0">
              <a:solidFill>
                <a:schemeClr val="accent2"/>
              </a:solidFill>
              <a:latin typeface="Arial"/>
              <a:cs typeface="Arabic Typesetting" panose="020B0604020202020204" pitchFamily="66" charset="-78"/>
            </a:endParaRPr>
          </a:p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fr-FR" sz="1400" b="1" dirty="0" err="1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Cost</a:t>
            </a:r>
            <a:r>
              <a:rPr lang="fr-FR" sz="1400" b="1" dirty="0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 and </a:t>
            </a:r>
            <a:r>
              <a:rPr lang="fr-FR" sz="1400" b="1" dirty="0" err="1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environmental</a:t>
            </a:r>
            <a:r>
              <a:rPr lang="fr-FR" sz="1400" b="1" dirty="0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 impact </a:t>
            </a:r>
            <a:r>
              <a:rPr lang="fr-FR" sz="1400" b="1" dirty="0" err="1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containment</a:t>
            </a:r>
            <a:endParaRPr lang="fr-FR" sz="1400" b="1" dirty="0">
              <a:solidFill>
                <a:schemeClr val="accent2"/>
              </a:solidFill>
              <a:latin typeface="Arial"/>
              <a:cs typeface="Arabic Typesetting" panose="020B0604020202020204" pitchFamily="66" charset="-78"/>
            </a:endParaRPr>
          </a:p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fr-FR" sz="1400" b="1" dirty="0">
                <a:solidFill>
                  <a:schemeClr val="accent2"/>
                </a:solidFill>
                <a:latin typeface="Arial"/>
                <a:cs typeface="Arabic Typesetting" panose="020B0604020202020204" pitchFamily="66" charset="-78"/>
              </a:rPr>
              <a:t>Risk mitigation</a:t>
            </a:r>
          </a:p>
        </p:txBody>
      </p:sp>
      <p:sp>
        <p:nvSpPr>
          <p:cNvPr id="62" name="TextBox 73">
            <a:extLst>
              <a:ext uri="{FF2B5EF4-FFF2-40B4-BE49-F238E27FC236}">
                <a16:creationId xmlns:a16="http://schemas.microsoft.com/office/drawing/2014/main" id="{42B0EAD0-2046-4B38-BFBA-95B9B23C40C3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110433" y="3159192"/>
            <a:ext cx="2912392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  <a:sym typeface="+mn-lt"/>
              </a:defRPr>
            </a:lvl1pPr>
            <a:lvl2pPr marL="192024" lvl="1" indent="-192024" defTabSz="91354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  <a:sym typeface="+mn-lt"/>
              </a:defRPr>
            </a:lvl2pPr>
            <a:lvl3pPr marL="457200" lvl="2" indent="-265176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  <a:sym typeface="+mn-lt"/>
              </a:defRPr>
            </a:lvl3pPr>
            <a:lvl4pPr marL="630936" lvl="3" indent="-155448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  <a:sym typeface="+mn-lt"/>
              </a:defRPr>
            </a:lvl4pPr>
            <a:lvl5pPr marL="749808" lvl="4" indent="-128016" defTabSz="913542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  <a:sym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/>
              </a:rPr>
              <a:t>Data 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/>
              </a:rPr>
              <a:t>scientist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/>
              </a:rPr>
              <a:t> + Data 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/>
              </a:rPr>
              <a:t>Engineer</a:t>
            </a:r>
            <a:endParaRPr kumimoji="0" lang="fr-FR" sz="1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abic Typesetting" panose="020B0604020202020204" pitchFamily="66" charset="-78"/>
              <a:sym typeface="+mn-lt"/>
            </a:endParaRPr>
          </a:p>
        </p:txBody>
      </p:sp>
      <p:sp>
        <p:nvSpPr>
          <p:cNvPr id="63" name="TextBox 73">
            <a:extLst>
              <a:ext uri="{FF2B5EF4-FFF2-40B4-BE49-F238E27FC236}">
                <a16:creationId xmlns:a16="http://schemas.microsoft.com/office/drawing/2014/main" id="{4AD2B93B-79A1-0789-55D1-CBEB2F08FF2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6521065" y="3159192"/>
            <a:ext cx="5132762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  <a:sym typeface="+mn-lt"/>
              </a:defRPr>
            </a:lvl1pPr>
            <a:lvl2pPr marL="192024" lvl="1" indent="-192024" defTabSz="91354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  <a:sym typeface="+mn-lt"/>
              </a:defRPr>
            </a:lvl2pPr>
            <a:lvl3pPr marL="457200" lvl="2" indent="-265176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  <a:sym typeface="+mn-lt"/>
              </a:defRPr>
            </a:lvl3pPr>
            <a:lvl4pPr marL="630936" lvl="3" indent="-155448" defTabSz="91354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  <a:sym typeface="+mn-lt"/>
              </a:defRPr>
            </a:lvl4pPr>
            <a:lvl5pPr marL="749808" lvl="4" indent="-128016" defTabSz="913542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  <a:sym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defTabSz="1218026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/>
              </a:rPr>
              <a:t>Cross 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/>
              </a:rPr>
              <a:t>functional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/>
              </a:rPr>
              <a:t> team (Data scientist + Data 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/>
              </a:rPr>
              <a:t>engineer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/>
              </a:rPr>
              <a:t> + ML/LLM Ops </a:t>
            </a:r>
            <a:r>
              <a:rPr lang="fr-FR" sz="1400" b="1" dirty="0" err="1">
                <a:solidFill>
                  <a:srgbClr val="FFFFFF"/>
                </a:solidFill>
                <a:latin typeface="Arial"/>
                <a:cs typeface="Arabic Typesetting"/>
              </a:rPr>
              <a:t>Engineer</a:t>
            </a:r>
            <a:r>
              <a:rPr lang="fr-FR" sz="1400" b="1" dirty="0">
                <a:solidFill>
                  <a:srgbClr val="FFFFFF"/>
                </a:solidFill>
                <a:latin typeface="Arial"/>
                <a:cs typeface="Arabic Typesetting"/>
              </a:rPr>
              <a:t>, AI Product Manager…)</a:t>
            </a:r>
            <a:endParaRPr lang="fr-FR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abic Typesetting"/>
            </a:endParaRPr>
          </a:p>
        </p:txBody>
      </p:sp>
      <p:cxnSp>
        <p:nvCxnSpPr>
          <p:cNvPr id="66" name="Connecteur droit 65">
            <a:extLst>
              <a:ext uri="{FF2B5EF4-FFF2-40B4-BE49-F238E27FC236}">
                <a16:creationId xmlns:a16="http://schemas.microsoft.com/office/drawing/2014/main" id="{A94BC699-6CA8-B9E5-DDD5-ECD3B5734669}"/>
              </a:ext>
            </a:extLst>
          </p:cNvPr>
          <p:cNvCxnSpPr>
            <a:cxnSpLocks/>
          </p:cNvCxnSpPr>
          <p:nvPr/>
        </p:nvCxnSpPr>
        <p:spPr>
          <a:xfrm>
            <a:off x="326651" y="2365625"/>
            <a:ext cx="11309889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66">
            <a:extLst>
              <a:ext uri="{FF2B5EF4-FFF2-40B4-BE49-F238E27FC236}">
                <a16:creationId xmlns:a16="http://schemas.microsoft.com/office/drawing/2014/main" id="{0B2CE160-1F21-AF97-E8C5-B26BE067C602}"/>
              </a:ext>
            </a:extLst>
          </p:cNvPr>
          <p:cNvCxnSpPr>
            <a:cxnSpLocks/>
          </p:cNvCxnSpPr>
          <p:nvPr/>
        </p:nvCxnSpPr>
        <p:spPr>
          <a:xfrm>
            <a:off x="310897" y="3096274"/>
            <a:ext cx="11309889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droit 67">
            <a:extLst>
              <a:ext uri="{FF2B5EF4-FFF2-40B4-BE49-F238E27FC236}">
                <a16:creationId xmlns:a16="http://schemas.microsoft.com/office/drawing/2014/main" id="{09676E43-36DE-2D30-BCD5-6C83D4689B52}"/>
              </a:ext>
            </a:extLst>
          </p:cNvPr>
          <p:cNvCxnSpPr>
            <a:cxnSpLocks/>
          </p:cNvCxnSpPr>
          <p:nvPr/>
        </p:nvCxnSpPr>
        <p:spPr>
          <a:xfrm>
            <a:off x="332034" y="3755839"/>
            <a:ext cx="11309889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eur droit 68">
            <a:extLst>
              <a:ext uri="{FF2B5EF4-FFF2-40B4-BE49-F238E27FC236}">
                <a16:creationId xmlns:a16="http://schemas.microsoft.com/office/drawing/2014/main" id="{1E2D045D-6DC6-240F-0D4C-2DD5A56943A0}"/>
              </a:ext>
            </a:extLst>
          </p:cNvPr>
          <p:cNvCxnSpPr>
            <a:cxnSpLocks/>
          </p:cNvCxnSpPr>
          <p:nvPr/>
        </p:nvCxnSpPr>
        <p:spPr>
          <a:xfrm>
            <a:off x="326651" y="4542875"/>
            <a:ext cx="11309889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D73D3A1-5907-E2C4-39BD-696E8CD8249C}"/>
              </a:ext>
            </a:extLst>
          </p:cNvPr>
          <p:cNvSpPr txBox="1"/>
          <p:nvPr/>
        </p:nvSpPr>
        <p:spPr>
          <a:xfrm>
            <a:off x="2110433" y="1308489"/>
            <a:ext cx="3798973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b="1" dirty="0" err="1">
                <a:cs typeface="+mn-cs"/>
              </a:rPr>
              <a:t>Experimentation</a:t>
            </a:r>
            <a:r>
              <a:rPr lang="fr-FR" b="1" dirty="0">
                <a:cs typeface="+mn-cs"/>
              </a:rPr>
              <a:t> stag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7B7F6D7-4B02-0EA1-D0A0-390B7EA6D0AD}"/>
              </a:ext>
            </a:extLst>
          </p:cNvPr>
          <p:cNvSpPr txBox="1"/>
          <p:nvPr/>
        </p:nvSpPr>
        <p:spPr>
          <a:xfrm>
            <a:off x="6496609" y="1308489"/>
            <a:ext cx="5309618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b="1" dirty="0" err="1">
                <a:cs typeface="+mn-cs"/>
              </a:rPr>
              <a:t>Scaling</a:t>
            </a:r>
            <a:r>
              <a:rPr lang="fr-FR" b="1" dirty="0">
                <a:cs typeface="+mn-cs"/>
              </a:rPr>
              <a:t> phase</a:t>
            </a:r>
          </a:p>
        </p:txBody>
      </p:sp>
      <p:cxnSp>
        <p:nvCxnSpPr>
          <p:cNvPr id="24" name="Connecteur droit 65">
            <a:extLst>
              <a:ext uri="{FF2B5EF4-FFF2-40B4-BE49-F238E27FC236}">
                <a16:creationId xmlns:a16="http://schemas.microsoft.com/office/drawing/2014/main" id="{29F99BB0-4472-F534-F9A6-82DDA4F25F93}"/>
              </a:ext>
            </a:extLst>
          </p:cNvPr>
          <p:cNvCxnSpPr>
            <a:cxnSpLocks/>
          </p:cNvCxnSpPr>
          <p:nvPr/>
        </p:nvCxnSpPr>
        <p:spPr>
          <a:xfrm>
            <a:off x="2110433" y="1630129"/>
            <a:ext cx="4200911" cy="0"/>
          </a:xfrm>
          <a:prstGeom prst="line">
            <a:avLst/>
          </a:prstGeom>
          <a:ln w="190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65">
            <a:extLst>
              <a:ext uri="{FF2B5EF4-FFF2-40B4-BE49-F238E27FC236}">
                <a16:creationId xmlns:a16="http://schemas.microsoft.com/office/drawing/2014/main" id="{6F9C9FBF-7649-9D10-5257-8F29F3A40654}"/>
              </a:ext>
            </a:extLst>
          </p:cNvPr>
          <p:cNvCxnSpPr>
            <a:cxnSpLocks/>
          </p:cNvCxnSpPr>
          <p:nvPr/>
        </p:nvCxnSpPr>
        <p:spPr>
          <a:xfrm>
            <a:off x="6496609" y="1630129"/>
            <a:ext cx="5139931" cy="0"/>
          </a:xfrm>
          <a:prstGeom prst="line">
            <a:avLst/>
          </a:prstGeom>
          <a:ln w="190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CB216CC3-78A2-C480-19E5-451181E58657}"/>
              </a:ext>
            </a:extLst>
          </p:cNvPr>
          <p:cNvSpPr txBox="1"/>
          <p:nvPr/>
        </p:nvSpPr>
        <p:spPr>
          <a:xfrm>
            <a:off x="891340" y="1738262"/>
            <a:ext cx="1113905" cy="21544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b="1" dirty="0" err="1">
                <a:cs typeface="+mn-cs"/>
              </a:rPr>
              <a:t>Strategy</a:t>
            </a:r>
            <a:endParaRPr lang="fr-FR" sz="1400" b="1" dirty="0"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6462132-4969-21B2-F2E8-8D4B9C240D28}"/>
              </a:ext>
            </a:extLst>
          </p:cNvPr>
          <p:cNvSpPr txBox="1"/>
          <p:nvPr/>
        </p:nvSpPr>
        <p:spPr>
          <a:xfrm>
            <a:off x="891340" y="2469889"/>
            <a:ext cx="1113905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b="1" dirty="0">
                <a:cs typeface="+mn-cs"/>
              </a:rPr>
              <a:t>Operating mode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836CF5C-894A-6228-88BE-2C958651697B}"/>
              </a:ext>
            </a:extLst>
          </p:cNvPr>
          <p:cNvSpPr txBox="1"/>
          <p:nvPr/>
        </p:nvSpPr>
        <p:spPr>
          <a:xfrm>
            <a:off x="891340" y="3159192"/>
            <a:ext cx="1113905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b="1" dirty="0">
                <a:cs typeface="+mn-cs"/>
              </a:rPr>
              <a:t>Tech expertis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345546C-FBA2-5367-C9AE-360BD630815C}"/>
              </a:ext>
            </a:extLst>
          </p:cNvPr>
          <p:cNvSpPr txBox="1"/>
          <p:nvPr/>
        </p:nvSpPr>
        <p:spPr>
          <a:xfrm>
            <a:off x="891340" y="3810259"/>
            <a:ext cx="1113905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b="1" dirty="0">
                <a:cs typeface="+mn-cs"/>
              </a:rPr>
              <a:t>Delivery </a:t>
            </a:r>
            <a:r>
              <a:rPr lang="fr-FR" sz="1400" b="1" dirty="0" err="1">
                <a:cs typeface="+mn-cs"/>
              </a:rPr>
              <a:t>approach</a:t>
            </a:r>
            <a:endParaRPr lang="fr-FR" sz="1400" b="1" dirty="0"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18B7ABE-7997-D891-8547-E2F6E6D9B6C5}"/>
              </a:ext>
            </a:extLst>
          </p:cNvPr>
          <p:cNvSpPr txBox="1"/>
          <p:nvPr/>
        </p:nvSpPr>
        <p:spPr>
          <a:xfrm>
            <a:off x="891340" y="4628100"/>
            <a:ext cx="1113905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b="1" dirty="0">
                <a:cs typeface="+mn-cs"/>
              </a:rPr>
              <a:t>Tech </a:t>
            </a:r>
            <a:r>
              <a:rPr lang="fr-FR" sz="1400" b="1" dirty="0" err="1">
                <a:cs typeface="+mn-cs"/>
              </a:rPr>
              <a:t>foundation</a:t>
            </a:r>
            <a:endParaRPr lang="fr-FR" sz="1400" b="1" dirty="0">
              <a:cs typeface="+mn-cs"/>
            </a:endParaRPr>
          </a:p>
        </p:txBody>
      </p:sp>
      <p:pic>
        <p:nvPicPr>
          <p:cNvPr id="40" name="CustomIcon">
            <a:extLst>
              <a:ext uri="{FF2B5EF4-FFF2-40B4-BE49-F238E27FC236}">
                <a16:creationId xmlns:a16="http://schemas.microsoft.com/office/drawing/2014/main" id="{8DF2F29B-F42B-9E80-C723-9A3B4EA6BAA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96747" y="1774620"/>
            <a:ext cx="348422" cy="348422"/>
          </a:xfrm>
          <a:prstGeom prst="rect">
            <a:avLst/>
          </a:prstGeom>
        </p:spPr>
      </p:pic>
      <p:pic>
        <p:nvPicPr>
          <p:cNvPr id="42" name="CustomIcon">
            <a:extLst>
              <a:ext uri="{FF2B5EF4-FFF2-40B4-BE49-F238E27FC236}">
                <a16:creationId xmlns:a16="http://schemas.microsoft.com/office/drawing/2014/main" id="{75DC98E4-FB24-A721-CF76-5D5A042E0FB6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96747" y="2469889"/>
            <a:ext cx="348422" cy="348422"/>
          </a:xfrm>
          <a:prstGeom prst="rect">
            <a:avLst/>
          </a:prstGeom>
        </p:spPr>
      </p:pic>
      <p:pic>
        <p:nvPicPr>
          <p:cNvPr id="44" name="CustomIcon">
            <a:extLst>
              <a:ext uri="{FF2B5EF4-FFF2-40B4-BE49-F238E27FC236}">
                <a16:creationId xmlns:a16="http://schemas.microsoft.com/office/drawing/2014/main" id="{C7A1668B-9194-64F8-C34E-92B96506D3A5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96747" y="4628100"/>
            <a:ext cx="348422" cy="348422"/>
          </a:xfrm>
          <a:prstGeom prst="rect">
            <a:avLst/>
          </a:prstGeom>
        </p:spPr>
      </p:pic>
      <p:pic>
        <p:nvPicPr>
          <p:cNvPr id="46" name="CustomIcon">
            <a:extLst>
              <a:ext uri="{FF2B5EF4-FFF2-40B4-BE49-F238E27FC236}">
                <a16:creationId xmlns:a16="http://schemas.microsoft.com/office/drawing/2014/main" id="{BC5F8708-81FB-F12D-04EC-6E22C8ED70BD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296747" y="3810259"/>
            <a:ext cx="348422" cy="348422"/>
          </a:xfrm>
          <a:prstGeom prst="rect">
            <a:avLst/>
          </a:prstGeom>
        </p:spPr>
      </p:pic>
      <p:pic>
        <p:nvPicPr>
          <p:cNvPr id="49" name="CustomIcon">
            <a:extLst>
              <a:ext uri="{FF2B5EF4-FFF2-40B4-BE49-F238E27FC236}">
                <a16:creationId xmlns:a16="http://schemas.microsoft.com/office/drawing/2014/main" id="{27AFD5A3-A7A4-2AB4-C2C0-01AC52B41EDE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296747" y="3159192"/>
            <a:ext cx="348422" cy="348422"/>
          </a:xfrm>
          <a:prstGeom prst="rect">
            <a:avLst/>
          </a:prstGeom>
        </p:spPr>
      </p:pic>
      <p:cxnSp>
        <p:nvCxnSpPr>
          <p:cNvPr id="53" name="Connecteur droit 65">
            <a:extLst>
              <a:ext uri="{FF2B5EF4-FFF2-40B4-BE49-F238E27FC236}">
                <a16:creationId xmlns:a16="http://schemas.microsoft.com/office/drawing/2014/main" id="{C6E19A75-10DC-9FEF-37BD-31DC82A0653A}"/>
              </a:ext>
            </a:extLst>
          </p:cNvPr>
          <p:cNvCxnSpPr>
            <a:cxnSpLocks/>
          </p:cNvCxnSpPr>
          <p:nvPr/>
        </p:nvCxnSpPr>
        <p:spPr>
          <a:xfrm>
            <a:off x="2110433" y="5405342"/>
            <a:ext cx="4200911" cy="0"/>
          </a:xfrm>
          <a:prstGeom prst="line">
            <a:avLst/>
          </a:prstGeom>
          <a:ln w="1905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65">
            <a:extLst>
              <a:ext uri="{FF2B5EF4-FFF2-40B4-BE49-F238E27FC236}">
                <a16:creationId xmlns:a16="http://schemas.microsoft.com/office/drawing/2014/main" id="{CD4594E4-AD64-3B90-09C8-FF54C7F9A8EA}"/>
              </a:ext>
            </a:extLst>
          </p:cNvPr>
          <p:cNvCxnSpPr>
            <a:cxnSpLocks/>
          </p:cNvCxnSpPr>
          <p:nvPr/>
        </p:nvCxnSpPr>
        <p:spPr>
          <a:xfrm>
            <a:off x="6496609" y="5405342"/>
            <a:ext cx="5139931" cy="0"/>
          </a:xfrm>
          <a:prstGeom prst="line">
            <a:avLst/>
          </a:prstGeom>
          <a:ln w="1905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ChevronBlue 63">
            <a:extLst>
              <a:ext uri="{FF2B5EF4-FFF2-40B4-BE49-F238E27FC236}">
                <a16:creationId xmlns:a16="http://schemas.microsoft.com/office/drawing/2014/main" id="{2B1F6005-C8C1-B2AE-6631-6DCCC1A77DD0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 rot="5400000">
            <a:off x="4056556" y="5256923"/>
            <a:ext cx="308665" cy="308665"/>
            <a:chOff x="1016000" y="1016000"/>
            <a:chExt cx="396228" cy="396228"/>
          </a:xfrm>
          <a:solidFill>
            <a:schemeClr val="accent2"/>
          </a:solidFill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40D79E46-5F4C-16C3-1201-BC92F66F9F14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fr-FR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6548A1FC-24F3-7D95-FC15-47AA52819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65" name="ChevronBlue 63">
            <a:extLst>
              <a:ext uri="{FF2B5EF4-FFF2-40B4-BE49-F238E27FC236}">
                <a16:creationId xmlns:a16="http://schemas.microsoft.com/office/drawing/2014/main" id="{4833C42A-2469-DC1F-3307-1D158DA13157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 rot="5400000">
            <a:off x="8912242" y="5256923"/>
            <a:ext cx="308665" cy="308665"/>
            <a:chOff x="1016000" y="1016000"/>
            <a:chExt cx="396228" cy="396228"/>
          </a:xfrm>
          <a:solidFill>
            <a:schemeClr val="accent2"/>
          </a:solidFill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D5CDDE47-41AE-3418-4ED4-BF104653C8FA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fr-FR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D7063798-25A7-915A-DDF7-B8C561D53A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pic>
        <p:nvPicPr>
          <p:cNvPr id="75" name="CustomIcon">
            <a:extLst>
              <a:ext uri="{FF2B5EF4-FFF2-40B4-BE49-F238E27FC236}">
                <a16:creationId xmlns:a16="http://schemas.microsoft.com/office/drawing/2014/main" id="{7A5A8358-40A2-8438-7ACD-730D4F1D1BDF}"/>
              </a:ext>
            </a:extLst>
          </p:cNvPr>
          <p:cNvPicPr>
            <a:picLocks/>
          </p:cNvPicPr>
          <p:nvPr>
            <p:custDataLst>
              <p:tags r:id="rId22"/>
            </p:custDataLst>
          </p:nvPr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1386487" y="1303490"/>
            <a:ext cx="250053" cy="250053"/>
          </a:xfrm>
          <a:prstGeom prst="rect">
            <a:avLst/>
          </a:prstGeom>
        </p:spPr>
      </p:pic>
      <p:pic>
        <p:nvPicPr>
          <p:cNvPr id="77" name="CustomIcon">
            <a:extLst>
              <a:ext uri="{FF2B5EF4-FFF2-40B4-BE49-F238E27FC236}">
                <a16:creationId xmlns:a16="http://schemas.microsoft.com/office/drawing/2014/main" id="{591C545D-A121-9C19-B292-AC216C251AB3}"/>
              </a:ext>
            </a:extLst>
          </p:cNvPr>
          <p:cNvPicPr>
            <a:picLocks/>
          </p:cNvPicPr>
          <p:nvPr>
            <p:custDataLst>
              <p:tags r:id="rId23"/>
            </p:custDataLst>
          </p:nvPr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6061291" y="1303490"/>
            <a:ext cx="250053" cy="250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0197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1320FF6-D7A9-BD2F-F783-483D264A6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4707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4E39B32-4ADD-9DF1-8328-910EBB1A18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DCC330-2EAE-D8BE-0E6D-93DF94F48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551473"/>
            <a:ext cx="3465576" cy="769441"/>
          </a:xfrm>
        </p:spPr>
        <p:txBody>
          <a:bodyPr vert="horz"/>
          <a:lstStyle/>
          <a:p>
            <a:r>
              <a:rPr lang="en-US" dirty="0" err="1"/>
              <a:t>RetailX</a:t>
            </a:r>
            <a:endParaRPr lang="en-US" dirty="0"/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C0C81D37-E702-630C-880F-A7F1C14B66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4" y="1466748"/>
            <a:ext cx="3465576" cy="492443"/>
          </a:xfrm>
        </p:spPr>
        <p:txBody>
          <a:bodyPr/>
          <a:lstStyle/>
          <a:p>
            <a:r>
              <a:rPr lang="en-US" dirty="0"/>
              <a:t>Reinventing Retail: Smart AI Agents for Exceptional Customer Experienc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046ECF-5F93-E204-7CF5-6CAE4139035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423" t="29024" r="74377" b="33003"/>
          <a:stretch/>
        </p:blipFill>
        <p:spPr>
          <a:xfrm>
            <a:off x="430823" y="2622954"/>
            <a:ext cx="3539092" cy="3566424"/>
          </a:xfrm>
          <a:custGeom>
            <a:avLst/>
            <a:gdLst>
              <a:gd name="connsiteX0" fmla="*/ 0 w 2466835"/>
              <a:gd name="connsiteY0" fmla="*/ 0 h 2485886"/>
              <a:gd name="connsiteX1" fmla="*/ 1765614 w 2466835"/>
              <a:gd name="connsiteY1" fmla="*/ 0 h 2485886"/>
              <a:gd name="connsiteX2" fmla="*/ 1514335 w 2466835"/>
              <a:gd name="connsiteY2" fmla="*/ 272573 h 2485886"/>
              <a:gd name="connsiteX3" fmla="*/ 1384795 w 2466835"/>
              <a:gd name="connsiteY3" fmla="*/ 684053 h 2485886"/>
              <a:gd name="connsiteX4" fmla="*/ 1727695 w 2466835"/>
              <a:gd name="connsiteY4" fmla="*/ 1042193 h 2485886"/>
              <a:gd name="connsiteX5" fmla="*/ 2383015 w 2466835"/>
              <a:gd name="connsiteY5" fmla="*/ 1225073 h 2485886"/>
              <a:gd name="connsiteX6" fmla="*/ 2466835 w 2466835"/>
              <a:gd name="connsiteY6" fmla="*/ 1842293 h 2485886"/>
              <a:gd name="connsiteX7" fmla="*/ 2103952 w 2466835"/>
              <a:gd name="connsiteY7" fmla="*/ 2080657 h 2485886"/>
              <a:gd name="connsiteX8" fmla="*/ 1836915 w 2466835"/>
              <a:gd name="connsiteY8" fmla="*/ 1933276 h 2485886"/>
              <a:gd name="connsiteX9" fmla="*/ 1722615 w 2466835"/>
              <a:gd name="connsiteY9" fmla="*/ 1987251 h 2485886"/>
              <a:gd name="connsiteX10" fmla="*/ 1993012 w 2466835"/>
              <a:gd name="connsiteY10" fmla="*/ 2153530 h 2485886"/>
              <a:gd name="connsiteX11" fmla="*/ 1689595 w 2466835"/>
              <a:gd name="connsiteY11" fmla="*/ 2352833 h 2485886"/>
              <a:gd name="connsiteX12" fmla="*/ 1751814 w 2466835"/>
              <a:gd name="connsiteY12" fmla="*/ 2485886 h 2485886"/>
              <a:gd name="connsiteX13" fmla="*/ 0 w 2466835"/>
              <a:gd name="connsiteY13" fmla="*/ 2485886 h 2485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66835" h="2485886">
                <a:moveTo>
                  <a:pt x="0" y="0"/>
                </a:moveTo>
                <a:lnTo>
                  <a:pt x="1765614" y="0"/>
                </a:lnTo>
                <a:lnTo>
                  <a:pt x="1514335" y="272573"/>
                </a:lnTo>
                <a:lnTo>
                  <a:pt x="1384795" y="684053"/>
                </a:lnTo>
                <a:lnTo>
                  <a:pt x="1727695" y="1042193"/>
                </a:lnTo>
                <a:lnTo>
                  <a:pt x="2383015" y="1225073"/>
                </a:lnTo>
                <a:lnTo>
                  <a:pt x="2466835" y="1842293"/>
                </a:lnTo>
                <a:lnTo>
                  <a:pt x="2103952" y="2080657"/>
                </a:lnTo>
                <a:lnTo>
                  <a:pt x="1836915" y="1933276"/>
                </a:lnTo>
                <a:lnTo>
                  <a:pt x="1722615" y="1987251"/>
                </a:lnTo>
                <a:lnTo>
                  <a:pt x="1993012" y="2153530"/>
                </a:lnTo>
                <a:lnTo>
                  <a:pt x="1689595" y="2352833"/>
                </a:lnTo>
                <a:lnTo>
                  <a:pt x="1751814" y="2485886"/>
                </a:lnTo>
                <a:lnTo>
                  <a:pt x="0" y="2485886"/>
                </a:lnTo>
                <a:close/>
              </a:path>
            </a:pathLst>
          </a:custGeom>
        </p:spPr>
      </p:pic>
      <p:grpSp>
        <p:nvGrpSpPr>
          <p:cNvPr id="23" name="QuotationMarksWhite 18">
            <a:extLst>
              <a:ext uri="{FF2B5EF4-FFF2-40B4-BE49-F238E27FC236}">
                <a16:creationId xmlns:a16="http://schemas.microsoft.com/office/drawing/2014/main" id="{05F9A62E-A7E7-CFCF-86EF-D2EEAFA2CB4E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553667" y="886928"/>
            <a:ext cx="396228" cy="396228"/>
            <a:chOff x="1016000" y="1016000"/>
            <a:chExt cx="396228" cy="396228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A691D39-D320-C27F-6185-656DF08E3D4D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0710F7C6-D007-C473-1373-4509769DE8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F87122CA-23CB-04A2-1107-E41BBC4C31B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153890" y="886928"/>
            <a:ext cx="6483373" cy="53347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tailX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is a young French startup </a:t>
            </a:r>
            <a:r>
              <a:rPr lang="en-US" sz="1800" dirty="0">
                <a:solidFill>
                  <a:schemeClr val="bg1"/>
                </a:solidFill>
                <a:latin typeface="Arial"/>
              </a:rPr>
              <a:t>created in October 2024 . Ou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vision is grounded in the belief that AI can significantly enhance the efficiency and personalization of retail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e aim to develop an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I agent platform that integrates effortlessly with any data sourc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, providing a versatile and efficient solution for retailers. This vision is not just a technological aspiration but a strategic direction that reflects our commitment to innovation and customer-centricit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ur product road map have already </a:t>
            </a:r>
            <a:r>
              <a:rPr lang="en-US" sz="1800" dirty="0">
                <a:solidFill>
                  <a:schemeClr val="bg1"/>
                </a:solidFill>
                <a:latin typeface="Arial"/>
              </a:rPr>
              <a:t>been defined and </a:t>
            </a:r>
            <a:r>
              <a:rPr kumimoji="0" lang="en-US" sz="1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s articulated around 3 main functionalities:</a:t>
            </a:r>
            <a:br>
              <a:rPr kumimoji="0" lang="en-US" sz="1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- </a:t>
            </a:r>
            <a:r>
              <a: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utomated client onboarding</a:t>
            </a:r>
            <a:br>
              <a:rPr kumimoji="0" lang="en-US" sz="1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- </a:t>
            </a:r>
            <a:r>
              <a: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al time order management</a:t>
            </a:r>
            <a:br>
              <a:rPr kumimoji="0" lang="en-US" sz="1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3- </a:t>
            </a:r>
            <a:r>
              <a: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ersonalized customer intera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e need you deep expertise in LLMs to achieve this challenge !</a:t>
            </a:r>
            <a:endParaRPr lang="en-US" sz="1800" dirty="0">
              <a:solidFill>
                <a:schemeClr val="bg1"/>
              </a:solidFill>
              <a:latin typeface="Arial"/>
            </a:endParaRPr>
          </a:p>
          <a:p>
            <a:pPr lvl="8" indent="0" algn="r">
              <a:spcBef>
                <a:spcPts val="2000"/>
              </a:spcBef>
              <a:buClr>
                <a:srgbClr val="FFFFFF"/>
              </a:buClr>
              <a:buFont typeface="Segoe UI" panose="020B0502040204020203" pitchFamily="34" charset="0"/>
              <a:buChar char="​"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nna, founder of </a:t>
            </a:r>
            <a:r>
              <a:rPr lang="en-US" sz="1800" i="1" dirty="0" err="1">
                <a:solidFill>
                  <a:schemeClr val="bg1"/>
                </a:solidFill>
                <a:latin typeface="Arial"/>
              </a:rPr>
              <a:t>RetailX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0" name="QuotationMarksWhite 18">
            <a:extLst>
              <a:ext uri="{FF2B5EF4-FFF2-40B4-BE49-F238E27FC236}">
                <a16:creationId xmlns:a16="http://schemas.microsoft.com/office/drawing/2014/main" id="{49C83E0A-E045-47F1-09A0-EBD9F90F4900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4553667" y="1959191"/>
            <a:ext cx="396228" cy="396228"/>
            <a:chOff x="1016000" y="1016000"/>
            <a:chExt cx="396228" cy="396228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93901AC0-11E7-1012-DEE5-354CC6DC10D5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D0C9F382-EC74-203E-E3BC-9034B09E38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33" name="QuotationMarksWhite 18">
            <a:extLst>
              <a:ext uri="{FF2B5EF4-FFF2-40B4-BE49-F238E27FC236}">
                <a16:creationId xmlns:a16="http://schemas.microsoft.com/office/drawing/2014/main" id="{9F0EC727-0A47-1842-3806-E3D7DD3A8543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4553667" y="3632127"/>
            <a:ext cx="396228" cy="396228"/>
            <a:chOff x="1016000" y="1016000"/>
            <a:chExt cx="396228" cy="396228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EF4FC30D-142B-AF8C-1BBC-E4CA836FC0A8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F69A1691-91A8-0F49-BD47-4E0D25E9FD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3" name="Sticky">
            <a:extLst>
              <a:ext uri="{FF2B5EF4-FFF2-40B4-BE49-F238E27FC236}">
                <a16:creationId xmlns:a16="http://schemas.microsoft.com/office/drawing/2014/main" id="{F052D343-62B7-BF8D-6DBC-46DB2B95974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472988" y="41597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rgbClr val="000000"/>
                </a:solidFill>
              </a:rPr>
              <a:t>Axel</a:t>
            </a:r>
          </a:p>
        </p:txBody>
      </p:sp>
    </p:spTree>
    <p:extLst>
      <p:ext uri="{BB962C8B-B14F-4D97-AF65-F5344CB8AC3E}">
        <p14:creationId xmlns:p14="http://schemas.microsoft.com/office/powerpoint/2010/main" val="19720046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0439F-C8F5-F91F-6556-918B9FA07D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EB748E4-2CBE-4EB9-9C0C-80F29C283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60959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320FF6-D7A9-BD2F-F783-483D264A6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Subtitle 53">
            <a:extLst>
              <a:ext uri="{FF2B5EF4-FFF2-40B4-BE49-F238E27FC236}">
                <a16:creationId xmlns:a16="http://schemas.microsoft.com/office/drawing/2014/main" id="{392A7A52-8281-E559-73B9-CC3A9179184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CFBD5F0F-5F51-8806-9F7C-06ACB0C86A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EDBF21-9AAB-9D28-3BB0-4E469B379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You just join </a:t>
            </a:r>
            <a:r>
              <a:rPr lang="en-US" dirty="0" err="1"/>
              <a:t>RetailX</a:t>
            </a:r>
            <a:r>
              <a:rPr lang="en-US" dirty="0"/>
              <a:t> – In the Meating room the team is brainstorming on the next steps… </a:t>
            </a:r>
          </a:p>
        </p:txBody>
      </p:sp>
      <p:sp>
        <p:nvSpPr>
          <p:cNvPr id="79" name="Freeform 10">
            <a:extLst>
              <a:ext uri="{FF2B5EF4-FFF2-40B4-BE49-F238E27FC236}">
                <a16:creationId xmlns:a16="http://schemas.microsoft.com/office/drawing/2014/main" id="{1D7BCDA2-4ACD-9609-2361-D78B432DCDA5}"/>
              </a:ext>
            </a:extLst>
          </p:cNvPr>
          <p:cNvSpPr>
            <a:spLocks/>
          </p:cNvSpPr>
          <p:nvPr/>
        </p:nvSpPr>
        <p:spPr bwMode="auto">
          <a:xfrm rot="18803660" flipH="1">
            <a:off x="1787879" y="4070927"/>
            <a:ext cx="37507" cy="494812"/>
          </a:xfrm>
          <a:custGeom>
            <a:avLst/>
            <a:gdLst>
              <a:gd name="T0" fmla="*/ 26 w 26"/>
              <a:gd name="T1" fmla="*/ 0 h 343"/>
              <a:gd name="T2" fmla="*/ 26 w 26"/>
              <a:gd name="T3" fmla="*/ 343 h 343"/>
              <a:gd name="T4" fmla="*/ 0 w 26"/>
              <a:gd name="T5" fmla="*/ 343 h 343"/>
              <a:gd name="T6" fmla="*/ 0 w 26"/>
              <a:gd name="T7" fmla="*/ 0 h 343"/>
              <a:gd name="T8" fmla="*/ 26 w 26"/>
              <a:gd name="T9" fmla="*/ 0 h 343"/>
              <a:gd name="T10" fmla="*/ 26 w 26"/>
              <a:gd name="T11" fmla="*/ 0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" h="343">
                <a:moveTo>
                  <a:pt x="26" y="0"/>
                </a:moveTo>
                <a:lnTo>
                  <a:pt x="26" y="343"/>
                </a:lnTo>
                <a:lnTo>
                  <a:pt x="0" y="343"/>
                </a:lnTo>
                <a:lnTo>
                  <a:pt x="0" y="0"/>
                </a:lnTo>
                <a:lnTo>
                  <a:pt x="26" y="0"/>
                </a:lnTo>
                <a:lnTo>
                  <a:pt x="26" y="0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accent3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Freeform 11">
            <a:extLst>
              <a:ext uri="{FF2B5EF4-FFF2-40B4-BE49-F238E27FC236}">
                <a16:creationId xmlns:a16="http://schemas.microsoft.com/office/drawing/2014/main" id="{E06412C6-B83E-B836-A170-3757894A0FAA}"/>
              </a:ext>
            </a:extLst>
          </p:cNvPr>
          <p:cNvSpPr>
            <a:spLocks/>
          </p:cNvSpPr>
          <p:nvPr/>
        </p:nvSpPr>
        <p:spPr bwMode="auto">
          <a:xfrm rot="18803660" flipH="1">
            <a:off x="1928924" y="3457072"/>
            <a:ext cx="429894" cy="434222"/>
          </a:xfrm>
          <a:custGeom>
            <a:avLst/>
            <a:gdLst>
              <a:gd name="T0" fmla="*/ 298 w 298"/>
              <a:gd name="T1" fmla="*/ 19 h 301"/>
              <a:gd name="T2" fmla="*/ 19 w 298"/>
              <a:gd name="T3" fmla="*/ 301 h 301"/>
              <a:gd name="T4" fmla="*/ 0 w 298"/>
              <a:gd name="T5" fmla="*/ 282 h 301"/>
              <a:gd name="T6" fmla="*/ 282 w 298"/>
              <a:gd name="T7" fmla="*/ 0 h 301"/>
              <a:gd name="T8" fmla="*/ 298 w 298"/>
              <a:gd name="T9" fmla="*/ 19 h 301"/>
              <a:gd name="T10" fmla="*/ 298 w 298"/>
              <a:gd name="T11" fmla="*/ 19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98" h="301">
                <a:moveTo>
                  <a:pt x="298" y="19"/>
                </a:moveTo>
                <a:lnTo>
                  <a:pt x="19" y="301"/>
                </a:lnTo>
                <a:lnTo>
                  <a:pt x="0" y="282"/>
                </a:lnTo>
                <a:lnTo>
                  <a:pt x="282" y="0"/>
                </a:lnTo>
                <a:lnTo>
                  <a:pt x="298" y="19"/>
                </a:lnTo>
                <a:lnTo>
                  <a:pt x="298" y="19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accent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35D450AB-80D3-269C-9EE6-1F231D9D64D5}"/>
              </a:ext>
            </a:extLst>
          </p:cNvPr>
          <p:cNvGrpSpPr/>
          <p:nvPr/>
        </p:nvGrpSpPr>
        <p:grpSpPr>
          <a:xfrm>
            <a:off x="176052" y="3007073"/>
            <a:ext cx="1627396" cy="1627396"/>
            <a:chOff x="256850" y="3014469"/>
            <a:chExt cx="2248751" cy="2307160"/>
          </a:xfrm>
        </p:grpSpPr>
        <p:sp>
          <p:nvSpPr>
            <p:cNvPr id="81" name="Freeform 14">
              <a:extLst>
                <a:ext uri="{FF2B5EF4-FFF2-40B4-BE49-F238E27FC236}">
                  <a16:creationId xmlns:a16="http://schemas.microsoft.com/office/drawing/2014/main" id="{EFC8FF39-485D-4A44-7430-B5A0F5D61EFC}"/>
                </a:ext>
              </a:extLst>
            </p:cNvPr>
            <p:cNvSpPr>
              <a:spLocks/>
            </p:cNvSpPr>
            <p:nvPr/>
          </p:nvSpPr>
          <p:spPr bwMode="auto">
            <a:xfrm rot="18803660" flipH="1">
              <a:off x="969730" y="4098258"/>
              <a:ext cx="1165619" cy="1164178"/>
            </a:xfrm>
            <a:custGeom>
              <a:avLst/>
              <a:gdLst>
                <a:gd name="T0" fmla="*/ 341 w 341"/>
                <a:gd name="T1" fmla="*/ 0 h 341"/>
                <a:gd name="T2" fmla="*/ 0 w 341"/>
                <a:gd name="T3" fmla="*/ 341 h 341"/>
                <a:gd name="T4" fmla="*/ 0 w 341"/>
                <a:gd name="T5" fmla="*/ 319 h 341"/>
                <a:gd name="T6" fmla="*/ 318 w 341"/>
                <a:gd name="T7" fmla="*/ 0 h 341"/>
                <a:gd name="T8" fmla="*/ 341 w 341"/>
                <a:gd name="T9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341">
                  <a:moveTo>
                    <a:pt x="341" y="0"/>
                  </a:moveTo>
                  <a:cubicBezTo>
                    <a:pt x="341" y="189"/>
                    <a:pt x="188" y="341"/>
                    <a:pt x="0" y="341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175" y="319"/>
                    <a:pt x="318" y="176"/>
                    <a:pt x="318" y="0"/>
                  </a:cubicBezTo>
                  <a:cubicBezTo>
                    <a:pt x="341" y="0"/>
                    <a:pt x="341" y="0"/>
                    <a:pt x="341" y="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37">
              <a:extLst>
                <a:ext uri="{FF2B5EF4-FFF2-40B4-BE49-F238E27FC236}">
                  <a16:creationId xmlns:a16="http://schemas.microsoft.com/office/drawing/2014/main" id="{02BF7A9D-4130-D980-158C-42C1DE9AA94E}"/>
                </a:ext>
              </a:extLst>
            </p:cNvPr>
            <p:cNvSpPr>
              <a:spLocks/>
            </p:cNvSpPr>
            <p:nvPr/>
          </p:nvSpPr>
          <p:spPr bwMode="auto">
            <a:xfrm rot="18803660" flipH="1">
              <a:off x="966475" y="3944668"/>
              <a:ext cx="1842200" cy="911722"/>
            </a:xfrm>
            <a:custGeom>
              <a:avLst/>
              <a:gdLst>
                <a:gd name="T0" fmla="*/ 539 w 539"/>
                <a:gd name="T1" fmla="*/ 4 h 267"/>
                <a:gd name="T2" fmla="*/ 226 w 539"/>
                <a:gd name="T3" fmla="*/ 267 h 267"/>
                <a:gd name="T4" fmla="*/ 0 w 539"/>
                <a:gd name="T5" fmla="*/ 173 h 267"/>
                <a:gd name="T6" fmla="*/ 16 w 539"/>
                <a:gd name="T7" fmla="*/ 157 h 267"/>
                <a:gd name="T8" fmla="*/ 226 w 539"/>
                <a:gd name="T9" fmla="*/ 244 h 267"/>
                <a:gd name="T10" fmla="*/ 517 w 539"/>
                <a:gd name="T11" fmla="*/ 0 h 267"/>
                <a:gd name="T12" fmla="*/ 539 w 539"/>
                <a:gd name="T13" fmla="*/ 4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9" h="267">
                  <a:moveTo>
                    <a:pt x="539" y="4"/>
                  </a:moveTo>
                  <a:cubicBezTo>
                    <a:pt x="513" y="153"/>
                    <a:pt x="382" y="267"/>
                    <a:pt x="226" y="267"/>
                  </a:cubicBezTo>
                  <a:cubicBezTo>
                    <a:pt x="138" y="267"/>
                    <a:pt x="58" y="231"/>
                    <a:pt x="0" y="173"/>
                  </a:cubicBezTo>
                  <a:cubicBezTo>
                    <a:pt x="16" y="157"/>
                    <a:pt x="16" y="157"/>
                    <a:pt x="16" y="157"/>
                  </a:cubicBezTo>
                  <a:cubicBezTo>
                    <a:pt x="70" y="211"/>
                    <a:pt x="144" y="244"/>
                    <a:pt x="226" y="244"/>
                  </a:cubicBezTo>
                  <a:cubicBezTo>
                    <a:pt x="371" y="244"/>
                    <a:pt x="492" y="138"/>
                    <a:pt x="517" y="0"/>
                  </a:cubicBezTo>
                  <a:cubicBezTo>
                    <a:pt x="539" y="4"/>
                    <a:pt x="539" y="4"/>
                    <a:pt x="539" y="4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60">
              <a:extLst>
                <a:ext uri="{FF2B5EF4-FFF2-40B4-BE49-F238E27FC236}">
                  <a16:creationId xmlns:a16="http://schemas.microsoft.com/office/drawing/2014/main" id="{E95172E0-FAF4-50E6-7EEF-344A999765FB}"/>
                </a:ext>
              </a:extLst>
            </p:cNvPr>
            <p:cNvSpPr>
              <a:spLocks/>
            </p:cNvSpPr>
            <p:nvPr/>
          </p:nvSpPr>
          <p:spPr bwMode="auto">
            <a:xfrm rot="18803660" flipH="1">
              <a:off x="940354" y="3675334"/>
              <a:ext cx="1957606" cy="1009819"/>
            </a:xfrm>
            <a:custGeom>
              <a:avLst/>
              <a:gdLst>
                <a:gd name="T0" fmla="*/ 573 w 573"/>
                <a:gd name="T1" fmla="*/ 101 h 296"/>
                <a:gd name="T2" fmla="*/ 296 w 573"/>
                <a:gd name="T3" fmla="*/ 296 h 296"/>
                <a:gd name="T4" fmla="*/ 0 w 573"/>
                <a:gd name="T5" fmla="*/ 0 h 296"/>
                <a:gd name="T6" fmla="*/ 22 w 573"/>
                <a:gd name="T7" fmla="*/ 0 h 296"/>
                <a:gd name="T8" fmla="*/ 296 w 573"/>
                <a:gd name="T9" fmla="*/ 273 h 296"/>
                <a:gd name="T10" fmla="*/ 552 w 573"/>
                <a:gd name="T11" fmla="*/ 94 h 296"/>
                <a:gd name="T12" fmla="*/ 573 w 573"/>
                <a:gd name="T13" fmla="*/ 101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3" h="296">
                  <a:moveTo>
                    <a:pt x="573" y="101"/>
                  </a:moveTo>
                  <a:cubicBezTo>
                    <a:pt x="532" y="215"/>
                    <a:pt x="423" y="296"/>
                    <a:pt x="296" y="296"/>
                  </a:cubicBezTo>
                  <a:cubicBezTo>
                    <a:pt x="132" y="296"/>
                    <a:pt x="0" y="164"/>
                    <a:pt x="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151"/>
                    <a:pt x="145" y="273"/>
                    <a:pt x="296" y="273"/>
                  </a:cubicBezTo>
                  <a:cubicBezTo>
                    <a:pt x="413" y="273"/>
                    <a:pt x="514" y="198"/>
                    <a:pt x="552" y="94"/>
                  </a:cubicBezTo>
                  <a:cubicBezTo>
                    <a:pt x="573" y="101"/>
                    <a:pt x="573" y="101"/>
                    <a:pt x="573" y="101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DE8B29FA-B3FF-BFCC-BC25-9BCC54916410}"/>
                </a:ext>
              </a:extLst>
            </p:cNvPr>
            <p:cNvSpPr>
              <a:spLocks/>
            </p:cNvSpPr>
            <p:nvPr/>
          </p:nvSpPr>
          <p:spPr bwMode="auto">
            <a:xfrm rot="18803660" flipH="1">
              <a:off x="802297" y="3095073"/>
              <a:ext cx="1742660" cy="1591187"/>
            </a:xfrm>
            <a:custGeom>
              <a:avLst/>
              <a:gdLst>
                <a:gd name="T0" fmla="*/ 510 w 510"/>
                <a:gd name="T1" fmla="*/ 330 h 466"/>
                <a:gd name="T2" fmla="*/ 274 w 510"/>
                <a:gd name="T3" fmla="*/ 466 h 466"/>
                <a:gd name="T4" fmla="*/ 0 w 510"/>
                <a:gd name="T5" fmla="*/ 193 h 466"/>
                <a:gd name="T6" fmla="*/ 80 w 510"/>
                <a:gd name="T7" fmla="*/ 0 h 466"/>
                <a:gd name="T8" fmla="*/ 96 w 510"/>
                <a:gd name="T9" fmla="*/ 16 h 466"/>
                <a:gd name="T10" fmla="*/ 23 w 510"/>
                <a:gd name="T11" fmla="*/ 193 h 466"/>
                <a:gd name="T12" fmla="*/ 274 w 510"/>
                <a:gd name="T13" fmla="*/ 444 h 466"/>
                <a:gd name="T14" fmla="*/ 490 w 510"/>
                <a:gd name="T15" fmla="*/ 318 h 466"/>
                <a:gd name="T16" fmla="*/ 510 w 510"/>
                <a:gd name="T17" fmla="*/ 33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0" h="466">
                  <a:moveTo>
                    <a:pt x="510" y="330"/>
                  </a:moveTo>
                  <a:cubicBezTo>
                    <a:pt x="463" y="411"/>
                    <a:pt x="375" y="466"/>
                    <a:pt x="274" y="466"/>
                  </a:cubicBezTo>
                  <a:cubicBezTo>
                    <a:pt x="123" y="466"/>
                    <a:pt x="0" y="344"/>
                    <a:pt x="0" y="193"/>
                  </a:cubicBezTo>
                  <a:cubicBezTo>
                    <a:pt x="0" y="118"/>
                    <a:pt x="31" y="50"/>
                    <a:pt x="80" y="0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51" y="62"/>
                    <a:pt x="23" y="124"/>
                    <a:pt x="23" y="193"/>
                  </a:cubicBezTo>
                  <a:cubicBezTo>
                    <a:pt x="23" y="331"/>
                    <a:pt x="135" y="444"/>
                    <a:pt x="274" y="444"/>
                  </a:cubicBezTo>
                  <a:cubicBezTo>
                    <a:pt x="366" y="444"/>
                    <a:pt x="447" y="393"/>
                    <a:pt x="490" y="318"/>
                  </a:cubicBezTo>
                  <a:cubicBezTo>
                    <a:pt x="510" y="330"/>
                    <a:pt x="510" y="330"/>
                    <a:pt x="510" y="330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rgbClr val="75F0E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106">
              <a:extLst>
                <a:ext uri="{FF2B5EF4-FFF2-40B4-BE49-F238E27FC236}">
                  <a16:creationId xmlns:a16="http://schemas.microsoft.com/office/drawing/2014/main" id="{71B44A96-69FE-6C6F-2B5C-CC9F7131EACA}"/>
                </a:ext>
              </a:extLst>
            </p:cNvPr>
            <p:cNvSpPr>
              <a:spLocks/>
            </p:cNvSpPr>
            <p:nvPr/>
          </p:nvSpPr>
          <p:spPr bwMode="auto">
            <a:xfrm rot="18803660" flipH="1">
              <a:off x="814420" y="2909195"/>
              <a:ext cx="1585908" cy="1796455"/>
            </a:xfrm>
            <a:custGeom>
              <a:avLst/>
              <a:gdLst>
                <a:gd name="T0" fmla="*/ 442 w 442"/>
                <a:gd name="T1" fmla="*/ 411 h 501"/>
                <a:gd name="T2" fmla="*/ 251 w 442"/>
                <a:gd name="T3" fmla="*/ 501 h 501"/>
                <a:gd name="T4" fmla="*/ 0 w 442"/>
                <a:gd name="T5" fmla="*/ 250 h 501"/>
                <a:gd name="T6" fmla="*/ 251 w 442"/>
                <a:gd name="T7" fmla="*/ 0 h 501"/>
                <a:gd name="T8" fmla="*/ 251 w 442"/>
                <a:gd name="T9" fmla="*/ 23 h 501"/>
                <a:gd name="T10" fmla="*/ 23 w 442"/>
                <a:gd name="T11" fmla="*/ 250 h 501"/>
                <a:gd name="T12" fmla="*/ 251 w 442"/>
                <a:gd name="T13" fmla="*/ 478 h 501"/>
                <a:gd name="T14" fmla="*/ 425 w 442"/>
                <a:gd name="T15" fmla="*/ 397 h 501"/>
                <a:gd name="T16" fmla="*/ 442 w 442"/>
                <a:gd name="T17" fmla="*/ 411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2" h="501">
                  <a:moveTo>
                    <a:pt x="442" y="411"/>
                  </a:moveTo>
                  <a:cubicBezTo>
                    <a:pt x="396" y="466"/>
                    <a:pt x="327" y="501"/>
                    <a:pt x="251" y="501"/>
                  </a:cubicBezTo>
                  <a:cubicBezTo>
                    <a:pt x="112" y="501"/>
                    <a:pt x="0" y="388"/>
                    <a:pt x="0" y="250"/>
                  </a:cubicBezTo>
                  <a:cubicBezTo>
                    <a:pt x="0" y="112"/>
                    <a:pt x="112" y="0"/>
                    <a:pt x="251" y="0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125" y="23"/>
                    <a:pt x="23" y="125"/>
                    <a:pt x="23" y="250"/>
                  </a:cubicBezTo>
                  <a:cubicBezTo>
                    <a:pt x="23" y="376"/>
                    <a:pt x="125" y="478"/>
                    <a:pt x="251" y="478"/>
                  </a:cubicBezTo>
                  <a:cubicBezTo>
                    <a:pt x="321" y="478"/>
                    <a:pt x="383" y="446"/>
                    <a:pt x="425" y="397"/>
                  </a:cubicBezTo>
                  <a:cubicBezTo>
                    <a:pt x="442" y="411"/>
                    <a:pt x="442" y="411"/>
                    <a:pt x="442" y="411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rgbClr val="75F0E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63D1DA11-BDBC-8EAD-604C-DBCD517873FD}"/>
                </a:ext>
              </a:extLst>
            </p:cNvPr>
            <p:cNvSpPr>
              <a:spLocks noChangeAspect="1"/>
            </p:cNvSpPr>
            <p:nvPr/>
          </p:nvSpPr>
          <p:spPr>
            <a:xfrm rot="18803660">
              <a:off x="643017" y="3066944"/>
              <a:ext cx="1838479" cy="183847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RoundedRectangle 12">
              <a:extLst>
                <a:ext uri="{FF2B5EF4-FFF2-40B4-BE49-F238E27FC236}">
                  <a16:creationId xmlns:a16="http://schemas.microsoft.com/office/drawing/2014/main" id="{18CFC730-988B-CE27-F852-FBF0E86AA775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799692" y="3802896"/>
              <a:ext cx="1667476" cy="52360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ur vision is to bring…</a:t>
              </a:r>
            </a:p>
          </p:txBody>
        </p:sp>
        <p:sp>
          <p:nvSpPr>
            <p:cNvPr id="88" name="Freeform 37">
              <a:extLst>
                <a:ext uri="{FF2B5EF4-FFF2-40B4-BE49-F238E27FC236}">
                  <a16:creationId xmlns:a16="http://schemas.microsoft.com/office/drawing/2014/main" id="{FEDFD60D-3220-8795-BF80-188DBB0417C8}"/>
                </a:ext>
              </a:extLst>
            </p:cNvPr>
            <p:cNvSpPr>
              <a:spLocks/>
            </p:cNvSpPr>
            <p:nvPr/>
          </p:nvSpPr>
          <p:spPr bwMode="auto">
            <a:xfrm rot="2281233" flipH="1">
              <a:off x="256850" y="3854543"/>
              <a:ext cx="1696513" cy="921505"/>
            </a:xfrm>
            <a:custGeom>
              <a:avLst/>
              <a:gdLst>
                <a:gd name="T0" fmla="*/ 539 w 539"/>
                <a:gd name="T1" fmla="*/ 4 h 267"/>
                <a:gd name="T2" fmla="*/ 226 w 539"/>
                <a:gd name="T3" fmla="*/ 267 h 267"/>
                <a:gd name="T4" fmla="*/ 0 w 539"/>
                <a:gd name="T5" fmla="*/ 173 h 267"/>
                <a:gd name="T6" fmla="*/ 16 w 539"/>
                <a:gd name="T7" fmla="*/ 157 h 267"/>
                <a:gd name="T8" fmla="*/ 226 w 539"/>
                <a:gd name="T9" fmla="*/ 244 h 267"/>
                <a:gd name="T10" fmla="*/ 517 w 539"/>
                <a:gd name="T11" fmla="*/ 0 h 267"/>
                <a:gd name="T12" fmla="*/ 539 w 539"/>
                <a:gd name="T13" fmla="*/ 4 h 267"/>
                <a:gd name="connsiteX0" fmla="*/ 10000 w 10000"/>
                <a:gd name="connsiteY0" fmla="*/ 150 h 10000"/>
                <a:gd name="connsiteX1" fmla="*/ 4193 w 10000"/>
                <a:gd name="connsiteY1" fmla="*/ 10000 h 10000"/>
                <a:gd name="connsiteX2" fmla="*/ 0 w 10000"/>
                <a:gd name="connsiteY2" fmla="*/ 6479 h 10000"/>
                <a:gd name="connsiteX3" fmla="*/ 215 w 10000"/>
                <a:gd name="connsiteY3" fmla="*/ 6159 h 10000"/>
                <a:gd name="connsiteX4" fmla="*/ 4193 w 10000"/>
                <a:gd name="connsiteY4" fmla="*/ 9139 h 10000"/>
                <a:gd name="connsiteX5" fmla="*/ 9592 w 10000"/>
                <a:gd name="connsiteY5" fmla="*/ 0 h 10000"/>
                <a:gd name="connsiteX6" fmla="*/ 10000 w 10000"/>
                <a:gd name="connsiteY6" fmla="*/ 150 h 10000"/>
                <a:gd name="connsiteX0" fmla="*/ 10000 w 10000"/>
                <a:gd name="connsiteY0" fmla="*/ 150 h 10000"/>
                <a:gd name="connsiteX1" fmla="*/ 4193 w 10000"/>
                <a:gd name="connsiteY1" fmla="*/ 10000 h 10000"/>
                <a:gd name="connsiteX2" fmla="*/ 0 w 10000"/>
                <a:gd name="connsiteY2" fmla="*/ 6479 h 10000"/>
                <a:gd name="connsiteX3" fmla="*/ 215 w 10000"/>
                <a:gd name="connsiteY3" fmla="*/ 6159 h 10000"/>
                <a:gd name="connsiteX4" fmla="*/ 4193 w 10000"/>
                <a:gd name="connsiteY4" fmla="*/ 9139 h 10000"/>
                <a:gd name="connsiteX5" fmla="*/ 9592 w 10000"/>
                <a:gd name="connsiteY5" fmla="*/ 0 h 10000"/>
                <a:gd name="connsiteX6" fmla="*/ 10000 w 10000"/>
                <a:gd name="connsiteY6" fmla="*/ 150 h 10000"/>
                <a:gd name="connsiteX0" fmla="*/ 10000 w 10000"/>
                <a:gd name="connsiteY0" fmla="*/ 221 h 10071"/>
                <a:gd name="connsiteX1" fmla="*/ 4193 w 10000"/>
                <a:gd name="connsiteY1" fmla="*/ 10071 h 10071"/>
                <a:gd name="connsiteX2" fmla="*/ 0 w 10000"/>
                <a:gd name="connsiteY2" fmla="*/ 6550 h 10071"/>
                <a:gd name="connsiteX3" fmla="*/ 215 w 10000"/>
                <a:gd name="connsiteY3" fmla="*/ 6230 h 10071"/>
                <a:gd name="connsiteX4" fmla="*/ 4193 w 10000"/>
                <a:gd name="connsiteY4" fmla="*/ 9210 h 10071"/>
                <a:gd name="connsiteX5" fmla="*/ 9497 w 10000"/>
                <a:gd name="connsiteY5" fmla="*/ 0 h 10071"/>
                <a:gd name="connsiteX6" fmla="*/ 10000 w 10000"/>
                <a:gd name="connsiteY6" fmla="*/ 221 h 10071"/>
                <a:gd name="connsiteX0" fmla="*/ 10000 w 10000"/>
                <a:gd name="connsiteY0" fmla="*/ 221 h 10089"/>
                <a:gd name="connsiteX1" fmla="*/ 4193 w 10000"/>
                <a:gd name="connsiteY1" fmla="*/ 10071 h 10089"/>
                <a:gd name="connsiteX2" fmla="*/ 0 w 10000"/>
                <a:gd name="connsiteY2" fmla="*/ 6550 h 10089"/>
                <a:gd name="connsiteX3" fmla="*/ 215 w 10000"/>
                <a:gd name="connsiteY3" fmla="*/ 6230 h 10089"/>
                <a:gd name="connsiteX4" fmla="*/ 4193 w 10000"/>
                <a:gd name="connsiteY4" fmla="*/ 9210 h 10089"/>
                <a:gd name="connsiteX5" fmla="*/ 9497 w 10000"/>
                <a:gd name="connsiteY5" fmla="*/ 0 h 10089"/>
                <a:gd name="connsiteX6" fmla="*/ 10000 w 10000"/>
                <a:gd name="connsiteY6" fmla="*/ 221 h 10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89">
                  <a:moveTo>
                    <a:pt x="10000" y="221"/>
                  </a:moveTo>
                  <a:cubicBezTo>
                    <a:pt x="9518" y="5801"/>
                    <a:pt x="7330" y="10424"/>
                    <a:pt x="4193" y="10071"/>
                  </a:cubicBezTo>
                  <a:cubicBezTo>
                    <a:pt x="2570" y="9888"/>
                    <a:pt x="1460" y="8784"/>
                    <a:pt x="0" y="6550"/>
                  </a:cubicBezTo>
                  <a:cubicBezTo>
                    <a:pt x="297" y="5951"/>
                    <a:pt x="215" y="6230"/>
                    <a:pt x="215" y="6230"/>
                  </a:cubicBezTo>
                  <a:cubicBezTo>
                    <a:pt x="1217" y="8253"/>
                    <a:pt x="2672" y="9210"/>
                    <a:pt x="4193" y="9210"/>
                  </a:cubicBezTo>
                  <a:cubicBezTo>
                    <a:pt x="6883" y="9210"/>
                    <a:pt x="9033" y="5169"/>
                    <a:pt x="9497" y="0"/>
                  </a:cubicBezTo>
                  <a:lnTo>
                    <a:pt x="10000" y="221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9" name="TextBox 88">
            <a:extLst>
              <a:ext uri="{FF2B5EF4-FFF2-40B4-BE49-F238E27FC236}">
                <a16:creationId xmlns:a16="http://schemas.microsoft.com/office/drawing/2014/main" id="{BC9F6C46-8812-DEB0-6A7C-D3DF7653F9A2}"/>
              </a:ext>
            </a:extLst>
          </p:cNvPr>
          <p:cNvSpPr txBox="1">
            <a:spLocks/>
          </p:cNvSpPr>
          <p:nvPr/>
        </p:nvSpPr>
        <p:spPr>
          <a:xfrm>
            <a:off x="2807261" y="1767078"/>
            <a:ext cx="2667139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400" b="1" dirty="0">
                <a:effectLst/>
                <a:latin typeface="Helvetica" pitchFamily="2" charset="0"/>
              </a:rPr>
              <a:t>Automated Onboarding:</a:t>
            </a:r>
            <a:r>
              <a:rPr lang="en-GB" sz="1400" dirty="0">
                <a:effectLst/>
                <a:latin typeface="Helvetica" pitchFamily="2" charset="0"/>
              </a:rPr>
              <a:t> AI agent captures and organizes customer information, learns preferences, and guides clients through the onboarding process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583257EA-E855-4D57-80D6-73B0648FFE3B}"/>
              </a:ext>
            </a:extLst>
          </p:cNvPr>
          <p:cNvGrpSpPr/>
          <p:nvPr/>
        </p:nvGrpSpPr>
        <p:grpSpPr>
          <a:xfrm>
            <a:off x="2228085" y="3278411"/>
            <a:ext cx="714801" cy="714801"/>
            <a:chOff x="2806975" y="3224110"/>
            <a:chExt cx="1151194" cy="1151194"/>
          </a:xfrm>
        </p:grpSpPr>
        <p:sp>
          <p:nvSpPr>
            <p:cNvPr id="97" name="Freeform 111">
              <a:extLst>
                <a:ext uri="{FF2B5EF4-FFF2-40B4-BE49-F238E27FC236}">
                  <a16:creationId xmlns:a16="http://schemas.microsoft.com/office/drawing/2014/main" id="{9B8102A7-014A-8008-43EA-1E29B9E9B26B}"/>
                </a:ext>
              </a:extLst>
            </p:cNvPr>
            <p:cNvSpPr>
              <a:spLocks noEditPoints="1"/>
            </p:cNvSpPr>
            <p:nvPr/>
          </p:nvSpPr>
          <p:spPr bwMode="auto">
            <a:xfrm rot="18803660" flipH="1">
              <a:off x="2806975" y="3224110"/>
              <a:ext cx="1151194" cy="1151194"/>
            </a:xfrm>
            <a:custGeom>
              <a:avLst/>
              <a:gdLst>
                <a:gd name="T0" fmla="*/ 60 w 337"/>
                <a:gd name="T1" fmla="*/ 277 h 337"/>
                <a:gd name="T2" fmla="*/ 277 w 337"/>
                <a:gd name="T3" fmla="*/ 277 h 337"/>
                <a:gd name="T4" fmla="*/ 277 w 337"/>
                <a:gd name="T5" fmla="*/ 60 h 337"/>
                <a:gd name="T6" fmla="*/ 60 w 337"/>
                <a:gd name="T7" fmla="*/ 60 h 337"/>
                <a:gd name="T8" fmla="*/ 60 w 337"/>
                <a:gd name="T9" fmla="*/ 277 h 337"/>
                <a:gd name="T10" fmla="*/ 81 w 337"/>
                <a:gd name="T11" fmla="*/ 256 h 337"/>
                <a:gd name="T12" fmla="*/ 256 w 337"/>
                <a:gd name="T13" fmla="*/ 256 h 337"/>
                <a:gd name="T14" fmla="*/ 256 w 337"/>
                <a:gd name="T15" fmla="*/ 81 h 337"/>
                <a:gd name="T16" fmla="*/ 81 w 337"/>
                <a:gd name="T17" fmla="*/ 81 h 337"/>
                <a:gd name="T18" fmla="*/ 81 w 337"/>
                <a:gd name="T19" fmla="*/ 25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7" h="337">
                  <a:moveTo>
                    <a:pt x="60" y="277"/>
                  </a:moveTo>
                  <a:cubicBezTo>
                    <a:pt x="119" y="337"/>
                    <a:pt x="217" y="337"/>
                    <a:pt x="277" y="277"/>
                  </a:cubicBezTo>
                  <a:cubicBezTo>
                    <a:pt x="337" y="217"/>
                    <a:pt x="337" y="120"/>
                    <a:pt x="277" y="60"/>
                  </a:cubicBezTo>
                  <a:cubicBezTo>
                    <a:pt x="217" y="0"/>
                    <a:pt x="119" y="0"/>
                    <a:pt x="60" y="60"/>
                  </a:cubicBezTo>
                  <a:cubicBezTo>
                    <a:pt x="0" y="120"/>
                    <a:pt x="0" y="217"/>
                    <a:pt x="60" y="277"/>
                  </a:cubicBezTo>
                  <a:close/>
                  <a:moveTo>
                    <a:pt x="81" y="256"/>
                  </a:moveTo>
                  <a:cubicBezTo>
                    <a:pt x="129" y="304"/>
                    <a:pt x="207" y="304"/>
                    <a:pt x="256" y="256"/>
                  </a:cubicBezTo>
                  <a:cubicBezTo>
                    <a:pt x="304" y="208"/>
                    <a:pt x="304" y="129"/>
                    <a:pt x="256" y="81"/>
                  </a:cubicBezTo>
                  <a:cubicBezTo>
                    <a:pt x="207" y="33"/>
                    <a:pt x="129" y="33"/>
                    <a:pt x="81" y="81"/>
                  </a:cubicBezTo>
                  <a:cubicBezTo>
                    <a:pt x="32" y="129"/>
                    <a:pt x="32" y="208"/>
                    <a:pt x="81" y="256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F3836E3C-1C2B-6895-527A-54B34A4C71CE}"/>
                </a:ext>
              </a:extLst>
            </p:cNvPr>
            <p:cNvGrpSpPr/>
            <p:nvPr/>
          </p:nvGrpSpPr>
          <p:grpSpPr>
            <a:xfrm>
              <a:off x="2929262" y="3341308"/>
              <a:ext cx="906619" cy="906618"/>
              <a:chOff x="2929262" y="3346396"/>
              <a:chExt cx="906619" cy="906618"/>
            </a:xfrm>
          </p:grpSpPr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F102459B-1034-55F8-03B2-AF6FFED5B12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929262" y="3346396"/>
                <a:ext cx="906619" cy="906618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00" name="Graphic 99">
                <a:extLst>
                  <a:ext uri="{FF2B5EF4-FFF2-40B4-BE49-F238E27FC236}">
                    <a16:creationId xmlns:a16="http://schemas.microsoft.com/office/drawing/2014/main" id="{C39853F0-B6E2-7E5F-0535-E8E8F5F7A3CD}"/>
                  </a:ext>
                </a:extLst>
              </p:cNvPr>
              <p:cNvPicPr>
                <a:picLocks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3106641" y="3523775"/>
                <a:ext cx="551861" cy="551861"/>
              </a:xfrm>
              <a:prstGeom prst="rect">
                <a:avLst/>
              </a:prstGeom>
            </p:spPr>
          </p:pic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86B4A368-929B-5C14-D209-67FE53D44E7D}"/>
              </a:ext>
            </a:extLst>
          </p:cNvPr>
          <p:cNvGrpSpPr/>
          <p:nvPr/>
        </p:nvGrpSpPr>
        <p:grpSpPr>
          <a:xfrm>
            <a:off x="1820338" y="4403438"/>
            <a:ext cx="651203" cy="651203"/>
            <a:chOff x="2310615" y="4710150"/>
            <a:chExt cx="1048769" cy="1048769"/>
          </a:xfrm>
        </p:grpSpPr>
        <p:sp>
          <p:nvSpPr>
            <p:cNvPr id="103" name="Freeform 110">
              <a:extLst>
                <a:ext uri="{FF2B5EF4-FFF2-40B4-BE49-F238E27FC236}">
                  <a16:creationId xmlns:a16="http://schemas.microsoft.com/office/drawing/2014/main" id="{7D04690F-0563-BCA4-D3D7-4B879D99683F}"/>
                </a:ext>
              </a:extLst>
            </p:cNvPr>
            <p:cNvSpPr>
              <a:spLocks noEditPoints="1"/>
            </p:cNvSpPr>
            <p:nvPr/>
          </p:nvSpPr>
          <p:spPr bwMode="auto">
            <a:xfrm rot="18803660" flipH="1">
              <a:off x="2310615" y="4710150"/>
              <a:ext cx="1048769" cy="1048769"/>
            </a:xfrm>
            <a:custGeom>
              <a:avLst/>
              <a:gdLst>
                <a:gd name="T0" fmla="*/ 154 w 307"/>
                <a:gd name="T1" fmla="*/ 307 h 307"/>
                <a:gd name="T2" fmla="*/ 307 w 307"/>
                <a:gd name="T3" fmla="*/ 154 h 307"/>
                <a:gd name="T4" fmla="*/ 154 w 307"/>
                <a:gd name="T5" fmla="*/ 0 h 307"/>
                <a:gd name="T6" fmla="*/ 0 w 307"/>
                <a:gd name="T7" fmla="*/ 154 h 307"/>
                <a:gd name="T8" fmla="*/ 154 w 307"/>
                <a:gd name="T9" fmla="*/ 307 h 307"/>
                <a:gd name="T10" fmla="*/ 154 w 307"/>
                <a:gd name="T11" fmla="*/ 277 h 307"/>
                <a:gd name="T12" fmla="*/ 277 w 307"/>
                <a:gd name="T13" fmla="*/ 154 h 307"/>
                <a:gd name="T14" fmla="*/ 154 w 307"/>
                <a:gd name="T15" fmla="*/ 30 h 307"/>
                <a:gd name="T16" fmla="*/ 30 w 307"/>
                <a:gd name="T17" fmla="*/ 154 h 307"/>
                <a:gd name="T18" fmla="*/ 154 w 307"/>
                <a:gd name="T19" fmla="*/ 27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307">
                  <a:moveTo>
                    <a:pt x="154" y="307"/>
                  </a:moveTo>
                  <a:cubicBezTo>
                    <a:pt x="238" y="307"/>
                    <a:pt x="307" y="238"/>
                    <a:pt x="307" y="154"/>
                  </a:cubicBezTo>
                  <a:cubicBezTo>
                    <a:pt x="307" y="69"/>
                    <a:pt x="238" y="0"/>
                    <a:pt x="154" y="0"/>
                  </a:cubicBezTo>
                  <a:cubicBezTo>
                    <a:pt x="69" y="0"/>
                    <a:pt x="0" y="69"/>
                    <a:pt x="0" y="154"/>
                  </a:cubicBezTo>
                  <a:cubicBezTo>
                    <a:pt x="0" y="238"/>
                    <a:pt x="69" y="307"/>
                    <a:pt x="154" y="307"/>
                  </a:cubicBezTo>
                  <a:close/>
                  <a:moveTo>
                    <a:pt x="154" y="277"/>
                  </a:moveTo>
                  <a:cubicBezTo>
                    <a:pt x="222" y="277"/>
                    <a:pt x="277" y="222"/>
                    <a:pt x="277" y="154"/>
                  </a:cubicBezTo>
                  <a:cubicBezTo>
                    <a:pt x="277" y="85"/>
                    <a:pt x="222" y="30"/>
                    <a:pt x="154" y="30"/>
                  </a:cubicBezTo>
                  <a:cubicBezTo>
                    <a:pt x="85" y="30"/>
                    <a:pt x="30" y="85"/>
                    <a:pt x="30" y="154"/>
                  </a:cubicBezTo>
                  <a:cubicBezTo>
                    <a:pt x="30" y="222"/>
                    <a:pt x="85" y="277"/>
                    <a:pt x="154" y="277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9DF963EE-4104-29BD-A6D3-B18013A0606D}"/>
                </a:ext>
              </a:extLst>
            </p:cNvPr>
            <p:cNvSpPr>
              <a:spLocks noChangeAspect="1"/>
            </p:cNvSpPr>
            <p:nvPr/>
          </p:nvSpPr>
          <p:spPr>
            <a:xfrm rot="21185391">
              <a:off x="2381693" y="4781224"/>
              <a:ext cx="906619" cy="90661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05" name="Graphic 104">
              <a:extLst>
                <a:ext uri="{FF2B5EF4-FFF2-40B4-BE49-F238E27FC236}">
                  <a16:creationId xmlns:a16="http://schemas.microsoft.com/office/drawing/2014/main" id="{AB465CDF-2B7F-98D2-73F9-8C6F0E7301DA}"/>
                </a:ext>
              </a:extLst>
            </p:cNvPr>
            <p:cNvPicPr>
              <a:picLocks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559072" y="4958603"/>
              <a:ext cx="551861" cy="551861"/>
            </a:xfrm>
            <a:prstGeom prst="rect">
              <a:avLst/>
            </a:prstGeom>
          </p:spPr>
        </p:pic>
      </p:grpSp>
      <p:sp>
        <p:nvSpPr>
          <p:cNvPr id="106" name="Freeform 13">
            <a:extLst>
              <a:ext uri="{FF2B5EF4-FFF2-40B4-BE49-F238E27FC236}">
                <a16:creationId xmlns:a16="http://schemas.microsoft.com/office/drawing/2014/main" id="{E2B59BD1-AF55-AB2C-BAF6-B9A19288FB7B}"/>
              </a:ext>
            </a:extLst>
          </p:cNvPr>
          <p:cNvSpPr>
            <a:spLocks/>
          </p:cNvSpPr>
          <p:nvPr/>
        </p:nvSpPr>
        <p:spPr bwMode="auto">
          <a:xfrm rot="18803660" flipH="1">
            <a:off x="1371836" y="2792187"/>
            <a:ext cx="653497" cy="37507"/>
          </a:xfrm>
          <a:custGeom>
            <a:avLst/>
            <a:gdLst>
              <a:gd name="T0" fmla="*/ 450 w 453"/>
              <a:gd name="T1" fmla="*/ 26 h 26"/>
              <a:gd name="T2" fmla="*/ 0 w 453"/>
              <a:gd name="T3" fmla="*/ 26 h 26"/>
              <a:gd name="T4" fmla="*/ 0 w 453"/>
              <a:gd name="T5" fmla="*/ 0 h 26"/>
              <a:gd name="T6" fmla="*/ 453 w 453"/>
              <a:gd name="T7" fmla="*/ 0 h 26"/>
              <a:gd name="T8" fmla="*/ 450 w 453"/>
              <a:gd name="T9" fmla="*/ 26 h 26"/>
              <a:gd name="T10" fmla="*/ 450 w 453"/>
              <a:gd name="T11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3" h="26">
                <a:moveTo>
                  <a:pt x="450" y="26"/>
                </a:moveTo>
                <a:lnTo>
                  <a:pt x="0" y="26"/>
                </a:lnTo>
                <a:lnTo>
                  <a:pt x="0" y="0"/>
                </a:lnTo>
                <a:lnTo>
                  <a:pt x="453" y="0"/>
                </a:lnTo>
                <a:lnTo>
                  <a:pt x="450" y="26"/>
                </a:lnTo>
                <a:lnTo>
                  <a:pt x="450" y="26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rgbClr val="75F0E7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1634C886-96C7-593B-E475-50D94726E1CF}"/>
              </a:ext>
            </a:extLst>
          </p:cNvPr>
          <p:cNvCxnSpPr/>
          <p:nvPr/>
        </p:nvCxnSpPr>
        <p:spPr>
          <a:xfrm>
            <a:off x="5665129" y="1637425"/>
            <a:ext cx="0" cy="4333118"/>
          </a:xfrm>
          <a:prstGeom prst="line">
            <a:avLst/>
          </a:prstGeom>
          <a:ln w="6350" cap="flat">
            <a:solidFill>
              <a:srgbClr val="75757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89">
            <a:extLst>
              <a:ext uri="{FF2B5EF4-FFF2-40B4-BE49-F238E27FC236}">
                <a16:creationId xmlns:a16="http://schemas.microsoft.com/office/drawing/2014/main" id="{32FE1BD9-C926-7B2E-E925-DF8A0F0FAC42}"/>
              </a:ext>
            </a:extLst>
          </p:cNvPr>
          <p:cNvGrpSpPr/>
          <p:nvPr/>
        </p:nvGrpSpPr>
        <p:grpSpPr>
          <a:xfrm>
            <a:off x="1648290" y="2109481"/>
            <a:ext cx="715338" cy="719280"/>
            <a:chOff x="2233886" y="1712567"/>
            <a:chExt cx="1047327" cy="1053098"/>
          </a:xfrm>
        </p:grpSpPr>
        <p:sp>
          <p:nvSpPr>
            <p:cNvPr id="91" name="Freeform 109">
              <a:extLst>
                <a:ext uri="{FF2B5EF4-FFF2-40B4-BE49-F238E27FC236}">
                  <a16:creationId xmlns:a16="http://schemas.microsoft.com/office/drawing/2014/main" id="{72AC7646-9A36-E598-C2F4-8F49EA87C5FD}"/>
                </a:ext>
              </a:extLst>
            </p:cNvPr>
            <p:cNvSpPr>
              <a:spLocks noEditPoints="1"/>
            </p:cNvSpPr>
            <p:nvPr/>
          </p:nvSpPr>
          <p:spPr bwMode="auto">
            <a:xfrm rot="18803660" flipH="1">
              <a:off x="2231001" y="1715452"/>
              <a:ext cx="1053098" cy="1047327"/>
            </a:xfrm>
            <a:custGeom>
              <a:avLst/>
              <a:gdLst>
                <a:gd name="T0" fmla="*/ 0 w 308"/>
                <a:gd name="T1" fmla="*/ 153 h 307"/>
                <a:gd name="T2" fmla="*/ 154 w 308"/>
                <a:gd name="T3" fmla="*/ 0 h 307"/>
                <a:gd name="T4" fmla="*/ 308 w 308"/>
                <a:gd name="T5" fmla="*/ 153 h 307"/>
                <a:gd name="T6" fmla="*/ 154 w 308"/>
                <a:gd name="T7" fmla="*/ 307 h 307"/>
                <a:gd name="T8" fmla="*/ 0 w 308"/>
                <a:gd name="T9" fmla="*/ 153 h 307"/>
                <a:gd name="T10" fmla="*/ 30 w 308"/>
                <a:gd name="T11" fmla="*/ 153 h 307"/>
                <a:gd name="T12" fmla="*/ 154 w 308"/>
                <a:gd name="T13" fmla="*/ 30 h 307"/>
                <a:gd name="T14" fmla="*/ 278 w 308"/>
                <a:gd name="T15" fmla="*/ 153 h 307"/>
                <a:gd name="T16" fmla="*/ 154 w 308"/>
                <a:gd name="T17" fmla="*/ 277 h 307"/>
                <a:gd name="T18" fmla="*/ 30 w 308"/>
                <a:gd name="T19" fmla="*/ 153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8" h="307">
                  <a:moveTo>
                    <a:pt x="0" y="153"/>
                  </a:moveTo>
                  <a:cubicBezTo>
                    <a:pt x="0" y="68"/>
                    <a:pt x="69" y="0"/>
                    <a:pt x="154" y="0"/>
                  </a:cubicBezTo>
                  <a:cubicBezTo>
                    <a:pt x="239" y="0"/>
                    <a:pt x="308" y="68"/>
                    <a:pt x="308" y="153"/>
                  </a:cubicBezTo>
                  <a:cubicBezTo>
                    <a:pt x="308" y="238"/>
                    <a:pt x="239" y="307"/>
                    <a:pt x="154" y="307"/>
                  </a:cubicBezTo>
                  <a:cubicBezTo>
                    <a:pt x="69" y="307"/>
                    <a:pt x="0" y="238"/>
                    <a:pt x="0" y="153"/>
                  </a:cubicBezTo>
                  <a:close/>
                  <a:moveTo>
                    <a:pt x="30" y="153"/>
                  </a:moveTo>
                  <a:cubicBezTo>
                    <a:pt x="30" y="85"/>
                    <a:pt x="86" y="30"/>
                    <a:pt x="154" y="30"/>
                  </a:cubicBezTo>
                  <a:cubicBezTo>
                    <a:pt x="222" y="30"/>
                    <a:pt x="278" y="85"/>
                    <a:pt x="278" y="153"/>
                  </a:cubicBezTo>
                  <a:cubicBezTo>
                    <a:pt x="278" y="222"/>
                    <a:pt x="222" y="277"/>
                    <a:pt x="154" y="277"/>
                  </a:cubicBezTo>
                  <a:cubicBezTo>
                    <a:pt x="86" y="277"/>
                    <a:pt x="30" y="222"/>
                    <a:pt x="30" y="153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rgbClr val="75F0E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D1F250A8-7D42-B3B9-87AC-F2B1088532F1}"/>
                </a:ext>
              </a:extLst>
            </p:cNvPr>
            <p:cNvGrpSpPr/>
            <p:nvPr/>
          </p:nvGrpSpPr>
          <p:grpSpPr>
            <a:xfrm>
              <a:off x="2304241" y="1785806"/>
              <a:ext cx="906619" cy="906618"/>
              <a:chOff x="2304241" y="1785806"/>
              <a:chExt cx="906619" cy="906618"/>
            </a:xfrm>
          </p:grpSpPr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754DABCE-F378-79F6-6EA9-DC74D18698C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04241" y="1785806"/>
                <a:ext cx="906619" cy="906618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75F0E7"/>
                </a:solidFill>
                <a:prstDash val="solid"/>
              </a:ln>
              <a:effectLst/>
            </p:spPr>
            <p:txBody>
              <a:bodyPr wrap="none"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94" name="Graphic 93">
                <a:extLst>
                  <a:ext uri="{FF2B5EF4-FFF2-40B4-BE49-F238E27FC236}">
                    <a16:creationId xmlns:a16="http://schemas.microsoft.com/office/drawing/2014/main" id="{1CA2A0F6-56B2-60F5-4394-0E59CAAF6138}"/>
                  </a:ext>
                </a:extLst>
              </p:cNvPr>
              <p:cNvPicPr>
                <a:picLocks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481621" y="1963185"/>
                <a:ext cx="551861" cy="551861"/>
              </a:xfrm>
              <a:prstGeom prst="rect">
                <a:avLst/>
              </a:prstGeom>
            </p:spPr>
          </p:pic>
        </p:grp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1D2D49DE-35F5-7C5E-D69E-2DEA743A6896}"/>
              </a:ext>
            </a:extLst>
          </p:cNvPr>
          <p:cNvSpPr txBox="1">
            <a:spLocks/>
          </p:cNvSpPr>
          <p:nvPr/>
        </p:nvSpPr>
        <p:spPr>
          <a:xfrm>
            <a:off x="2990444" y="3208441"/>
            <a:ext cx="2667139" cy="116955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spcBef>
                <a:spcPts val="900"/>
              </a:spcBef>
            </a:pPr>
            <a:r>
              <a:rPr lang="en-GB" sz="1400" b="1" dirty="0">
                <a:effectLst/>
                <a:latin typeface="Helvetica" pitchFamily="2" charset="0"/>
              </a:rPr>
              <a:t>Order Management:</a:t>
            </a:r>
            <a:r>
              <a:rPr lang="en-GB" sz="1400" dirty="0">
                <a:effectLst/>
                <a:latin typeface="Helvetica" pitchFamily="2" charset="0"/>
              </a:rPr>
              <a:t> AI tracks order statuses, manages stock levels, provides updates, and interacts with customers if issues arise.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36D3F86-D476-C9B1-7761-09D23F35B8FB}"/>
              </a:ext>
            </a:extLst>
          </p:cNvPr>
          <p:cNvSpPr txBox="1">
            <a:spLocks/>
          </p:cNvSpPr>
          <p:nvPr/>
        </p:nvSpPr>
        <p:spPr>
          <a:xfrm>
            <a:off x="2433109" y="4770256"/>
            <a:ext cx="2667139" cy="116955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GB" sz="1400" b="1" dirty="0">
                <a:effectLst/>
                <a:latin typeface="Helvetica" pitchFamily="2" charset="0"/>
              </a:rPr>
              <a:t>Personalized Customer Interactions:</a:t>
            </a:r>
            <a:r>
              <a:rPr lang="en-GB" sz="1400" dirty="0">
                <a:effectLst/>
                <a:latin typeface="Helvetica" pitchFamily="2" charset="0"/>
              </a:rPr>
              <a:t> The AI uses data-driven insights to suggest products, answer FAQs, and offer discounts or loyalty perks.</a:t>
            </a:r>
            <a:endParaRPr lang="en-US" sz="1400" dirty="0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5C415CA1-8B00-4068-851A-B93472CF9136}"/>
              </a:ext>
            </a:extLst>
          </p:cNvPr>
          <p:cNvSpPr txBox="1">
            <a:spLocks/>
          </p:cNvSpPr>
          <p:nvPr/>
        </p:nvSpPr>
        <p:spPr>
          <a:xfrm>
            <a:off x="5864242" y="1690731"/>
            <a:ext cx="2829096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echnical Stack</a:t>
            </a:r>
          </a:p>
        </p:txBody>
      </p:sp>
      <p:cxnSp>
        <p:nvCxnSpPr>
          <p:cNvPr id="114" name="LineBasicStrong 11">
            <a:extLst>
              <a:ext uri="{FF2B5EF4-FFF2-40B4-BE49-F238E27FC236}">
                <a16:creationId xmlns:a16="http://schemas.microsoft.com/office/drawing/2014/main" id="{690C39EC-91EC-77B3-35ED-1AA74505F6A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5855859" y="1962067"/>
            <a:ext cx="2837484" cy="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6FA7685D-D9CB-27A4-6F04-F7FE3A7F3813}"/>
              </a:ext>
            </a:extLst>
          </p:cNvPr>
          <p:cNvGrpSpPr/>
          <p:nvPr/>
        </p:nvGrpSpPr>
        <p:grpSpPr>
          <a:xfrm>
            <a:off x="5779205" y="2221330"/>
            <a:ext cx="595289" cy="595289"/>
            <a:chOff x="7990604" y="4464364"/>
            <a:chExt cx="595289" cy="595289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E355B3DD-E08C-54E8-F0C9-84EACF861E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90604" y="4464364"/>
              <a:ext cx="595289" cy="595289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8" name="CustomIcon">
              <a:extLst>
                <a:ext uri="{FF2B5EF4-FFF2-40B4-BE49-F238E27FC236}">
                  <a16:creationId xmlns:a16="http://schemas.microsoft.com/office/drawing/2014/main" id="{80F8A87D-3522-1B61-A658-A347BCA935EA}"/>
                </a:ext>
              </a:extLst>
            </p:cNvPr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8061218" y="4595483"/>
              <a:ext cx="430565" cy="387619"/>
            </a:xfrm>
            <a:prstGeom prst="rect">
              <a:avLst/>
            </a:prstGeom>
          </p:spPr>
        </p:pic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9F391A9D-BBC1-644E-9E60-58DF0D551951}"/>
              </a:ext>
            </a:extLst>
          </p:cNvPr>
          <p:cNvGrpSpPr/>
          <p:nvPr/>
        </p:nvGrpSpPr>
        <p:grpSpPr>
          <a:xfrm>
            <a:off x="5779205" y="3131356"/>
            <a:ext cx="595289" cy="595289"/>
            <a:chOff x="5777039" y="3131355"/>
            <a:chExt cx="595289" cy="595289"/>
          </a:xfrm>
        </p:grpSpPr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FF91DEDB-2B89-A3EF-E5B0-1866840F64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77039" y="3131355"/>
              <a:ext cx="595289" cy="595289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3" name="Graphic 122" descr="Database outline">
              <a:extLst>
                <a:ext uri="{FF2B5EF4-FFF2-40B4-BE49-F238E27FC236}">
                  <a16:creationId xmlns:a16="http://schemas.microsoft.com/office/drawing/2014/main" id="{122938FC-AF45-E45B-18F7-8C96B0D35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902103" y="3235103"/>
              <a:ext cx="387795" cy="387795"/>
            </a:xfrm>
            <a:prstGeom prst="rect">
              <a:avLst/>
            </a:prstGeom>
          </p:spPr>
        </p:pic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51212500-4C7F-36D6-B687-A1BD916020B0}"/>
              </a:ext>
            </a:extLst>
          </p:cNvPr>
          <p:cNvGrpSpPr/>
          <p:nvPr/>
        </p:nvGrpSpPr>
        <p:grpSpPr>
          <a:xfrm>
            <a:off x="5779205" y="4070373"/>
            <a:ext cx="595289" cy="595289"/>
            <a:chOff x="5832362" y="4025390"/>
            <a:chExt cx="595289" cy="595289"/>
          </a:xfrm>
        </p:grpSpPr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0BFEDCAA-5F57-354F-ADFD-2ADE225122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32362" y="4025390"/>
              <a:ext cx="595289" cy="595289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7" name="Graphic 126" descr="Programmer male outline">
              <a:extLst>
                <a:ext uri="{FF2B5EF4-FFF2-40B4-BE49-F238E27FC236}">
                  <a16:creationId xmlns:a16="http://schemas.microsoft.com/office/drawing/2014/main" id="{118D1746-030D-73FD-B697-8CBB903B0DA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5916719" y="4109747"/>
              <a:ext cx="426575" cy="426575"/>
            </a:xfrm>
            <a:prstGeom prst="rect">
              <a:avLst/>
            </a:prstGeom>
          </p:spPr>
        </p:pic>
      </p:grp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5325B250-AC43-BF2F-B400-5AE8EF47FCA8}"/>
              </a:ext>
            </a:extLst>
          </p:cNvPr>
          <p:cNvCxnSpPr/>
          <p:nvPr/>
        </p:nvCxnSpPr>
        <p:spPr>
          <a:xfrm>
            <a:off x="8917483" y="1637425"/>
            <a:ext cx="0" cy="4333118"/>
          </a:xfrm>
          <a:prstGeom prst="line">
            <a:avLst/>
          </a:prstGeom>
          <a:ln w="6350" cap="flat">
            <a:solidFill>
              <a:srgbClr val="75757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Box 130">
            <a:extLst>
              <a:ext uri="{FF2B5EF4-FFF2-40B4-BE49-F238E27FC236}">
                <a16:creationId xmlns:a16="http://schemas.microsoft.com/office/drawing/2014/main" id="{23757FDA-67F2-91EC-306D-8A16A4518562}"/>
              </a:ext>
            </a:extLst>
          </p:cNvPr>
          <p:cNvSpPr txBox="1">
            <a:spLocks/>
          </p:cNvSpPr>
          <p:nvPr/>
        </p:nvSpPr>
        <p:spPr>
          <a:xfrm>
            <a:off x="9085424" y="1690731"/>
            <a:ext cx="2829096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Key Milestones</a:t>
            </a:r>
          </a:p>
        </p:txBody>
      </p:sp>
      <p:cxnSp>
        <p:nvCxnSpPr>
          <p:cNvPr id="132" name="LineBasicStrong 11">
            <a:extLst>
              <a:ext uri="{FF2B5EF4-FFF2-40B4-BE49-F238E27FC236}">
                <a16:creationId xmlns:a16="http://schemas.microsoft.com/office/drawing/2014/main" id="{FC3BB5DC-08FF-55C6-5AAC-E2D5B81ACDB0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9077041" y="1962067"/>
            <a:ext cx="2837484" cy="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6F05413E-CD33-CD42-74AA-867CA15E6005}"/>
              </a:ext>
            </a:extLst>
          </p:cNvPr>
          <p:cNvGrpSpPr/>
          <p:nvPr/>
        </p:nvGrpSpPr>
        <p:grpSpPr>
          <a:xfrm>
            <a:off x="9085424" y="2221330"/>
            <a:ext cx="595289" cy="595289"/>
            <a:chOff x="9085424" y="2221330"/>
            <a:chExt cx="595289" cy="595289"/>
          </a:xfrm>
        </p:grpSpPr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440D8F32-6BAC-88C2-562F-994E5B2DF1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85424" y="2221330"/>
              <a:ext cx="595289" cy="595289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36" name="Graphic 135" descr="Clipboard Partially Crossed with solid fill">
              <a:extLst>
                <a:ext uri="{FF2B5EF4-FFF2-40B4-BE49-F238E27FC236}">
                  <a16:creationId xmlns:a16="http://schemas.microsoft.com/office/drawing/2014/main" id="{3D3C85A2-64BE-BFC2-B9DF-03D8C800A3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9169781" y="2305687"/>
              <a:ext cx="426575" cy="426575"/>
            </a:xfrm>
            <a:prstGeom prst="rect">
              <a:avLst/>
            </a:prstGeom>
          </p:spPr>
        </p:pic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2B597528-32AD-59E6-4507-5E565D0657BE}"/>
              </a:ext>
            </a:extLst>
          </p:cNvPr>
          <p:cNvGrpSpPr/>
          <p:nvPr/>
        </p:nvGrpSpPr>
        <p:grpSpPr>
          <a:xfrm>
            <a:off x="9085424" y="3235104"/>
            <a:ext cx="595289" cy="595289"/>
            <a:chOff x="9131048" y="3673461"/>
            <a:chExt cx="595289" cy="595289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CBBE7E3A-C436-F0EB-5B3E-149FE73ECB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1048" y="3673461"/>
              <a:ext cx="595289" cy="595289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40" name="Graphic 139" descr="Presentation with checklist with solid fill">
              <a:extLst>
                <a:ext uri="{FF2B5EF4-FFF2-40B4-BE49-F238E27FC236}">
                  <a16:creationId xmlns:a16="http://schemas.microsoft.com/office/drawing/2014/main" id="{58F0D661-96B0-F06C-F53E-937D1B01EC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9217497" y="3775557"/>
              <a:ext cx="426575" cy="426575"/>
            </a:xfrm>
            <a:prstGeom prst="rect">
              <a:avLst/>
            </a:prstGeom>
          </p:spPr>
        </p:pic>
      </p:grpSp>
      <p:sp>
        <p:nvSpPr>
          <p:cNvPr id="143" name="TextBox 142">
            <a:extLst>
              <a:ext uri="{FF2B5EF4-FFF2-40B4-BE49-F238E27FC236}">
                <a16:creationId xmlns:a16="http://schemas.microsoft.com/office/drawing/2014/main" id="{364F613D-4AEA-E032-8BAC-4E5042C736D4}"/>
              </a:ext>
            </a:extLst>
          </p:cNvPr>
          <p:cNvSpPr txBox="1">
            <a:spLocks/>
          </p:cNvSpPr>
          <p:nvPr/>
        </p:nvSpPr>
        <p:spPr>
          <a:xfrm>
            <a:off x="9765071" y="2283410"/>
            <a:ext cx="2149450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400" dirty="0">
                <a:latin typeface="Helvetica" pitchFamily="2" charset="0"/>
              </a:rPr>
              <a:t>Start-up contest</a:t>
            </a:r>
            <a:br>
              <a:rPr lang="en-GB" sz="1400" b="1" dirty="0">
                <a:latin typeface="Helvetica" pitchFamily="2" charset="0"/>
              </a:rPr>
            </a:br>
            <a:r>
              <a:rPr lang="en-GB" sz="1400" b="1" dirty="0">
                <a:latin typeface="Helvetica" pitchFamily="2" charset="0"/>
              </a:rPr>
              <a:t>Nov</a:t>
            </a:r>
            <a:r>
              <a:rPr lang="en-GB" sz="1400" b="1" dirty="0">
                <a:effectLst/>
                <a:latin typeface="Helvetica" pitchFamily="2" charset="0"/>
              </a:rPr>
              <a:t>. </a:t>
            </a:r>
            <a:r>
              <a:rPr lang="en-GB" sz="1400" b="1" dirty="0">
                <a:latin typeface="Helvetica" pitchFamily="2" charset="0"/>
              </a:rPr>
              <a:t>23</a:t>
            </a:r>
            <a:r>
              <a:rPr lang="en-GB" sz="1400" b="1" baseline="30000" dirty="0">
                <a:effectLst/>
                <a:latin typeface="Helvetica" pitchFamily="2" charset="0"/>
              </a:rPr>
              <a:t>th</a:t>
            </a:r>
            <a:r>
              <a:rPr lang="en-GB" sz="1400" b="1" dirty="0">
                <a:effectLst/>
                <a:latin typeface="Helvetica" pitchFamily="2" charset="0"/>
              </a:rPr>
              <a:t>, 2024 – 9am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8B96A381-D64A-4DC0-4932-84B512EA10D5}"/>
              </a:ext>
            </a:extLst>
          </p:cNvPr>
          <p:cNvSpPr txBox="1">
            <a:spLocks/>
          </p:cNvSpPr>
          <p:nvPr/>
        </p:nvSpPr>
        <p:spPr>
          <a:xfrm>
            <a:off x="9765071" y="3278832"/>
            <a:ext cx="21494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400" dirty="0">
                <a:effectLst/>
                <a:latin typeface="Helvetica" pitchFamily="2" charset="0"/>
              </a:rPr>
              <a:t>10min Pitch to investors *</a:t>
            </a:r>
          </a:p>
          <a:p>
            <a:r>
              <a:rPr lang="en-GB" sz="1400" b="1" dirty="0">
                <a:effectLst/>
                <a:latin typeface="Helvetica" pitchFamily="2" charset="0"/>
              </a:rPr>
              <a:t>Nov. 27</a:t>
            </a:r>
            <a:r>
              <a:rPr lang="en-GB" sz="1400" b="1" baseline="30000" dirty="0">
                <a:effectLst/>
                <a:latin typeface="Helvetica" pitchFamily="2" charset="0"/>
              </a:rPr>
              <a:t>th</a:t>
            </a:r>
            <a:r>
              <a:rPr lang="en-GB" sz="1400" b="1" dirty="0">
                <a:effectLst/>
                <a:latin typeface="Helvetica" pitchFamily="2" charset="0"/>
              </a:rPr>
              <a:t>, 2024 – </a:t>
            </a:r>
            <a:r>
              <a:rPr lang="en-GB" sz="1400" b="1" dirty="0">
                <a:latin typeface="Helvetica" pitchFamily="2" charset="0"/>
              </a:rPr>
              <a:t>7</a:t>
            </a:r>
            <a:r>
              <a:rPr lang="en-GB" sz="1400" b="1" dirty="0">
                <a:effectLst/>
                <a:latin typeface="Helvetica" pitchFamily="2" charset="0"/>
              </a:rPr>
              <a:t>pm 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3540948B-A892-1E5D-6A3C-A049B8D394BA}"/>
              </a:ext>
            </a:extLst>
          </p:cNvPr>
          <p:cNvSpPr txBox="1">
            <a:spLocks/>
          </p:cNvSpPr>
          <p:nvPr/>
        </p:nvSpPr>
        <p:spPr>
          <a:xfrm>
            <a:off x="6574580" y="2283410"/>
            <a:ext cx="2149450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400" dirty="0">
                <a:latin typeface="Helvetica" pitchFamily="2" charset="0"/>
              </a:rPr>
              <a:t>Mistral LLMs models </a:t>
            </a:r>
            <a:br>
              <a:rPr lang="en-GB" sz="1400" b="1" dirty="0">
                <a:latin typeface="Helvetica" pitchFamily="2" charset="0"/>
              </a:rPr>
            </a:br>
            <a:r>
              <a:rPr lang="en-GB" sz="1400" b="1" dirty="0">
                <a:latin typeface="Helvetica" pitchFamily="2" charset="0"/>
              </a:rPr>
              <a:t>Mistral Small </a:t>
            </a:r>
            <a:endParaRPr lang="en-GB" sz="1400" b="1" dirty="0">
              <a:effectLst/>
              <a:latin typeface="Helvetica" pitchFamily="2" charset="0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BFD2499C-CD55-3781-5733-391AE7AB5824}"/>
              </a:ext>
            </a:extLst>
          </p:cNvPr>
          <p:cNvSpPr txBox="1">
            <a:spLocks/>
          </p:cNvSpPr>
          <p:nvPr/>
        </p:nvSpPr>
        <p:spPr>
          <a:xfrm>
            <a:off x="6574580" y="3235104"/>
            <a:ext cx="2149450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400" dirty="0">
                <a:latin typeface="Helvetica" pitchFamily="2" charset="0"/>
              </a:rPr>
              <a:t>Training product and review database</a:t>
            </a:r>
            <a:endParaRPr lang="en-GB" sz="1400" b="1" dirty="0">
              <a:effectLst/>
              <a:latin typeface="Helvetica" pitchFamily="2" charset="0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3EE130AB-41DB-3FAC-F353-8A7532678FB6}"/>
              </a:ext>
            </a:extLst>
          </p:cNvPr>
          <p:cNvSpPr txBox="1">
            <a:spLocks/>
          </p:cNvSpPr>
          <p:nvPr/>
        </p:nvSpPr>
        <p:spPr>
          <a:xfrm>
            <a:off x="6574580" y="4279349"/>
            <a:ext cx="2149450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400" dirty="0" err="1">
                <a:latin typeface="Helvetica" pitchFamily="2" charset="0"/>
              </a:rPr>
              <a:t>Github</a:t>
            </a:r>
            <a:r>
              <a:rPr lang="en-GB" sz="1400" dirty="0">
                <a:latin typeface="Helvetica" pitchFamily="2" charset="0"/>
              </a:rPr>
              <a:t> repository</a:t>
            </a:r>
          </a:p>
        </p:txBody>
      </p:sp>
      <p:sp>
        <p:nvSpPr>
          <p:cNvPr id="4" name="Sticky">
            <a:extLst>
              <a:ext uri="{FF2B5EF4-FFF2-40B4-BE49-F238E27FC236}">
                <a16:creationId xmlns:a16="http://schemas.microsoft.com/office/drawing/2014/main" id="{65B6CFD3-1363-0844-568F-F62C2C1445D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387262" y="13784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rgbClr val="000000"/>
                </a:solidFill>
              </a:rPr>
              <a:t>Axel</a:t>
            </a:r>
          </a:p>
        </p:txBody>
      </p:sp>
    </p:spTree>
    <p:extLst>
      <p:ext uri="{BB962C8B-B14F-4D97-AF65-F5344CB8AC3E}">
        <p14:creationId xmlns:p14="http://schemas.microsoft.com/office/powerpoint/2010/main" val="18125145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>
            <a:extLst>
              <a:ext uri="{FF2B5EF4-FFF2-40B4-BE49-F238E27FC236}">
                <a16:creationId xmlns:a16="http://schemas.microsoft.com/office/drawing/2014/main" id="{A87E4038-18AD-40C0-9C47-093AECB9C2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156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A87E4038-18AD-40C0-9C47-093AECB9C2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BB90B119-17C4-4647-B607-85F0F9B3ECA5}"/>
              </a:ext>
            </a:extLst>
          </p:cNvPr>
          <p:cNvPicPr>
            <a:picLocks/>
          </p:cNvPicPr>
          <p:nvPr/>
        </p:nvPicPr>
        <p:blipFill rotWithShape="1"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748" b="10748"/>
          <a:stretch/>
        </p:blipFill>
        <p:spPr>
          <a:xfrm>
            <a:off x="3176" y="0"/>
            <a:ext cx="4360082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2D54876-50B9-479B-AF2F-C19FF0A07823}"/>
              </a:ext>
            </a:extLst>
          </p:cNvPr>
          <p:cNvSpPr>
            <a:spLocks/>
          </p:cNvSpPr>
          <p:nvPr/>
        </p:nvSpPr>
        <p:spPr>
          <a:xfrm>
            <a:off x="3176" y="0"/>
            <a:ext cx="4360082" cy="6858000"/>
          </a:xfrm>
          <a:prstGeom prst="rect">
            <a:avLst/>
          </a:prstGeom>
          <a:solidFill>
            <a:schemeClr val="tx1">
              <a:alpha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F68EFD-801D-6FEF-E7EF-93B1ED3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91" y="2653361"/>
            <a:ext cx="3917709" cy="1661993"/>
          </a:xfrm>
        </p:spPr>
        <p:txBody>
          <a:bodyPr vert="horz" wrap="square" anchor="t">
            <a:spAutoFit/>
          </a:bodyPr>
          <a:lstStyle/>
          <a:p>
            <a:pPr>
              <a:buClr>
                <a:schemeClr val="tx2"/>
              </a:buClr>
            </a:pPr>
            <a:r>
              <a:rPr lang="fr-FR" sz="3600" dirty="0">
                <a:solidFill>
                  <a:schemeClr val="tx2"/>
                </a:solidFill>
              </a:rPr>
              <a:t>To help </a:t>
            </a:r>
            <a:r>
              <a:rPr lang="fr-FR" sz="3600" dirty="0" err="1">
                <a:solidFill>
                  <a:schemeClr val="bg1"/>
                </a:solidFill>
              </a:rPr>
              <a:t>RetailX</a:t>
            </a:r>
            <a:r>
              <a:rPr lang="fr-FR" sz="3600" dirty="0">
                <a:solidFill>
                  <a:schemeClr val="tx2"/>
                </a:solidFill>
              </a:rPr>
              <a:t>, </a:t>
            </a:r>
            <a:r>
              <a:rPr lang="fr-FR" sz="3600" dirty="0" err="1">
                <a:solidFill>
                  <a:schemeClr val="tx2"/>
                </a:solidFill>
              </a:rPr>
              <a:t>please</a:t>
            </a:r>
            <a:r>
              <a:rPr lang="fr-FR" sz="3600" dirty="0">
                <a:solidFill>
                  <a:schemeClr val="tx2"/>
                </a:solidFill>
              </a:rPr>
              <a:t> </a:t>
            </a:r>
            <a:r>
              <a:rPr lang="fr-FR" sz="3600" dirty="0" err="1">
                <a:solidFill>
                  <a:schemeClr val="tx2"/>
                </a:solidFill>
              </a:rPr>
              <a:t>provide</a:t>
            </a:r>
            <a:r>
              <a:rPr lang="fr-FR" sz="3600" dirty="0">
                <a:solidFill>
                  <a:schemeClr val="tx2"/>
                </a:solidFill>
              </a:rPr>
              <a:t> ...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AC909031-D964-49B4-BC33-00B2626712C6}"/>
              </a:ext>
            </a:extLst>
          </p:cNvPr>
          <p:cNvCxnSpPr>
            <a:cxnSpLocks/>
          </p:cNvCxnSpPr>
          <p:nvPr/>
        </p:nvCxnSpPr>
        <p:spPr>
          <a:xfrm>
            <a:off x="4612629" y="3398918"/>
            <a:ext cx="7022159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C6EF5717-3824-88E8-E89D-1883C02B9507}"/>
              </a:ext>
            </a:extLst>
          </p:cNvPr>
          <p:cNvGrpSpPr/>
          <p:nvPr/>
        </p:nvGrpSpPr>
        <p:grpSpPr>
          <a:xfrm>
            <a:off x="4612629" y="4021181"/>
            <a:ext cx="7022159" cy="2118552"/>
            <a:chOff x="4612629" y="4021181"/>
            <a:chExt cx="7022159" cy="211855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04F0F0E-21AA-49F3-BDD0-843E5C2E08E8}"/>
                </a:ext>
              </a:extLst>
            </p:cNvPr>
            <p:cNvSpPr txBox="1">
              <a:spLocks/>
            </p:cNvSpPr>
            <p:nvPr/>
          </p:nvSpPr>
          <p:spPr>
            <a:xfrm>
              <a:off x="5411079" y="4021181"/>
              <a:ext cx="6223709" cy="307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"/>
                </a:rPr>
                <a:t>Pitch presentation  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A9F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"/>
                </a:rPr>
                <a:t>[PPT – 10 </a:t>
              </a:r>
              <a:r>
                <a:rPr kumimoji="0" lang="en-US" sz="2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A9F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"/>
                </a:rPr>
                <a:t>mns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A9F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"/>
                </a:rPr>
                <a:t>]</a:t>
              </a:r>
            </a:p>
          </p:txBody>
        </p:sp>
        <p:pic>
          <p:nvPicPr>
            <p:cNvPr id="50" name="CustomIcon">
              <a:extLst>
                <a:ext uri="{FF2B5EF4-FFF2-40B4-BE49-F238E27FC236}">
                  <a16:creationId xmlns:a16="http://schemas.microsoft.com/office/drawing/2014/main" id="{6A1C3FE6-7763-4DE7-A322-2D1F79916B86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612629" y="4021181"/>
              <a:ext cx="609600" cy="609600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E63EA76-AE27-4C50-9052-544A425CE90F}"/>
                </a:ext>
              </a:extLst>
            </p:cNvPr>
            <p:cNvSpPr txBox="1">
              <a:spLocks/>
            </p:cNvSpPr>
            <p:nvPr/>
          </p:nvSpPr>
          <p:spPr>
            <a:xfrm>
              <a:off x="5411078" y="4446962"/>
              <a:ext cx="6223709" cy="16927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Wingdings" panose="05000000000000000000" pitchFamily="2" charset="2"/>
                <a:buChar char=""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"/>
                </a:rPr>
                <a:t>Scientific approach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Wingdings" panose="05000000000000000000" pitchFamily="2" charset="2"/>
                <a:buChar char=""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"/>
                </a:rPr>
                <a:t>Web App demo. If you didn’t develop a web app, you can present a mock-up instead.</a:t>
              </a:r>
            </a:p>
            <a:p>
              <a:pPr lvl="1">
                <a:buClr>
                  <a:srgbClr val="FFFFFF"/>
                </a:buClr>
                <a:defRPr/>
              </a:pPr>
              <a:r>
                <a:rPr lang="en-US" sz="2000" b="1" dirty="0">
                  <a:solidFill>
                    <a:srgbClr val="FFFFFF"/>
                  </a:solidFill>
                  <a:latin typeface="Arial" panose="020B0604020202020204" pitchFamily="34" charset="0"/>
                  <a:sym typeface=""/>
                </a:rPr>
                <a:t>How are you going to use your app to drive positive impact ?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endParaRP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Wingdings" panose="05000000000000000000" pitchFamily="2" charset="2"/>
                <a:buChar char=""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79BD693-F0EE-B558-F034-5F54C4751544}"/>
              </a:ext>
            </a:extLst>
          </p:cNvPr>
          <p:cNvGrpSpPr/>
          <p:nvPr/>
        </p:nvGrpSpPr>
        <p:grpSpPr>
          <a:xfrm>
            <a:off x="4612629" y="741267"/>
            <a:ext cx="7022159" cy="2035389"/>
            <a:chOff x="4612629" y="741267"/>
            <a:chExt cx="7022159" cy="2035389"/>
          </a:xfrm>
        </p:grpSpPr>
        <p:pic>
          <p:nvPicPr>
            <p:cNvPr id="48" name="CustomIcon">
              <a:extLst>
                <a:ext uri="{FF2B5EF4-FFF2-40B4-BE49-F238E27FC236}">
                  <a16:creationId xmlns:a16="http://schemas.microsoft.com/office/drawing/2014/main" id="{48A29023-98E9-4710-97FA-4A6BDD3454F1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612629" y="741267"/>
              <a:ext cx="609600" cy="60960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0DE2156-1DBC-442B-AF9F-D3915CB0A1ED}"/>
                </a:ext>
              </a:extLst>
            </p:cNvPr>
            <p:cNvSpPr txBox="1">
              <a:spLocks/>
            </p:cNvSpPr>
            <p:nvPr/>
          </p:nvSpPr>
          <p:spPr>
            <a:xfrm>
              <a:off x="5411079" y="1164071"/>
              <a:ext cx="6223709" cy="1612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626364" lvl="2" indent="-342900">
                <a:buClr>
                  <a:srgbClr val="FFFFFF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2000" dirty="0">
                  <a:solidFill>
                    <a:srgbClr val="FFFFFF"/>
                  </a:solidFill>
                  <a:latin typeface="Arial" panose="020B0604020202020204" pitchFamily="34" charset="0"/>
                  <a:sym typeface=""/>
                </a:rPr>
                <a:t>Model developed</a:t>
              </a:r>
            </a:p>
            <a:p>
              <a:pPr marL="626364" lvl="2" indent="-342900">
                <a:buClr>
                  <a:srgbClr val="FFFFFF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2000" dirty="0">
                  <a:solidFill>
                    <a:srgbClr val="FFFFFF"/>
                  </a:solidFill>
                  <a:latin typeface="Arial" panose="020B0604020202020204" pitchFamily="34" charset="0"/>
                  <a:sym typeface=""/>
                </a:rPr>
                <a:t>Model performance assessment </a:t>
              </a:r>
            </a:p>
            <a:p>
              <a:pPr marL="626364" lvl="2" indent="-342900">
                <a:buClr>
                  <a:srgbClr val="FFFFFF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2000" b="1" dirty="0">
                  <a:solidFill>
                    <a:srgbClr val="FFFFFF"/>
                  </a:solidFill>
                  <a:latin typeface="Arial" panose="020B0604020202020204" pitchFamily="34" charset="0"/>
                  <a:sym typeface=""/>
                </a:rPr>
                <a:t>Runnable</a:t>
              </a:r>
              <a:r>
                <a:rPr lang="en-US" sz="2000" dirty="0">
                  <a:solidFill>
                    <a:srgbClr val="FFFFFF"/>
                  </a:solidFill>
                  <a:latin typeface="Arial" panose="020B0604020202020204" pitchFamily="34" charset="0"/>
                  <a:sym typeface=""/>
                </a:rPr>
                <a:t> Web APP code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BF9D7F71-D3C8-7090-60DF-AF37B8AF79FF}"/>
              </a:ext>
            </a:extLst>
          </p:cNvPr>
          <p:cNvSpPr txBox="1">
            <a:spLocks/>
          </p:cNvSpPr>
          <p:nvPr/>
        </p:nvSpPr>
        <p:spPr>
          <a:xfrm>
            <a:off x="5411077" y="738290"/>
            <a:ext cx="6223709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Code repository, including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A9F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"/>
            </a:endParaRPr>
          </a:p>
        </p:txBody>
      </p:sp>
      <p:sp>
        <p:nvSpPr>
          <p:cNvPr id="2" name="Sticky">
            <a:extLst>
              <a:ext uri="{FF2B5EF4-FFF2-40B4-BE49-F238E27FC236}">
                <a16:creationId xmlns:a16="http://schemas.microsoft.com/office/drawing/2014/main" id="{CB473B51-BCC7-CC1C-8896-555FA676EE7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301537" y="0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rgbClr val="000000"/>
                </a:solidFill>
              </a:rPr>
              <a:t>Axel</a:t>
            </a:r>
          </a:p>
        </p:txBody>
      </p:sp>
    </p:spTree>
    <p:extLst>
      <p:ext uri="{BB962C8B-B14F-4D97-AF65-F5344CB8AC3E}">
        <p14:creationId xmlns:p14="http://schemas.microsoft.com/office/powerpoint/2010/main" val="29984770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6148DD-7BE9-FEC9-D401-0815C81849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2" hidden="1">
            <a:extLst>
              <a:ext uri="{FF2B5EF4-FFF2-40B4-BE49-F238E27FC236}">
                <a16:creationId xmlns:a16="http://schemas.microsoft.com/office/drawing/2014/main" id="{6B4B1FE7-5AFF-6EAD-84EB-718082CA5E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6" progId="TCLayout.ActiveDocument.1">
                  <p:embed/>
                </p:oleObj>
              </mc:Choice>
              <mc:Fallback>
                <p:oleObj name="think-cell Slide" r:id="rId26" imgW="395" imgH="396" progId="TCLayout.ActiveDocument.1">
                  <p:embed/>
                  <p:pic>
                    <p:nvPicPr>
                      <p:cNvPr id="19" name="Object 2" hidden="1">
                        <a:extLst>
                          <a:ext uri="{FF2B5EF4-FFF2-40B4-BE49-F238E27FC236}">
                            <a16:creationId xmlns:a16="http://schemas.microsoft.com/office/drawing/2014/main" id="{7337C3DD-1C08-45CB-94B2-FEC9E5EF64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AE9508-B4A2-7694-8E11-E7DFF1189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731520"/>
          </a:xfrm>
        </p:spPr>
        <p:txBody>
          <a:bodyPr vert="horz">
            <a:noAutofit/>
          </a:bodyPr>
          <a:lstStyle/>
          <a:p>
            <a:r>
              <a:rPr lang="en-US" dirty="0"/>
              <a:t>Grading criteria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40ACAE9-47E3-2992-DF62-7F5B99A2D0C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71500" y="1560517"/>
            <a:ext cx="5562602" cy="338554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200" b="1" dirty="0"/>
              <a:t>Criteria</a:t>
            </a: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7AA8E538-E60D-7166-0AAA-E3C751444FE5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54736" y="1935283"/>
            <a:ext cx="11082528" cy="0"/>
          </a:xfrm>
          <a:prstGeom prst="line">
            <a:avLst/>
          </a:prstGeom>
          <a:ln w="1270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715263F1-E8AD-573D-1F9D-951767FD217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54735" y="2770227"/>
            <a:ext cx="11082528" cy="0"/>
          </a:xfrm>
          <a:prstGeom prst="line">
            <a:avLst/>
          </a:prstGeom>
          <a:ln w="1270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ticky">
            <a:extLst>
              <a:ext uri="{FF2B5EF4-FFF2-40B4-BE49-F238E27FC236}">
                <a16:creationId xmlns:a16="http://schemas.microsoft.com/office/drawing/2014/main" id="{375ABCBF-B3B1-26CD-AC5D-3E1A520E966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301538" y="0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rgbClr val="000000"/>
                </a:solidFill>
              </a:rPr>
              <a:t>Ax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36F0FFC-CA20-1DF6-B908-E6BFE496DFD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022626" y="1560517"/>
            <a:ext cx="7708937" cy="338554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2200" b="1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362A81D-8191-F65C-4269-AC34DFF3B8D7}"/>
              </a:ext>
            </a:extLst>
          </p:cNvPr>
          <p:cNvGrpSpPr/>
          <p:nvPr/>
        </p:nvGrpSpPr>
        <p:grpSpPr>
          <a:xfrm>
            <a:off x="1142999" y="2834073"/>
            <a:ext cx="11049000" cy="276999"/>
            <a:chOff x="1142999" y="2752974"/>
            <a:chExt cx="11049000" cy="276999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A7982B3D-B7C1-76AC-3785-0FB6E37561B5}"/>
                </a:ext>
              </a:extLst>
            </p:cNvPr>
            <p:cNvSpPr txBox="1">
              <a:spLocks/>
            </p:cNvSpPr>
            <p:nvPr>
              <p:custDataLst>
                <p:tags r:id="rId22"/>
              </p:custDataLst>
            </p:nvPr>
          </p:nvSpPr>
          <p:spPr>
            <a:xfrm>
              <a:off x="1142999" y="2752974"/>
              <a:ext cx="5562602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fr-FR" sz="1800" dirty="0" err="1"/>
                <a:t>Level</a:t>
              </a:r>
              <a:r>
                <a:rPr lang="fr-FR" sz="1800" dirty="0"/>
                <a:t> 1 - Simple sales LLM model</a:t>
              </a:r>
              <a:endParaRPr lang="en-US" sz="1800" dirty="0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6FC71B8-9DB6-034B-A45E-F124B79AC4E7}"/>
                </a:ext>
              </a:extLst>
            </p:cNvPr>
            <p:cNvSpPr txBox="1">
              <a:spLocks/>
            </p:cNvSpPr>
            <p:nvPr>
              <p:custDataLst>
                <p:tags r:id="rId23"/>
              </p:custDataLst>
            </p:nvPr>
          </p:nvSpPr>
          <p:spPr>
            <a:xfrm>
              <a:off x="7594125" y="2752974"/>
              <a:ext cx="4597874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/>
                <a:t>20 pts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A30ABC7-0013-9070-241D-83080FD6C28C}"/>
              </a:ext>
            </a:extLst>
          </p:cNvPr>
          <p:cNvGrpSpPr/>
          <p:nvPr/>
        </p:nvGrpSpPr>
        <p:grpSpPr>
          <a:xfrm>
            <a:off x="571500" y="1998783"/>
            <a:ext cx="11049000" cy="276999"/>
            <a:chOff x="571500" y="1998783"/>
            <a:chExt cx="11049000" cy="276999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4D58DF97-8374-8CD7-6733-0E4FEC3DBB53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>
            <a:xfrm>
              <a:off x="571500" y="1998783"/>
              <a:ext cx="5562602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fr-FR" sz="1800" dirty="0"/>
                <a:t>Scientific approach </a:t>
              </a:r>
              <a:r>
                <a:rPr lang="fr-FR" sz="1800" dirty="0" err="1"/>
                <a:t>quality</a:t>
              </a:r>
              <a:r>
                <a:rPr lang="fr-FR" sz="1800" dirty="0"/>
                <a:t> and </a:t>
              </a:r>
              <a:r>
                <a:rPr lang="fr-FR" sz="1800" dirty="0" err="1"/>
                <a:t>depth</a:t>
              </a:r>
              <a:r>
                <a:rPr lang="fr-FR" sz="1800" dirty="0"/>
                <a:t> </a:t>
              </a:r>
              <a:endParaRPr lang="en-US" sz="1800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77260D7-F7DE-A18D-5B35-EB75F90AA051}"/>
                </a:ext>
              </a:extLst>
            </p:cNvPr>
            <p:cNvSpPr txBox="1">
              <a:spLocks/>
            </p:cNvSpPr>
            <p:nvPr>
              <p:custDataLst>
                <p:tags r:id="rId21"/>
              </p:custDataLst>
            </p:nvPr>
          </p:nvSpPr>
          <p:spPr>
            <a:xfrm>
              <a:off x="7022626" y="1998783"/>
              <a:ext cx="4597874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/>
                <a:t>20 pts</a:t>
              </a:r>
            </a:p>
          </p:txBody>
        </p:sp>
      </p:grp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CF586A00-0EEB-2C43-1C40-7FAD3B39FB59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5" y="2352755"/>
            <a:ext cx="11082528" cy="0"/>
          </a:xfrm>
          <a:prstGeom prst="line">
            <a:avLst/>
          </a:prstGeom>
          <a:ln w="1270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0FBC820-6B96-5618-5ED5-4FFF8896E34B}"/>
              </a:ext>
            </a:extLst>
          </p:cNvPr>
          <p:cNvGrpSpPr/>
          <p:nvPr/>
        </p:nvGrpSpPr>
        <p:grpSpPr>
          <a:xfrm>
            <a:off x="571500" y="2416428"/>
            <a:ext cx="11049000" cy="276999"/>
            <a:chOff x="571500" y="2464096"/>
            <a:chExt cx="11049000" cy="276999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1369DB68-A393-F1AE-D872-E41AAAFE70A0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571500" y="2464096"/>
              <a:ext cx="5562602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fr-FR" sz="1800" dirty="0"/>
                <a:t>Scope </a:t>
              </a:r>
              <a:r>
                <a:rPr lang="fr-FR" sz="1800" dirty="0" err="1"/>
                <a:t>covered</a:t>
              </a:r>
              <a:r>
                <a:rPr lang="fr-FR" sz="1800" dirty="0"/>
                <a:t> </a:t>
              </a:r>
              <a:endParaRPr lang="en-US" sz="1800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2BD11D1-C0E6-0543-E51D-98D5019E204C}"/>
                </a:ext>
              </a:extLst>
            </p:cNvPr>
            <p:cNvSpPr txBox="1">
              <a:spLocks/>
            </p:cNvSpPr>
            <p:nvPr>
              <p:custDataLst>
                <p:tags r:id="rId19"/>
              </p:custDataLst>
            </p:nvPr>
          </p:nvSpPr>
          <p:spPr>
            <a:xfrm>
              <a:off x="7022626" y="2464096"/>
              <a:ext cx="4597874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/>
                <a:t>40 pts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C585BD0-FA68-B6CD-547B-37D3101D5F57}"/>
              </a:ext>
            </a:extLst>
          </p:cNvPr>
          <p:cNvGrpSpPr/>
          <p:nvPr/>
        </p:nvGrpSpPr>
        <p:grpSpPr>
          <a:xfrm>
            <a:off x="571500" y="4087007"/>
            <a:ext cx="11049000" cy="276999"/>
            <a:chOff x="571500" y="4087007"/>
            <a:chExt cx="11049000" cy="276999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CAC2825-97F6-2BB8-545C-509C9C3C9AAC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571500" y="4087007"/>
              <a:ext cx="5562602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fr-FR" sz="1800" dirty="0"/>
                <a:t>Business Pitch + App </a:t>
              </a:r>
              <a:r>
                <a:rPr lang="fr-FR" sz="1800" dirty="0" err="1"/>
                <a:t>demo</a:t>
              </a:r>
              <a:endParaRPr lang="en-US" sz="1800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FC12174-0513-19E6-36A5-A6B87EC3E98B}"/>
                </a:ext>
              </a:extLst>
            </p:cNvPr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7022626" y="4087007"/>
              <a:ext cx="4597874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fr-FR" sz="1800" dirty="0"/>
                <a:t>40 pts</a:t>
              </a:r>
              <a:endParaRPr lang="en-US" sz="1800" dirty="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13573CF-9FF2-400C-A88E-80C07DE11554}"/>
              </a:ext>
            </a:extLst>
          </p:cNvPr>
          <p:cNvGrpSpPr/>
          <p:nvPr/>
        </p:nvGrpSpPr>
        <p:grpSpPr>
          <a:xfrm>
            <a:off x="1142999" y="3251718"/>
            <a:ext cx="11049000" cy="276999"/>
            <a:chOff x="1142999" y="3160329"/>
            <a:chExt cx="11049000" cy="27699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1205A56-928B-49FC-43EF-47D26EE1AF6A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1142999" y="3160329"/>
              <a:ext cx="5562602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fr-FR" sz="1800" dirty="0" err="1"/>
                <a:t>Level</a:t>
              </a:r>
              <a:r>
                <a:rPr lang="fr-FR" sz="1800" dirty="0"/>
                <a:t> 2 - Cross sales LLM model</a:t>
              </a:r>
              <a:endParaRPr lang="en-US" sz="1800" dirty="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324BCA1-3BCB-1D1B-6008-3461AECF6774}"/>
                </a:ext>
              </a:extLst>
            </p:cNvPr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7594125" y="3160329"/>
              <a:ext cx="4597874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fr-FR" sz="1800" dirty="0"/>
                <a:t>30 </a:t>
              </a:r>
              <a:r>
                <a:rPr lang="en-US" sz="1800" dirty="0"/>
                <a:t>pts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83E4E72-C3D6-20C4-FDB1-15D711D7128F}"/>
              </a:ext>
            </a:extLst>
          </p:cNvPr>
          <p:cNvGrpSpPr/>
          <p:nvPr/>
        </p:nvGrpSpPr>
        <p:grpSpPr>
          <a:xfrm>
            <a:off x="1142999" y="3669363"/>
            <a:ext cx="11049000" cy="276999"/>
            <a:chOff x="1142999" y="3555181"/>
            <a:chExt cx="11049000" cy="276999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52517AC-DEE8-E4D8-3916-F2CE7ADA260B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142999" y="3555181"/>
              <a:ext cx="5562602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fr-FR" sz="1800" dirty="0" err="1"/>
                <a:t>Level</a:t>
              </a:r>
              <a:r>
                <a:rPr lang="fr-FR" sz="1800" dirty="0"/>
                <a:t> 3 - </a:t>
              </a:r>
              <a:r>
                <a:rPr lang="fr-FR" sz="1800" dirty="0" err="1"/>
                <a:t>LLMs</a:t>
              </a:r>
              <a:r>
                <a:rPr lang="fr-FR" sz="1800" dirty="0"/>
                <a:t> + ML</a:t>
              </a:r>
              <a:endParaRPr lang="en-US" sz="1800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B3568B8-15B2-BB61-9C93-0E8A73B9FB6D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7594125" y="3555181"/>
              <a:ext cx="4597874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fr-FR" sz="1800" dirty="0"/>
                <a:t>40 pts</a:t>
              </a:r>
              <a:endParaRPr lang="en-US" sz="1800" dirty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268C14F0-1633-9D4E-2FEC-1AD79562133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7022627" y="1544560"/>
            <a:ext cx="4597874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800" b="1" dirty="0"/>
              <a:t>Score /100</a:t>
            </a:r>
            <a:endParaRPr lang="en-US" sz="1800" b="1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579F0DA-7EF9-0ACC-8934-91E45B38BB8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5" y="4022643"/>
            <a:ext cx="11082528" cy="0"/>
          </a:xfrm>
          <a:prstGeom prst="line">
            <a:avLst/>
          </a:prstGeom>
          <a:ln w="1270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EFA999B-8B5E-5A8E-5B94-AF5BFF82F81E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54735" y="3187699"/>
            <a:ext cx="11082528" cy="0"/>
          </a:xfrm>
          <a:prstGeom prst="line">
            <a:avLst/>
          </a:prstGeom>
          <a:ln w="3175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6BFB7CB-29F3-858B-F59C-DF7362ED40C1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554735" y="3605171"/>
            <a:ext cx="11082528" cy="0"/>
          </a:xfrm>
          <a:prstGeom prst="line">
            <a:avLst/>
          </a:prstGeom>
          <a:ln w="3175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53983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2" hidden="1">
            <a:extLst>
              <a:ext uri="{FF2B5EF4-FFF2-40B4-BE49-F238E27FC236}">
                <a16:creationId xmlns:a16="http://schemas.microsoft.com/office/drawing/2014/main" id="{7337C3DD-1C08-45CB-94B2-FEC9E5EF64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19" name="Object 2" hidden="1">
                        <a:extLst>
                          <a:ext uri="{FF2B5EF4-FFF2-40B4-BE49-F238E27FC236}">
                            <a16:creationId xmlns:a16="http://schemas.microsoft.com/office/drawing/2014/main" id="{7337C3DD-1C08-45CB-94B2-FEC9E5EF64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0E3B2F1C-1E7A-4025-A877-361003AA820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>
            <a:noAutofit/>
          </a:bodyPr>
          <a:lstStyle/>
          <a:p>
            <a:r>
              <a:rPr lang="en-US" dirty="0"/>
              <a:t>Deep-dive on business criteria: What will the final jury look fo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38A2BD3-B3CE-DB30-771F-28DBFE7ADA3E}"/>
              </a:ext>
            </a:extLst>
          </p:cNvPr>
          <p:cNvSpPr txBox="1"/>
          <p:nvPr/>
        </p:nvSpPr>
        <p:spPr>
          <a:xfrm>
            <a:off x="554734" y="1000563"/>
            <a:ext cx="759802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600" dirty="0">
                <a:cs typeface="Arial"/>
              </a:rPr>
              <a:t>You are trying to convince investors, try to be…</a:t>
            </a:r>
            <a:endParaRPr lang="en-US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69EC51-6774-EDD4-C1DD-1056C6914B42}"/>
              </a:ext>
            </a:extLst>
          </p:cNvPr>
          <p:cNvSpPr txBox="1"/>
          <p:nvPr/>
        </p:nvSpPr>
        <p:spPr>
          <a:xfrm>
            <a:off x="554735" y="2800739"/>
            <a:ext cx="244972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400" b="1" dirty="0">
                <a:solidFill>
                  <a:schemeClr val="accent4">
                    <a:lumMod val="50000"/>
                  </a:schemeClr>
                </a:solidFill>
              </a:rPr>
              <a:t>Concret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DC675D-2C93-25C7-B255-13A9401C1379}"/>
              </a:ext>
            </a:extLst>
          </p:cNvPr>
          <p:cNvSpPr txBox="1"/>
          <p:nvPr/>
        </p:nvSpPr>
        <p:spPr>
          <a:xfrm>
            <a:off x="3382458" y="2103345"/>
            <a:ext cx="628405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400" b="1" dirty="0"/>
              <a:t>Examples related questions to as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63E85E-FAE0-6664-B8CC-5142A2DDA798}"/>
              </a:ext>
            </a:extLst>
          </p:cNvPr>
          <p:cNvSpPr txBox="1"/>
          <p:nvPr/>
        </p:nvSpPr>
        <p:spPr>
          <a:xfrm>
            <a:off x="3382459" y="2846906"/>
            <a:ext cx="652994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i="1" dirty="0"/>
              <a:t>What is the business model? Who are the clients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A8ED57-DB50-8073-A8A1-689D51F150BD}"/>
              </a:ext>
            </a:extLst>
          </p:cNvPr>
          <p:cNvSpPr txBox="1"/>
          <p:nvPr/>
        </p:nvSpPr>
        <p:spPr>
          <a:xfrm>
            <a:off x="554735" y="3508690"/>
            <a:ext cx="282772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400" b="1" dirty="0">
                <a:solidFill>
                  <a:schemeClr val="accent4">
                    <a:lumMod val="50000"/>
                  </a:schemeClr>
                </a:solidFill>
              </a:rPr>
              <a:t>Impact-driv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02BD6ED-0445-AE51-5145-B4CE1D38ECB6}"/>
              </a:ext>
            </a:extLst>
          </p:cNvPr>
          <p:cNvSpPr txBox="1"/>
          <p:nvPr/>
        </p:nvSpPr>
        <p:spPr>
          <a:xfrm>
            <a:off x="3382459" y="3554857"/>
            <a:ext cx="652994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i="1" dirty="0"/>
              <a:t>What are expected revenues? What is client experience impact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DEC978-2EEB-C9B8-0F4E-20EFDF6F05C9}"/>
              </a:ext>
            </a:extLst>
          </p:cNvPr>
          <p:cNvSpPr txBox="1"/>
          <p:nvPr/>
        </p:nvSpPr>
        <p:spPr>
          <a:xfrm>
            <a:off x="554735" y="4153710"/>
            <a:ext cx="244972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400" b="1" dirty="0">
                <a:solidFill>
                  <a:schemeClr val="accent4">
                    <a:lumMod val="50000"/>
                  </a:schemeClr>
                </a:solidFill>
              </a:rPr>
              <a:t>Synthetic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ED9C15-801C-A530-6E55-DD5E70338325}"/>
              </a:ext>
            </a:extLst>
          </p:cNvPr>
          <p:cNvSpPr txBox="1"/>
          <p:nvPr/>
        </p:nvSpPr>
        <p:spPr>
          <a:xfrm>
            <a:off x="3382459" y="4199877"/>
            <a:ext cx="652994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i="1" dirty="0"/>
              <a:t>What are your top 3 messages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3A096D-357A-4FDC-6911-365F6B40860E}"/>
              </a:ext>
            </a:extLst>
          </p:cNvPr>
          <p:cNvSpPr txBox="1"/>
          <p:nvPr/>
        </p:nvSpPr>
        <p:spPr>
          <a:xfrm>
            <a:off x="554735" y="4798730"/>
            <a:ext cx="244972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400" b="1" dirty="0">
                <a:solidFill>
                  <a:schemeClr val="accent4">
                    <a:lumMod val="50000"/>
                  </a:schemeClr>
                </a:solidFill>
              </a:rPr>
              <a:t>Simp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AF863BF-8B73-E6F2-96B7-4819512BBF5C}"/>
              </a:ext>
            </a:extLst>
          </p:cNvPr>
          <p:cNvSpPr txBox="1"/>
          <p:nvPr/>
        </p:nvSpPr>
        <p:spPr>
          <a:xfrm>
            <a:off x="3382459" y="4844897"/>
            <a:ext cx="726761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i="1" dirty="0"/>
              <a:t>How can you translate technical elements in illustrations or demo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2ADCA5-77AE-5027-A752-FB9E5077CEC6}"/>
              </a:ext>
            </a:extLst>
          </p:cNvPr>
          <p:cNvSpPr txBox="1"/>
          <p:nvPr/>
        </p:nvSpPr>
        <p:spPr>
          <a:xfrm>
            <a:off x="554735" y="5455989"/>
            <a:ext cx="244972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400" b="1" dirty="0">
                <a:solidFill>
                  <a:schemeClr val="accent4">
                    <a:lumMod val="50000"/>
                  </a:schemeClr>
                </a:solidFill>
              </a:rPr>
              <a:t>Creativ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A923A0-1089-9C69-A594-396D6E2187CA}"/>
              </a:ext>
            </a:extLst>
          </p:cNvPr>
          <p:cNvSpPr txBox="1"/>
          <p:nvPr/>
        </p:nvSpPr>
        <p:spPr>
          <a:xfrm>
            <a:off x="3382459" y="5502156"/>
            <a:ext cx="652994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i="1" dirty="0"/>
              <a:t>What can differentiate you from your competitors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C05A4B7-5541-5C36-314F-6C9FD9D7C68A}"/>
              </a:ext>
            </a:extLst>
          </p:cNvPr>
          <p:cNvSpPr txBox="1"/>
          <p:nvPr/>
        </p:nvSpPr>
        <p:spPr>
          <a:xfrm>
            <a:off x="554736" y="1641680"/>
            <a:ext cx="2288358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400" b="1" dirty="0"/>
              <a:t>Elements of a great pitch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9CA762E9-A039-F133-69FD-9AF083F674C6}"/>
              </a:ext>
            </a:extLst>
          </p:cNvPr>
          <p:cNvSpPr/>
          <p:nvPr/>
        </p:nvSpPr>
        <p:spPr>
          <a:xfrm>
            <a:off x="554736" y="2462120"/>
            <a:ext cx="421136" cy="79695"/>
          </a:xfrm>
          <a:prstGeom prst="round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B8762BC-69B0-D4F9-A6BB-BE29AD92423A}"/>
              </a:ext>
            </a:extLst>
          </p:cNvPr>
          <p:cNvSpPr/>
          <p:nvPr/>
        </p:nvSpPr>
        <p:spPr>
          <a:xfrm>
            <a:off x="3382460" y="2462120"/>
            <a:ext cx="421136" cy="79695"/>
          </a:xfrm>
          <a:prstGeom prst="round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" name="Sticky">
            <a:extLst>
              <a:ext uri="{FF2B5EF4-FFF2-40B4-BE49-F238E27FC236}">
                <a16:creationId xmlns:a16="http://schemas.microsoft.com/office/drawing/2014/main" id="{4792A39D-0FFA-BC8D-B46F-D431585E5F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315825" y="0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rgbClr val="000000"/>
                </a:solidFill>
              </a:rPr>
              <a:t>Axel</a:t>
            </a:r>
          </a:p>
        </p:txBody>
      </p:sp>
    </p:spTree>
    <p:extLst>
      <p:ext uri="{BB962C8B-B14F-4D97-AF65-F5344CB8AC3E}">
        <p14:creationId xmlns:p14="http://schemas.microsoft.com/office/powerpoint/2010/main" val="8418949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16BA98-6B13-FA9A-D63F-4754D2F500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28C4DB-4546-63CD-2B69-6FDF031A1E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38640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62FE0E1-6C2A-4D04-F70E-F623ACAC5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BD96DB-597D-F914-B0FB-82F0948395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3044280"/>
            <a:ext cx="6178573" cy="769441"/>
          </a:xfrm>
        </p:spPr>
        <p:txBody>
          <a:bodyPr vert="horz"/>
          <a:lstStyle/>
          <a:p>
            <a:r>
              <a:rPr lang="en-US" sz="3600" dirty="0"/>
              <a:t>Demo ti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752501-F5B3-1FDB-263F-514395B8C1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1435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23"/>
          <p:cNvSpPr txBox="1"/>
          <p:nvPr/>
        </p:nvSpPr>
        <p:spPr>
          <a:xfrm>
            <a:off x="609600" y="2438400"/>
            <a:ext cx="5181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000" b="1" kern="0" dirty="0">
                <a:solidFill>
                  <a:srgbClr val="323131"/>
                </a:solidFill>
                <a:latin typeface="Sora"/>
                <a:ea typeface="Sora"/>
                <a:cs typeface="Sora"/>
                <a:sym typeface="Sora"/>
              </a:rPr>
              <a:t>Mistral Models</a:t>
            </a:r>
            <a:endParaRPr sz="4000" b="1" kern="0" dirty="0">
              <a:solidFill>
                <a:srgbClr val="323131"/>
              </a:solidFill>
              <a:latin typeface="Sora"/>
              <a:ea typeface="Sora"/>
              <a:cs typeface="Sora"/>
              <a:sym typeface="Sora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" name="Google Shape;223;p2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687021" y="1535020"/>
            <a:ext cx="2608401" cy="146721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24" name="Google Shape;224;p24"/>
          <p:cNvCxnSpPr/>
          <p:nvPr/>
        </p:nvCxnSpPr>
        <p:spPr>
          <a:xfrm flipH="1">
            <a:off x="2444188" y="1569785"/>
            <a:ext cx="9125600" cy="20800"/>
          </a:xfrm>
          <a:prstGeom prst="straightConnector1">
            <a:avLst/>
          </a:prstGeom>
          <a:gradFill>
            <a:gsLst>
              <a:gs pos="0">
                <a:srgbClr val="A20004"/>
              </a:gs>
              <a:gs pos="20000">
                <a:srgbClr val="9A2E36"/>
              </a:gs>
              <a:gs pos="41000">
                <a:srgbClr val="906874"/>
              </a:gs>
              <a:gs pos="55000">
                <a:srgbClr val="F05023"/>
              </a:gs>
              <a:gs pos="83000">
                <a:srgbClr val="FFB816"/>
              </a:gs>
              <a:gs pos="100000">
                <a:srgbClr val="FFB816"/>
              </a:gs>
            </a:gsLst>
            <a:lin ang="0" scaled="0"/>
          </a:gradFill>
          <a:ln w="19050" cap="flat" cmpd="sng">
            <a:solidFill>
              <a:srgbClr val="A20004"/>
            </a:solidFill>
            <a:prstDash val="solid"/>
            <a:miter lim="8000"/>
            <a:headEnd type="triangle" w="med" len="med"/>
            <a:tailEnd type="none" w="sm" len="sm"/>
          </a:ln>
        </p:spPr>
      </p:cxnSp>
      <p:pic>
        <p:nvPicPr>
          <p:cNvPr id="225" name="Google Shape;225;p2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191855" y="4149561"/>
            <a:ext cx="1809229" cy="431080"/>
          </a:xfrm>
          <a:custGeom>
            <a:avLst/>
            <a:gdLst/>
            <a:ahLst/>
            <a:cxnLst/>
            <a:rect l="l" t="t" r="r" b="b"/>
            <a:pathLst>
              <a:path w="1123745" h="297982" extrusionOk="0">
                <a:moveTo>
                  <a:pt x="784692" y="191188"/>
                </a:moveTo>
                <a:cubicBezTo>
                  <a:pt x="777492" y="193588"/>
                  <a:pt x="766093" y="196455"/>
                  <a:pt x="750494" y="199788"/>
                </a:cubicBezTo>
                <a:cubicBezTo>
                  <a:pt x="734895" y="203121"/>
                  <a:pt x="724695" y="206388"/>
                  <a:pt x="719896" y="209587"/>
                </a:cubicBezTo>
                <a:cubicBezTo>
                  <a:pt x="712563" y="214787"/>
                  <a:pt x="708896" y="221387"/>
                  <a:pt x="708896" y="229386"/>
                </a:cubicBezTo>
                <a:cubicBezTo>
                  <a:pt x="708896" y="237252"/>
                  <a:pt x="711829" y="244052"/>
                  <a:pt x="717696" y="249785"/>
                </a:cubicBezTo>
                <a:cubicBezTo>
                  <a:pt x="723562" y="255518"/>
                  <a:pt x="731028" y="258384"/>
                  <a:pt x="740094" y="258384"/>
                </a:cubicBezTo>
                <a:cubicBezTo>
                  <a:pt x="750227" y="258384"/>
                  <a:pt x="759893" y="255051"/>
                  <a:pt x="769093" y="248385"/>
                </a:cubicBezTo>
                <a:cubicBezTo>
                  <a:pt x="775892" y="243319"/>
                  <a:pt x="780359" y="237119"/>
                  <a:pt x="782492" y="229786"/>
                </a:cubicBezTo>
                <a:cubicBezTo>
                  <a:pt x="783958" y="224986"/>
                  <a:pt x="784692" y="215854"/>
                  <a:pt x="784692" y="202388"/>
                </a:cubicBezTo>
                <a:close/>
                <a:moveTo>
                  <a:pt x="750494" y="75995"/>
                </a:moveTo>
                <a:cubicBezTo>
                  <a:pt x="775559" y="75995"/>
                  <a:pt x="794224" y="78962"/>
                  <a:pt x="806490" y="84895"/>
                </a:cubicBezTo>
                <a:cubicBezTo>
                  <a:pt x="818756" y="90828"/>
                  <a:pt x="827389" y="98361"/>
                  <a:pt x="832389" y="107494"/>
                </a:cubicBezTo>
                <a:cubicBezTo>
                  <a:pt x="837389" y="116626"/>
                  <a:pt x="839888" y="133392"/>
                  <a:pt x="839888" y="157791"/>
                </a:cubicBezTo>
                <a:lnTo>
                  <a:pt x="839288" y="223386"/>
                </a:lnTo>
                <a:cubicBezTo>
                  <a:pt x="839288" y="242052"/>
                  <a:pt x="840188" y="255818"/>
                  <a:pt x="841988" y="264684"/>
                </a:cubicBezTo>
                <a:cubicBezTo>
                  <a:pt x="843788" y="273550"/>
                  <a:pt x="847155" y="283050"/>
                  <a:pt x="852088" y="293182"/>
                </a:cubicBezTo>
                <a:lnTo>
                  <a:pt x="796491" y="293182"/>
                </a:lnTo>
                <a:cubicBezTo>
                  <a:pt x="795024" y="289449"/>
                  <a:pt x="793224" y="283916"/>
                  <a:pt x="791091" y="276583"/>
                </a:cubicBezTo>
                <a:cubicBezTo>
                  <a:pt x="790158" y="273250"/>
                  <a:pt x="789491" y="271050"/>
                  <a:pt x="789091" y="269984"/>
                </a:cubicBezTo>
                <a:cubicBezTo>
                  <a:pt x="779492" y="279316"/>
                  <a:pt x="769226" y="286316"/>
                  <a:pt x="758293" y="290982"/>
                </a:cubicBezTo>
                <a:cubicBezTo>
                  <a:pt x="747361" y="295649"/>
                  <a:pt x="735695" y="297982"/>
                  <a:pt x="723295" y="297982"/>
                </a:cubicBezTo>
                <a:cubicBezTo>
                  <a:pt x="701430" y="297982"/>
                  <a:pt x="684198" y="292049"/>
                  <a:pt x="671599" y="280183"/>
                </a:cubicBezTo>
                <a:cubicBezTo>
                  <a:pt x="658999" y="268317"/>
                  <a:pt x="652700" y="253318"/>
                  <a:pt x="652700" y="235186"/>
                </a:cubicBezTo>
                <a:cubicBezTo>
                  <a:pt x="652700" y="223187"/>
                  <a:pt x="655566" y="212487"/>
                  <a:pt x="661299" y="203088"/>
                </a:cubicBezTo>
                <a:cubicBezTo>
                  <a:pt x="667032" y="193688"/>
                  <a:pt x="675065" y="186489"/>
                  <a:pt x="685398" y="181489"/>
                </a:cubicBezTo>
                <a:cubicBezTo>
                  <a:pt x="695730" y="176489"/>
                  <a:pt x="710630" y="172123"/>
                  <a:pt x="730095" y="168390"/>
                </a:cubicBezTo>
                <a:cubicBezTo>
                  <a:pt x="756360" y="163457"/>
                  <a:pt x="774559" y="158857"/>
                  <a:pt x="784692" y="154591"/>
                </a:cubicBezTo>
                <a:lnTo>
                  <a:pt x="784692" y="148991"/>
                </a:lnTo>
                <a:cubicBezTo>
                  <a:pt x="784692" y="138192"/>
                  <a:pt x="782025" y="130492"/>
                  <a:pt x="776692" y="125892"/>
                </a:cubicBezTo>
                <a:cubicBezTo>
                  <a:pt x="771359" y="121293"/>
                  <a:pt x="761293" y="118993"/>
                  <a:pt x="746494" y="118993"/>
                </a:cubicBezTo>
                <a:cubicBezTo>
                  <a:pt x="736495" y="118993"/>
                  <a:pt x="728695" y="120959"/>
                  <a:pt x="723095" y="124893"/>
                </a:cubicBezTo>
                <a:cubicBezTo>
                  <a:pt x="717496" y="128826"/>
                  <a:pt x="712963" y="135725"/>
                  <a:pt x="709496" y="145591"/>
                </a:cubicBezTo>
                <a:lnTo>
                  <a:pt x="658499" y="136392"/>
                </a:lnTo>
                <a:cubicBezTo>
                  <a:pt x="664232" y="115860"/>
                  <a:pt x="674098" y="100661"/>
                  <a:pt x="688098" y="90795"/>
                </a:cubicBezTo>
                <a:cubicBezTo>
                  <a:pt x="702097" y="80929"/>
                  <a:pt x="722896" y="75995"/>
                  <a:pt x="750494" y="75995"/>
                </a:cubicBezTo>
                <a:close/>
                <a:moveTo>
                  <a:pt x="390767" y="75995"/>
                </a:moveTo>
                <a:cubicBezTo>
                  <a:pt x="404366" y="75995"/>
                  <a:pt x="416165" y="78795"/>
                  <a:pt x="426165" y="84395"/>
                </a:cubicBezTo>
                <a:cubicBezTo>
                  <a:pt x="436164" y="89995"/>
                  <a:pt x="444364" y="98461"/>
                  <a:pt x="450763" y="109793"/>
                </a:cubicBezTo>
                <a:cubicBezTo>
                  <a:pt x="460096" y="98461"/>
                  <a:pt x="470162" y="89995"/>
                  <a:pt x="480961" y="84395"/>
                </a:cubicBezTo>
                <a:cubicBezTo>
                  <a:pt x="491761" y="78795"/>
                  <a:pt x="503293" y="75995"/>
                  <a:pt x="515559" y="75995"/>
                </a:cubicBezTo>
                <a:cubicBezTo>
                  <a:pt x="531158" y="75995"/>
                  <a:pt x="544357" y="79162"/>
                  <a:pt x="555157" y="85495"/>
                </a:cubicBezTo>
                <a:cubicBezTo>
                  <a:pt x="565956" y="91828"/>
                  <a:pt x="574022" y="101127"/>
                  <a:pt x="579355" y="113393"/>
                </a:cubicBezTo>
                <a:cubicBezTo>
                  <a:pt x="583222" y="122459"/>
                  <a:pt x="585155" y="137125"/>
                  <a:pt x="585155" y="157391"/>
                </a:cubicBezTo>
                <a:lnTo>
                  <a:pt x="585155" y="293182"/>
                </a:lnTo>
                <a:lnTo>
                  <a:pt x="528958" y="293182"/>
                </a:lnTo>
                <a:lnTo>
                  <a:pt x="528958" y="171790"/>
                </a:lnTo>
                <a:cubicBezTo>
                  <a:pt x="528958" y="150724"/>
                  <a:pt x="527025" y="137125"/>
                  <a:pt x="523159" y="130992"/>
                </a:cubicBezTo>
                <a:cubicBezTo>
                  <a:pt x="517959" y="122993"/>
                  <a:pt x="509960" y="118993"/>
                  <a:pt x="499160" y="118993"/>
                </a:cubicBezTo>
                <a:cubicBezTo>
                  <a:pt x="491294" y="118993"/>
                  <a:pt x="483895" y="121393"/>
                  <a:pt x="476962" y="126192"/>
                </a:cubicBezTo>
                <a:cubicBezTo>
                  <a:pt x="470029" y="130992"/>
                  <a:pt x="465029" y="138025"/>
                  <a:pt x="461963" y="147291"/>
                </a:cubicBezTo>
                <a:cubicBezTo>
                  <a:pt x="458896" y="156557"/>
                  <a:pt x="457363" y="171190"/>
                  <a:pt x="457363" y="191188"/>
                </a:cubicBezTo>
                <a:lnTo>
                  <a:pt x="457363" y="293182"/>
                </a:lnTo>
                <a:lnTo>
                  <a:pt x="401166" y="293182"/>
                </a:lnTo>
                <a:lnTo>
                  <a:pt x="401166" y="176789"/>
                </a:lnTo>
                <a:cubicBezTo>
                  <a:pt x="401166" y="156124"/>
                  <a:pt x="400166" y="142791"/>
                  <a:pt x="398166" y="136792"/>
                </a:cubicBezTo>
                <a:cubicBezTo>
                  <a:pt x="396167" y="130792"/>
                  <a:pt x="393067" y="126326"/>
                  <a:pt x="388867" y="123393"/>
                </a:cubicBezTo>
                <a:cubicBezTo>
                  <a:pt x="384667" y="120459"/>
                  <a:pt x="378968" y="118993"/>
                  <a:pt x="371768" y="118993"/>
                </a:cubicBezTo>
                <a:cubicBezTo>
                  <a:pt x="363102" y="118993"/>
                  <a:pt x="355302" y="121326"/>
                  <a:pt x="348370" y="125992"/>
                </a:cubicBezTo>
                <a:cubicBezTo>
                  <a:pt x="341437" y="130659"/>
                  <a:pt x="336470" y="137392"/>
                  <a:pt x="333470" y="146191"/>
                </a:cubicBezTo>
                <a:cubicBezTo>
                  <a:pt x="330471" y="154991"/>
                  <a:pt x="328971" y="169590"/>
                  <a:pt x="328971" y="189989"/>
                </a:cubicBezTo>
                <a:lnTo>
                  <a:pt x="328971" y="293182"/>
                </a:lnTo>
                <a:lnTo>
                  <a:pt x="272774" y="293182"/>
                </a:lnTo>
                <a:lnTo>
                  <a:pt x="272774" y="80795"/>
                </a:lnTo>
                <a:lnTo>
                  <a:pt x="324571" y="80795"/>
                </a:lnTo>
                <a:lnTo>
                  <a:pt x="324571" y="109793"/>
                </a:lnTo>
                <a:cubicBezTo>
                  <a:pt x="343103" y="87261"/>
                  <a:pt x="365168" y="75995"/>
                  <a:pt x="390767" y="75995"/>
                </a:cubicBezTo>
                <a:close/>
                <a:moveTo>
                  <a:pt x="97194" y="75995"/>
                </a:moveTo>
                <a:cubicBezTo>
                  <a:pt x="126259" y="75995"/>
                  <a:pt x="147858" y="80729"/>
                  <a:pt x="161990" y="90195"/>
                </a:cubicBezTo>
                <a:cubicBezTo>
                  <a:pt x="176123" y="99661"/>
                  <a:pt x="185855" y="113660"/>
                  <a:pt x="191188" y="132192"/>
                </a:cubicBezTo>
                <a:lnTo>
                  <a:pt x="138192" y="141991"/>
                </a:lnTo>
                <a:cubicBezTo>
                  <a:pt x="135925" y="133725"/>
                  <a:pt x="131625" y="127392"/>
                  <a:pt x="125292" y="122993"/>
                </a:cubicBezTo>
                <a:cubicBezTo>
                  <a:pt x="118959" y="118593"/>
                  <a:pt x="109927" y="116393"/>
                  <a:pt x="98194" y="116393"/>
                </a:cubicBezTo>
                <a:cubicBezTo>
                  <a:pt x="83395" y="116393"/>
                  <a:pt x="72796" y="118460"/>
                  <a:pt x="66396" y="122593"/>
                </a:cubicBezTo>
                <a:cubicBezTo>
                  <a:pt x="62130" y="125526"/>
                  <a:pt x="59996" y="129326"/>
                  <a:pt x="59996" y="133992"/>
                </a:cubicBezTo>
                <a:cubicBezTo>
                  <a:pt x="59996" y="137992"/>
                  <a:pt x="61863" y="141392"/>
                  <a:pt x="65596" y="144191"/>
                </a:cubicBezTo>
                <a:cubicBezTo>
                  <a:pt x="70662" y="147924"/>
                  <a:pt x="88161" y="153191"/>
                  <a:pt x="118093" y="159990"/>
                </a:cubicBezTo>
                <a:cubicBezTo>
                  <a:pt x="148024" y="166790"/>
                  <a:pt x="168923" y="175123"/>
                  <a:pt x="180789" y="184989"/>
                </a:cubicBezTo>
                <a:cubicBezTo>
                  <a:pt x="192522" y="194988"/>
                  <a:pt x="198388" y="208921"/>
                  <a:pt x="198388" y="226786"/>
                </a:cubicBezTo>
                <a:cubicBezTo>
                  <a:pt x="198388" y="246252"/>
                  <a:pt x="190255" y="262984"/>
                  <a:pt x="173989" y="276983"/>
                </a:cubicBezTo>
                <a:cubicBezTo>
                  <a:pt x="157724" y="290982"/>
                  <a:pt x="133659" y="297982"/>
                  <a:pt x="101794" y="297982"/>
                </a:cubicBezTo>
                <a:cubicBezTo>
                  <a:pt x="72862" y="297982"/>
                  <a:pt x="49964" y="292116"/>
                  <a:pt x="33098" y="280383"/>
                </a:cubicBezTo>
                <a:cubicBezTo>
                  <a:pt x="16232" y="268650"/>
                  <a:pt x="5200" y="252718"/>
                  <a:pt x="0" y="232586"/>
                </a:cubicBezTo>
                <a:lnTo>
                  <a:pt x="56397" y="223986"/>
                </a:lnTo>
                <a:cubicBezTo>
                  <a:pt x="58796" y="234919"/>
                  <a:pt x="63663" y="243219"/>
                  <a:pt x="70996" y="248885"/>
                </a:cubicBezTo>
                <a:cubicBezTo>
                  <a:pt x="78329" y="254551"/>
                  <a:pt x="88595" y="257384"/>
                  <a:pt x="101794" y="257384"/>
                </a:cubicBezTo>
                <a:cubicBezTo>
                  <a:pt x="116326" y="257384"/>
                  <a:pt x="127259" y="254718"/>
                  <a:pt x="134592" y="249385"/>
                </a:cubicBezTo>
                <a:cubicBezTo>
                  <a:pt x="139525" y="245652"/>
                  <a:pt x="141991" y="240652"/>
                  <a:pt x="141991" y="234386"/>
                </a:cubicBezTo>
                <a:cubicBezTo>
                  <a:pt x="141991" y="230119"/>
                  <a:pt x="140658" y="226586"/>
                  <a:pt x="137992" y="223786"/>
                </a:cubicBezTo>
                <a:cubicBezTo>
                  <a:pt x="135192" y="221120"/>
                  <a:pt x="128926" y="218653"/>
                  <a:pt x="119193" y="216387"/>
                </a:cubicBezTo>
                <a:cubicBezTo>
                  <a:pt x="73862" y="206388"/>
                  <a:pt x="45131" y="197255"/>
                  <a:pt x="32998" y="188989"/>
                </a:cubicBezTo>
                <a:cubicBezTo>
                  <a:pt x="16199" y="177523"/>
                  <a:pt x="7800" y="161590"/>
                  <a:pt x="7800" y="141192"/>
                </a:cubicBezTo>
                <a:cubicBezTo>
                  <a:pt x="7800" y="122793"/>
                  <a:pt x="15066" y="107327"/>
                  <a:pt x="29598" y="94794"/>
                </a:cubicBezTo>
                <a:cubicBezTo>
                  <a:pt x="44131" y="82262"/>
                  <a:pt x="66663" y="75995"/>
                  <a:pt x="97194" y="75995"/>
                </a:cubicBezTo>
                <a:close/>
                <a:moveTo>
                  <a:pt x="1067549" y="0"/>
                </a:moveTo>
                <a:lnTo>
                  <a:pt x="1123745" y="0"/>
                </a:lnTo>
                <a:lnTo>
                  <a:pt x="1123745" y="293182"/>
                </a:lnTo>
                <a:lnTo>
                  <a:pt x="1067549" y="293182"/>
                </a:lnTo>
                <a:close/>
                <a:moveTo>
                  <a:pt x="924674" y="0"/>
                </a:moveTo>
                <a:lnTo>
                  <a:pt x="980871" y="0"/>
                </a:lnTo>
                <a:lnTo>
                  <a:pt x="980871" y="293182"/>
                </a:lnTo>
                <a:lnTo>
                  <a:pt x="924674" y="293182"/>
                </a:lnTo>
                <a:close/>
              </a:path>
            </a:pathLst>
          </a:custGeom>
          <a:noFill/>
          <a:ln>
            <a:noFill/>
          </a:ln>
        </p:spPr>
      </p:pic>
      <p:pic>
        <p:nvPicPr>
          <p:cNvPr id="226" name="Google Shape;226;p2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936396" y="4102802"/>
            <a:ext cx="1810605" cy="573124"/>
          </a:xfrm>
          <a:custGeom>
            <a:avLst/>
            <a:gdLst/>
            <a:ahLst/>
            <a:cxnLst/>
            <a:rect l="l" t="t" r="r" b="b"/>
            <a:pathLst>
              <a:path w="1193806" h="423491" extrusionOk="0">
                <a:moveTo>
                  <a:pt x="292745" y="213420"/>
                </a:moveTo>
                <a:cubicBezTo>
                  <a:pt x="284708" y="216099"/>
                  <a:pt x="271983" y="219298"/>
                  <a:pt x="254570" y="223019"/>
                </a:cubicBezTo>
                <a:cubicBezTo>
                  <a:pt x="237157" y="226740"/>
                  <a:pt x="225772" y="230386"/>
                  <a:pt x="220414" y="233958"/>
                </a:cubicBezTo>
                <a:cubicBezTo>
                  <a:pt x="212229" y="239762"/>
                  <a:pt x="208136" y="247129"/>
                  <a:pt x="208136" y="256059"/>
                </a:cubicBezTo>
                <a:cubicBezTo>
                  <a:pt x="208136" y="264840"/>
                  <a:pt x="211410" y="272430"/>
                  <a:pt x="217958" y="278830"/>
                </a:cubicBezTo>
                <a:cubicBezTo>
                  <a:pt x="224507" y="285229"/>
                  <a:pt x="232841" y="288429"/>
                  <a:pt x="242962" y="288429"/>
                </a:cubicBezTo>
                <a:cubicBezTo>
                  <a:pt x="254272" y="288429"/>
                  <a:pt x="265063" y="284708"/>
                  <a:pt x="275332" y="277267"/>
                </a:cubicBezTo>
                <a:cubicBezTo>
                  <a:pt x="282922" y="271612"/>
                  <a:pt x="287908" y="264691"/>
                  <a:pt x="290289" y="256505"/>
                </a:cubicBezTo>
                <a:cubicBezTo>
                  <a:pt x="291926" y="251148"/>
                  <a:pt x="292745" y="240953"/>
                  <a:pt x="292745" y="225921"/>
                </a:cubicBezTo>
                <a:close/>
                <a:moveTo>
                  <a:pt x="1084808" y="132829"/>
                </a:moveTo>
                <a:cubicBezTo>
                  <a:pt x="1071116" y="132829"/>
                  <a:pt x="1059805" y="137815"/>
                  <a:pt x="1050875" y="147786"/>
                </a:cubicBezTo>
                <a:cubicBezTo>
                  <a:pt x="1041945" y="157758"/>
                  <a:pt x="1037555" y="171301"/>
                  <a:pt x="1037704" y="188417"/>
                </a:cubicBezTo>
                <a:lnTo>
                  <a:pt x="1131465" y="188417"/>
                </a:lnTo>
                <a:cubicBezTo>
                  <a:pt x="1131019" y="170259"/>
                  <a:pt x="1126331" y="156456"/>
                  <a:pt x="1117401" y="147005"/>
                </a:cubicBezTo>
                <a:cubicBezTo>
                  <a:pt x="1108471" y="137554"/>
                  <a:pt x="1097607" y="132829"/>
                  <a:pt x="1084808" y="132829"/>
                </a:cubicBezTo>
                <a:close/>
                <a:moveTo>
                  <a:pt x="778296" y="132829"/>
                </a:moveTo>
                <a:cubicBezTo>
                  <a:pt x="763265" y="132829"/>
                  <a:pt x="750875" y="138671"/>
                  <a:pt x="741126" y="150354"/>
                </a:cubicBezTo>
                <a:cubicBezTo>
                  <a:pt x="731378" y="162037"/>
                  <a:pt x="726504" y="179859"/>
                  <a:pt x="726504" y="203820"/>
                </a:cubicBezTo>
                <a:cubicBezTo>
                  <a:pt x="726504" y="228972"/>
                  <a:pt x="731378" y="247390"/>
                  <a:pt x="741126" y="259073"/>
                </a:cubicBezTo>
                <a:cubicBezTo>
                  <a:pt x="750875" y="270756"/>
                  <a:pt x="762893" y="276597"/>
                  <a:pt x="777180" y="276597"/>
                </a:cubicBezTo>
                <a:cubicBezTo>
                  <a:pt x="792509" y="276597"/>
                  <a:pt x="805457" y="270607"/>
                  <a:pt x="816024" y="258626"/>
                </a:cubicBezTo>
                <a:cubicBezTo>
                  <a:pt x="826591" y="246646"/>
                  <a:pt x="831874" y="228898"/>
                  <a:pt x="831874" y="205383"/>
                </a:cubicBezTo>
                <a:cubicBezTo>
                  <a:pt x="831874" y="180826"/>
                  <a:pt x="826814" y="162595"/>
                  <a:pt x="816694" y="150689"/>
                </a:cubicBezTo>
                <a:cubicBezTo>
                  <a:pt x="806574" y="138782"/>
                  <a:pt x="793774" y="132829"/>
                  <a:pt x="778296" y="132829"/>
                </a:cubicBezTo>
                <a:close/>
                <a:moveTo>
                  <a:pt x="1081013" y="84832"/>
                </a:moveTo>
                <a:cubicBezTo>
                  <a:pt x="1116285" y="84832"/>
                  <a:pt x="1144116" y="96478"/>
                  <a:pt x="1164505" y="119770"/>
                </a:cubicBezTo>
                <a:cubicBezTo>
                  <a:pt x="1184895" y="143061"/>
                  <a:pt x="1194643" y="178743"/>
                  <a:pt x="1193750" y="226814"/>
                </a:cubicBezTo>
                <a:lnTo>
                  <a:pt x="1036587" y="226814"/>
                </a:lnTo>
                <a:cubicBezTo>
                  <a:pt x="1037034" y="245418"/>
                  <a:pt x="1042094" y="259891"/>
                  <a:pt x="1051768" y="270235"/>
                </a:cubicBezTo>
                <a:cubicBezTo>
                  <a:pt x="1061442" y="280578"/>
                  <a:pt x="1073497" y="285750"/>
                  <a:pt x="1087933" y="285750"/>
                </a:cubicBezTo>
                <a:cubicBezTo>
                  <a:pt x="1097756" y="285750"/>
                  <a:pt x="1106016" y="283071"/>
                  <a:pt x="1112713" y="277713"/>
                </a:cubicBezTo>
                <a:cubicBezTo>
                  <a:pt x="1119410" y="272356"/>
                  <a:pt x="1124471" y="263724"/>
                  <a:pt x="1127893" y="251817"/>
                </a:cubicBezTo>
                <a:lnTo>
                  <a:pt x="1190401" y="262310"/>
                </a:lnTo>
                <a:cubicBezTo>
                  <a:pt x="1182365" y="285229"/>
                  <a:pt x="1169677" y="302679"/>
                  <a:pt x="1152339" y="314660"/>
                </a:cubicBezTo>
                <a:cubicBezTo>
                  <a:pt x="1135000" y="326641"/>
                  <a:pt x="1113308" y="332631"/>
                  <a:pt x="1087263" y="332631"/>
                </a:cubicBezTo>
                <a:cubicBezTo>
                  <a:pt x="1046038" y="332631"/>
                  <a:pt x="1015528" y="319162"/>
                  <a:pt x="995734" y="292224"/>
                </a:cubicBezTo>
                <a:cubicBezTo>
                  <a:pt x="980107" y="270644"/>
                  <a:pt x="972294" y="243409"/>
                  <a:pt x="972294" y="210518"/>
                </a:cubicBezTo>
                <a:cubicBezTo>
                  <a:pt x="972294" y="171227"/>
                  <a:pt x="982563" y="140457"/>
                  <a:pt x="1003101" y="118207"/>
                </a:cubicBezTo>
                <a:cubicBezTo>
                  <a:pt x="1023639" y="95957"/>
                  <a:pt x="1049610" y="84832"/>
                  <a:pt x="1081013" y="84832"/>
                </a:cubicBezTo>
                <a:close/>
                <a:moveTo>
                  <a:pt x="762223" y="84832"/>
                </a:moveTo>
                <a:cubicBezTo>
                  <a:pt x="791542" y="84832"/>
                  <a:pt x="815727" y="97706"/>
                  <a:pt x="834777" y="123453"/>
                </a:cubicBezTo>
                <a:lnTo>
                  <a:pt x="834777" y="90190"/>
                </a:lnTo>
                <a:lnTo>
                  <a:pt x="893489" y="90190"/>
                </a:lnTo>
                <a:lnTo>
                  <a:pt x="893489" y="302940"/>
                </a:lnTo>
                <a:cubicBezTo>
                  <a:pt x="893489" y="330920"/>
                  <a:pt x="891182" y="351830"/>
                  <a:pt x="886569" y="365671"/>
                </a:cubicBezTo>
                <a:cubicBezTo>
                  <a:pt x="881955" y="379512"/>
                  <a:pt x="875481" y="390376"/>
                  <a:pt x="867147" y="398264"/>
                </a:cubicBezTo>
                <a:cubicBezTo>
                  <a:pt x="858812" y="406152"/>
                  <a:pt x="847687" y="412328"/>
                  <a:pt x="833772" y="416793"/>
                </a:cubicBezTo>
                <a:cubicBezTo>
                  <a:pt x="819857" y="421258"/>
                  <a:pt x="802258" y="423491"/>
                  <a:pt x="780975" y="423491"/>
                </a:cubicBezTo>
                <a:cubicBezTo>
                  <a:pt x="740792" y="423491"/>
                  <a:pt x="712291" y="416607"/>
                  <a:pt x="695473" y="402841"/>
                </a:cubicBezTo>
                <a:cubicBezTo>
                  <a:pt x="678656" y="389074"/>
                  <a:pt x="670247" y="371624"/>
                  <a:pt x="670247" y="350490"/>
                </a:cubicBezTo>
                <a:cubicBezTo>
                  <a:pt x="670247" y="348407"/>
                  <a:pt x="670321" y="345877"/>
                  <a:pt x="670470" y="342900"/>
                </a:cubicBezTo>
                <a:lnTo>
                  <a:pt x="742131" y="351607"/>
                </a:lnTo>
                <a:cubicBezTo>
                  <a:pt x="743322" y="359941"/>
                  <a:pt x="746075" y="365671"/>
                  <a:pt x="750391" y="368796"/>
                </a:cubicBezTo>
                <a:cubicBezTo>
                  <a:pt x="756344" y="373261"/>
                  <a:pt x="765720" y="375494"/>
                  <a:pt x="778519" y="375494"/>
                </a:cubicBezTo>
                <a:cubicBezTo>
                  <a:pt x="794891" y="375494"/>
                  <a:pt x="807169" y="373038"/>
                  <a:pt x="815354" y="368127"/>
                </a:cubicBezTo>
                <a:cubicBezTo>
                  <a:pt x="820861" y="364852"/>
                  <a:pt x="825028" y="359569"/>
                  <a:pt x="827856" y="352276"/>
                </a:cubicBezTo>
                <a:cubicBezTo>
                  <a:pt x="829791" y="347067"/>
                  <a:pt x="830758" y="337468"/>
                  <a:pt x="830758" y="323478"/>
                </a:cubicBezTo>
                <a:lnTo>
                  <a:pt x="830758" y="288876"/>
                </a:lnTo>
                <a:cubicBezTo>
                  <a:pt x="812006" y="314474"/>
                  <a:pt x="788342" y="327273"/>
                  <a:pt x="759767" y="327273"/>
                </a:cubicBezTo>
                <a:cubicBezTo>
                  <a:pt x="727918" y="327273"/>
                  <a:pt x="702692" y="313804"/>
                  <a:pt x="684088" y="286866"/>
                </a:cubicBezTo>
                <a:cubicBezTo>
                  <a:pt x="669503" y="265584"/>
                  <a:pt x="662210" y="239093"/>
                  <a:pt x="662210" y="207392"/>
                </a:cubicBezTo>
                <a:cubicBezTo>
                  <a:pt x="662210" y="167655"/>
                  <a:pt x="671773" y="137294"/>
                  <a:pt x="690897" y="116309"/>
                </a:cubicBezTo>
                <a:cubicBezTo>
                  <a:pt x="710021" y="95325"/>
                  <a:pt x="733797" y="84832"/>
                  <a:pt x="762223" y="84832"/>
                </a:cubicBezTo>
                <a:close/>
                <a:moveTo>
                  <a:pt x="566811" y="84832"/>
                </a:moveTo>
                <a:cubicBezTo>
                  <a:pt x="581099" y="84832"/>
                  <a:pt x="594866" y="88776"/>
                  <a:pt x="608111" y="96664"/>
                </a:cubicBezTo>
                <a:lnTo>
                  <a:pt x="588689" y="151358"/>
                </a:lnTo>
                <a:cubicBezTo>
                  <a:pt x="578122" y="144512"/>
                  <a:pt x="568300" y="141089"/>
                  <a:pt x="559221" y="141089"/>
                </a:cubicBezTo>
                <a:cubicBezTo>
                  <a:pt x="550440" y="141089"/>
                  <a:pt x="542999" y="143508"/>
                  <a:pt x="536897" y="148345"/>
                </a:cubicBezTo>
                <a:cubicBezTo>
                  <a:pt x="530795" y="153181"/>
                  <a:pt x="525995" y="161925"/>
                  <a:pt x="522498" y="174576"/>
                </a:cubicBezTo>
                <a:cubicBezTo>
                  <a:pt x="519001" y="187226"/>
                  <a:pt x="517252" y="213717"/>
                  <a:pt x="517252" y="254050"/>
                </a:cubicBezTo>
                <a:lnTo>
                  <a:pt x="517252" y="327273"/>
                </a:lnTo>
                <a:lnTo>
                  <a:pt x="454521" y="327273"/>
                </a:lnTo>
                <a:lnTo>
                  <a:pt x="454521" y="90190"/>
                </a:lnTo>
                <a:lnTo>
                  <a:pt x="512787" y="90190"/>
                </a:lnTo>
                <a:lnTo>
                  <a:pt x="512787" y="123900"/>
                </a:lnTo>
                <a:cubicBezTo>
                  <a:pt x="522758" y="107975"/>
                  <a:pt x="531725" y="97483"/>
                  <a:pt x="539688" y="92422"/>
                </a:cubicBezTo>
                <a:cubicBezTo>
                  <a:pt x="547650" y="87362"/>
                  <a:pt x="556691" y="84832"/>
                  <a:pt x="566811" y="84832"/>
                </a:cubicBezTo>
                <a:close/>
                <a:moveTo>
                  <a:pt x="254570" y="84832"/>
                </a:moveTo>
                <a:cubicBezTo>
                  <a:pt x="282550" y="84832"/>
                  <a:pt x="303386" y="88144"/>
                  <a:pt x="317078" y="94766"/>
                </a:cubicBezTo>
                <a:cubicBezTo>
                  <a:pt x="330770" y="101389"/>
                  <a:pt x="340407" y="109798"/>
                  <a:pt x="345988" y="119993"/>
                </a:cubicBezTo>
                <a:cubicBezTo>
                  <a:pt x="351569" y="130187"/>
                  <a:pt x="354359" y="148903"/>
                  <a:pt x="354359" y="176138"/>
                </a:cubicBezTo>
                <a:lnTo>
                  <a:pt x="353690" y="249362"/>
                </a:lnTo>
                <a:cubicBezTo>
                  <a:pt x="353690" y="270198"/>
                  <a:pt x="354694" y="285564"/>
                  <a:pt x="356703" y="295461"/>
                </a:cubicBezTo>
                <a:cubicBezTo>
                  <a:pt x="358713" y="305358"/>
                  <a:pt x="362471" y="315962"/>
                  <a:pt x="367977" y="327273"/>
                </a:cubicBezTo>
                <a:lnTo>
                  <a:pt x="305916" y="327273"/>
                </a:lnTo>
                <a:cubicBezTo>
                  <a:pt x="304279" y="323106"/>
                  <a:pt x="302270" y="316930"/>
                  <a:pt x="299888" y="308744"/>
                </a:cubicBezTo>
                <a:cubicBezTo>
                  <a:pt x="298847" y="305023"/>
                  <a:pt x="298102" y="302568"/>
                  <a:pt x="297656" y="301377"/>
                </a:cubicBezTo>
                <a:cubicBezTo>
                  <a:pt x="286940" y="311795"/>
                  <a:pt x="275480" y="319609"/>
                  <a:pt x="263277" y="324818"/>
                </a:cubicBezTo>
                <a:cubicBezTo>
                  <a:pt x="251073" y="330027"/>
                  <a:pt x="238050" y="332631"/>
                  <a:pt x="224209" y="332631"/>
                </a:cubicBezTo>
                <a:cubicBezTo>
                  <a:pt x="199801" y="332631"/>
                  <a:pt x="180565" y="326008"/>
                  <a:pt x="166501" y="312762"/>
                </a:cubicBezTo>
                <a:cubicBezTo>
                  <a:pt x="152437" y="299517"/>
                  <a:pt x="145405" y="282774"/>
                  <a:pt x="145405" y="262533"/>
                </a:cubicBezTo>
                <a:cubicBezTo>
                  <a:pt x="145405" y="249138"/>
                  <a:pt x="148605" y="237195"/>
                  <a:pt x="155004" y="226703"/>
                </a:cubicBezTo>
                <a:cubicBezTo>
                  <a:pt x="161404" y="216210"/>
                  <a:pt x="170371" y="208174"/>
                  <a:pt x="181905" y="202592"/>
                </a:cubicBezTo>
                <a:cubicBezTo>
                  <a:pt x="193439" y="197011"/>
                  <a:pt x="210071" y="192137"/>
                  <a:pt x="231799" y="187970"/>
                </a:cubicBezTo>
                <a:cubicBezTo>
                  <a:pt x="261119" y="182463"/>
                  <a:pt x="281434" y="177329"/>
                  <a:pt x="292745" y="172566"/>
                </a:cubicBezTo>
                <a:lnTo>
                  <a:pt x="292745" y="166316"/>
                </a:lnTo>
                <a:cubicBezTo>
                  <a:pt x="292745" y="154260"/>
                  <a:pt x="289768" y="145666"/>
                  <a:pt x="283815" y="140531"/>
                </a:cubicBezTo>
                <a:cubicBezTo>
                  <a:pt x="277862" y="135396"/>
                  <a:pt x="266625" y="132829"/>
                  <a:pt x="250105" y="132829"/>
                </a:cubicBezTo>
                <a:cubicBezTo>
                  <a:pt x="238943" y="132829"/>
                  <a:pt x="230237" y="135024"/>
                  <a:pt x="223986" y="139415"/>
                </a:cubicBezTo>
                <a:cubicBezTo>
                  <a:pt x="217735" y="143805"/>
                  <a:pt x="212675" y="151507"/>
                  <a:pt x="208805" y="162520"/>
                </a:cubicBezTo>
                <a:lnTo>
                  <a:pt x="151879" y="152251"/>
                </a:lnTo>
                <a:cubicBezTo>
                  <a:pt x="158278" y="129332"/>
                  <a:pt x="169292" y="112365"/>
                  <a:pt x="184919" y="101352"/>
                </a:cubicBezTo>
                <a:cubicBezTo>
                  <a:pt x="200546" y="90339"/>
                  <a:pt x="223763" y="84832"/>
                  <a:pt x="254570" y="84832"/>
                </a:cubicBezTo>
                <a:close/>
                <a:moveTo>
                  <a:pt x="0" y="0"/>
                </a:moveTo>
                <a:lnTo>
                  <a:pt x="62731" y="0"/>
                </a:lnTo>
                <a:lnTo>
                  <a:pt x="62731" y="327273"/>
                </a:lnTo>
                <a:lnTo>
                  <a:pt x="0" y="327273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227" name="Google Shape;227;p24"/>
          <p:cNvSpPr txBox="1"/>
          <p:nvPr/>
        </p:nvSpPr>
        <p:spPr>
          <a:xfrm>
            <a:off x="4191852" y="4716744"/>
            <a:ext cx="2164000" cy="410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33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est for </a:t>
            </a:r>
            <a:r>
              <a:rPr lang="en" sz="1333"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ow latency,  </a:t>
            </a:r>
            <a:r>
              <a:rPr lang="en" sz="133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nversational use cases</a:t>
            </a:r>
            <a:endParaRPr sz="13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8" name="Google Shape;228;p24"/>
          <p:cNvSpPr txBox="1"/>
          <p:nvPr/>
        </p:nvSpPr>
        <p:spPr>
          <a:xfrm>
            <a:off x="7936400" y="4737329"/>
            <a:ext cx="2742800" cy="410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33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ur flagship model, for your </a:t>
            </a:r>
            <a:r>
              <a:rPr lang="en" sz="1333"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ost sophisticated needs</a:t>
            </a:r>
            <a:endParaRPr sz="13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9" name="Google Shape;229;p24"/>
          <p:cNvSpPr txBox="1"/>
          <p:nvPr/>
        </p:nvSpPr>
        <p:spPr>
          <a:xfrm>
            <a:off x="4189837" y="2324025"/>
            <a:ext cx="11328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2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ur</a:t>
            </a:r>
            <a:r>
              <a:rPr lang="en" sz="1200"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first model, </a:t>
            </a:r>
            <a:r>
              <a:rPr lang="en" sz="12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ts on one GPU</a:t>
            </a:r>
            <a:endParaRPr sz="12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0" name="Google Shape;230;p24"/>
          <p:cNvSpPr txBox="1"/>
          <p:nvPr/>
        </p:nvSpPr>
        <p:spPr>
          <a:xfrm>
            <a:off x="5461945" y="2320571"/>
            <a:ext cx="13608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200"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ur SMoE model:</a:t>
            </a:r>
            <a:r>
              <a:rPr lang="en" sz="12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only 14B inference</a:t>
            </a:r>
            <a:endParaRPr sz="12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1" name="Google Shape;231;p24"/>
          <p:cNvSpPr txBox="1"/>
          <p:nvPr/>
        </p:nvSpPr>
        <p:spPr>
          <a:xfrm>
            <a:off x="6979044" y="2320571"/>
            <a:ext cx="17348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2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ur </a:t>
            </a:r>
            <a:r>
              <a:rPr lang="en" sz="1200"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arge SMoE model</a:t>
            </a:r>
            <a:r>
              <a:rPr lang="en" sz="12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 for advanced research</a:t>
            </a:r>
            <a:endParaRPr sz="12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2" name="Google Shape;232;p24"/>
          <p:cNvSpPr txBox="1"/>
          <p:nvPr/>
        </p:nvSpPr>
        <p:spPr>
          <a:xfrm>
            <a:off x="2386821" y="2012633"/>
            <a:ext cx="1734800" cy="2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indent="-152396" algn="ctr" defTabSz="1219170">
              <a:buClr>
                <a:srgbClr val="000000"/>
              </a:buClr>
              <a:buSzPts val="1800"/>
              <a:buFont typeface="Quattrocento Sans"/>
              <a:buChar char="​"/>
            </a:pPr>
            <a:r>
              <a:rPr lang="en" sz="2400" b="1" kern="0">
                <a:solidFill>
                  <a:srgbClr val="FFA966"/>
                </a:solidFill>
                <a:latin typeface="Arial"/>
                <a:cs typeface="Arial"/>
                <a:sym typeface="Arial"/>
              </a:rPr>
              <a:t>Latest</a:t>
            </a:r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33" name="Google Shape;233;p24"/>
          <p:cNvGrpSpPr/>
          <p:nvPr/>
        </p:nvGrpSpPr>
        <p:grpSpPr>
          <a:xfrm>
            <a:off x="2443924" y="5157033"/>
            <a:ext cx="9125905" cy="204855"/>
            <a:chOff x="554734" y="5164566"/>
            <a:chExt cx="8224500" cy="216000"/>
          </a:xfrm>
        </p:grpSpPr>
        <p:cxnSp>
          <p:nvCxnSpPr>
            <p:cNvPr id="234" name="Google Shape;234;p24"/>
            <p:cNvCxnSpPr/>
            <p:nvPr/>
          </p:nvCxnSpPr>
          <p:spPr>
            <a:xfrm>
              <a:off x="554734" y="5272566"/>
              <a:ext cx="8224500" cy="0"/>
            </a:xfrm>
            <a:prstGeom prst="straightConnector1">
              <a:avLst/>
            </a:prstGeom>
            <a:noFill/>
            <a:ln w="9525" cap="flat" cmpd="sng">
              <a:solidFill>
                <a:srgbClr val="7F7F7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grpSp>
          <p:nvGrpSpPr>
            <p:cNvPr id="235" name="Google Shape;235;p24"/>
            <p:cNvGrpSpPr/>
            <p:nvPr/>
          </p:nvGrpSpPr>
          <p:grpSpPr>
            <a:xfrm>
              <a:off x="1173228" y="5164566"/>
              <a:ext cx="215700" cy="216000"/>
              <a:chOff x="1140123" y="5170273"/>
              <a:chExt cx="215700" cy="216000"/>
            </a:xfrm>
          </p:grpSpPr>
          <p:sp>
            <p:nvSpPr>
              <p:cNvPr id="236" name="Google Shape;236;p24"/>
              <p:cNvSpPr/>
              <p:nvPr/>
            </p:nvSpPr>
            <p:spPr>
              <a:xfrm>
                <a:off x="1140123" y="5170273"/>
                <a:ext cx="215700" cy="216000"/>
              </a:xfrm>
              <a:prstGeom prst="ellipse">
                <a:avLst/>
              </a:prstGeom>
              <a:solidFill>
                <a:srgbClr val="FFFFFF"/>
              </a:solidFill>
              <a:ln w="12700" cap="sq" cmpd="sng">
                <a:solidFill>
                  <a:srgbClr val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algn="ctr" defTabSz="1219170">
                  <a:buClr>
                    <a:srgbClr val="FFFFFF"/>
                  </a:buClr>
                  <a:buSzPts val="1600"/>
                </a:pPr>
                <a:endParaRPr sz="2133" kern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37" name="Google Shape;237;p24"/>
              <p:cNvGrpSpPr/>
              <p:nvPr/>
            </p:nvGrpSpPr>
            <p:grpSpPr>
              <a:xfrm>
                <a:off x="1175888" y="5206191"/>
                <a:ext cx="143986" cy="143986"/>
                <a:chOff x="1978243" y="4529104"/>
                <a:chExt cx="792000" cy="792000"/>
              </a:xfrm>
            </p:grpSpPr>
            <p:sp>
              <p:nvSpPr>
                <p:cNvPr id="238" name="Google Shape;238;p24"/>
                <p:cNvSpPr/>
                <p:nvPr/>
              </p:nvSpPr>
              <p:spPr>
                <a:xfrm>
                  <a:off x="1978243" y="4879443"/>
                  <a:ext cx="792000" cy="9120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424242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algn="ctr" defTabSz="1219170">
                    <a:buClr>
                      <a:srgbClr val="FFFFFF"/>
                    </a:buClr>
                    <a:buSzPts val="1600"/>
                  </a:pPr>
                  <a:endParaRPr sz="2133" kern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39" name="Google Shape;239;p24"/>
                <p:cNvSpPr/>
                <p:nvPr/>
              </p:nvSpPr>
              <p:spPr>
                <a:xfrm rot="5400000">
                  <a:off x="1978304" y="4879504"/>
                  <a:ext cx="792000" cy="9120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424242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algn="ctr" defTabSz="1219170">
                    <a:buClr>
                      <a:srgbClr val="FFFFFF"/>
                    </a:buClr>
                    <a:buSzPts val="1600"/>
                  </a:pPr>
                  <a:endParaRPr sz="2133" kern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grpSp>
        <p:nvGrpSpPr>
          <p:cNvPr id="240" name="Google Shape;240;p24"/>
          <p:cNvGrpSpPr/>
          <p:nvPr/>
        </p:nvGrpSpPr>
        <p:grpSpPr>
          <a:xfrm>
            <a:off x="2443976" y="2731034"/>
            <a:ext cx="9125905" cy="204855"/>
            <a:chOff x="554734" y="3510131"/>
            <a:chExt cx="8224500" cy="216000"/>
          </a:xfrm>
        </p:grpSpPr>
        <p:cxnSp>
          <p:nvCxnSpPr>
            <p:cNvPr id="241" name="Google Shape;241;p24"/>
            <p:cNvCxnSpPr/>
            <p:nvPr/>
          </p:nvCxnSpPr>
          <p:spPr>
            <a:xfrm>
              <a:off x="554734" y="3618131"/>
              <a:ext cx="8224500" cy="0"/>
            </a:xfrm>
            <a:prstGeom prst="straightConnector1">
              <a:avLst/>
            </a:prstGeom>
            <a:noFill/>
            <a:ln w="9525" cap="flat" cmpd="sng">
              <a:solidFill>
                <a:srgbClr val="7F7F7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grpSp>
          <p:nvGrpSpPr>
            <p:cNvPr id="242" name="Google Shape;242;p24"/>
            <p:cNvGrpSpPr/>
            <p:nvPr/>
          </p:nvGrpSpPr>
          <p:grpSpPr>
            <a:xfrm>
              <a:off x="1173228" y="3510131"/>
              <a:ext cx="215700" cy="216000"/>
              <a:chOff x="991399" y="3511969"/>
              <a:chExt cx="215700" cy="216000"/>
            </a:xfrm>
          </p:grpSpPr>
          <p:sp>
            <p:nvSpPr>
              <p:cNvPr id="243" name="Google Shape;243;p24"/>
              <p:cNvSpPr/>
              <p:nvPr/>
            </p:nvSpPr>
            <p:spPr>
              <a:xfrm>
                <a:off x="991399" y="3511969"/>
                <a:ext cx="215700" cy="216000"/>
              </a:xfrm>
              <a:prstGeom prst="ellipse">
                <a:avLst/>
              </a:prstGeom>
              <a:solidFill>
                <a:srgbClr val="FFFFFF"/>
              </a:solidFill>
              <a:ln w="12700" cap="sq" cmpd="sng">
                <a:solidFill>
                  <a:srgbClr val="FF7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algn="ctr" defTabSz="1219170">
                  <a:buClr>
                    <a:srgbClr val="FFFFFF"/>
                  </a:buClr>
                  <a:buSzPts val="1600"/>
                </a:pPr>
                <a:endParaRPr sz="2133" kern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44" name="Google Shape;244;p24"/>
              <p:cNvGrpSpPr/>
              <p:nvPr/>
            </p:nvGrpSpPr>
            <p:grpSpPr>
              <a:xfrm>
                <a:off x="1027164" y="3547887"/>
                <a:ext cx="143986" cy="143986"/>
                <a:chOff x="1978243" y="4529110"/>
                <a:chExt cx="792000" cy="792000"/>
              </a:xfrm>
            </p:grpSpPr>
            <p:sp>
              <p:nvSpPr>
                <p:cNvPr id="245" name="Google Shape;245;p24"/>
                <p:cNvSpPr/>
                <p:nvPr/>
              </p:nvSpPr>
              <p:spPr>
                <a:xfrm>
                  <a:off x="1978243" y="4879444"/>
                  <a:ext cx="792000" cy="9120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7000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algn="ctr" defTabSz="1219170">
                    <a:buClr>
                      <a:srgbClr val="FFFFFF"/>
                    </a:buClr>
                    <a:buSzPts val="1600"/>
                  </a:pPr>
                  <a:endParaRPr sz="2133" kern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46" name="Google Shape;246;p24"/>
                <p:cNvSpPr/>
                <p:nvPr/>
              </p:nvSpPr>
              <p:spPr>
                <a:xfrm rot="5400000">
                  <a:off x="1978304" y="4879510"/>
                  <a:ext cx="792000" cy="9120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F7000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algn="ctr" defTabSz="1219170">
                    <a:buClr>
                      <a:srgbClr val="FFFFFF"/>
                    </a:buClr>
                    <a:buSzPts val="1600"/>
                  </a:pPr>
                  <a:endParaRPr sz="2133" kern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247" name="Google Shape;247;p24"/>
          <p:cNvSpPr txBox="1"/>
          <p:nvPr/>
        </p:nvSpPr>
        <p:spPr>
          <a:xfrm>
            <a:off x="2444032" y="5507572"/>
            <a:ext cx="1620400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indent="-152396" algn="ctr" defTabSz="1219170">
              <a:buClr>
                <a:srgbClr val="424242"/>
              </a:buClr>
              <a:buSzPts val="1800"/>
              <a:buFont typeface="Quattrocento Sans"/>
              <a:buChar char="​"/>
            </a:pPr>
            <a:r>
              <a:rPr lang="en" sz="2400" b="1" kern="0">
                <a:solidFill>
                  <a:srgbClr val="424242"/>
                </a:solidFill>
                <a:latin typeface="Arial"/>
                <a:cs typeface="Arial"/>
                <a:sym typeface="Arial"/>
              </a:rPr>
              <a:t>Custom models</a:t>
            </a:r>
            <a:endParaRPr sz="2400" kern="0">
              <a:solidFill>
                <a:srgbClr val="42424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8" name="Google Shape;248;p24"/>
          <p:cNvSpPr/>
          <p:nvPr/>
        </p:nvSpPr>
        <p:spPr>
          <a:xfrm>
            <a:off x="1246179" y="484255"/>
            <a:ext cx="311600" cy="264800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49" name="Google Shape;249;p24"/>
          <p:cNvGrpSpPr/>
          <p:nvPr/>
        </p:nvGrpSpPr>
        <p:grpSpPr>
          <a:xfrm>
            <a:off x="2443956" y="3914355"/>
            <a:ext cx="9125905" cy="204855"/>
            <a:chOff x="554734" y="3510131"/>
            <a:chExt cx="8224500" cy="216000"/>
          </a:xfrm>
        </p:grpSpPr>
        <p:cxnSp>
          <p:nvCxnSpPr>
            <p:cNvPr id="250" name="Google Shape;250;p24"/>
            <p:cNvCxnSpPr/>
            <p:nvPr/>
          </p:nvCxnSpPr>
          <p:spPr>
            <a:xfrm>
              <a:off x="554734" y="3618131"/>
              <a:ext cx="8224500" cy="0"/>
            </a:xfrm>
            <a:prstGeom prst="straightConnector1">
              <a:avLst/>
            </a:prstGeom>
            <a:noFill/>
            <a:ln w="9525" cap="flat" cmpd="sng">
              <a:solidFill>
                <a:srgbClr val="7F7F7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grpSp>
          <p:nvGrpSpPr>
            <p:cNvPr id="251" name="Google Shape;251;p24"/>
            <p:cNvGrpSpPr/>
            <p:nvPr/>
          </p:nvGrpSpPr>
          <p:grpSpPr>
            <a:xfrm>
              <a:off x="1173228" y="3510131"/>
              <a:ext cx="215700" cy="216000"/>
              <a:chOff x="991399" y="3511969"/>
              <a:chExt cx="215700" cy="216000"/>
            </a:xfrm>
          </p:grpSpPr>
          <p:sp>
            <p:nvSpPr>
              <p:cNvPr id="252" name="Google Shape;252;p24"/>
              <p:cNvSpPr/>
              <p:nvPr/>
            </p:nvSpPr>
            <p:spPr>
              <a:xfrm>
                <a:off x="991399" y="3511969"/>
                <a:ext cx="215700" cy="216000"/>
              </a:xfrm>
              <a:prstGeom prst="ellipse">
                <a:avLst/>
              </a:prstGeom>
              <a:solidFill>
                <a:srgbClr val="FFFFFF"/>
              </a:solidFill>
              <a:ln w="12700" cap="sq" cmpd="sng">
                <a:solidFill>
                  <a:srgbClr val="A20004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algn="ctr" defTabSz="1219170">
                  <a:buClr>
                    <a:srgbClr val="FFFFFF"/>
                  </a:buClr>
                  <a:buSzPts val="1600"/>
                </a:pPr>
                <a:endParaRPr sz="2133" kern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53" name="Google Shape;253;p24"/>
              <p:cNvGrpSpPr/>
              <p:nvPr/>
            </p:nvGrpSpPr>
            <p:grpSpPr>
              <a:xfrm>
                <a:off x="1027164" y="3547887"/>
                <a:ext cx="143986" cy="143986"/>
                <a:chOff x="1978243" y="4529110"/>
                <a:chExt cx="792000" cy="792000"/>
              </a:xfrm>
            </p:grpSpPr>
            <p:sp>
              <p:nvSpPr>
                <p:cNvPr id="254" name="Google Shape;254;p24"/>
                <p:cNvSpPr/>
                <p:nvPr/>
              </p:nvSpPr>
              <p:spPr>
                <a:xfrm>
                  <a:off x="1978243" y="4879444"/>
                  <a:ext cx="792000" cy="9120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A2000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algn="ctr" defTabSz="1219170">
                    <a:buClr>
                      <a:srgbClr val="FFFFFF"/>
                    </a:buClr>
                    <a:buSzPts val="1600"/>
                  </a:pPr>
                  <a:endParaRPr sz="2133" kern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55" name="Google Shape;255;p24"/>
                <p:cNvSpPr/>
                <p:nvPr/>
              </p:nvSpPr>
              <p:spPr>
                <a:xfrm rot="5400000">
                  <a:off x="1978304" y="4879510"/>
                  <a:ext cx="792000" cy="91200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A2000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algn="ctr" defTabSz="1219170">
                    <a:buClr>
                      <a:srgbClr val="FFFFFF"/>
                    </a:buClr>
                    <a:buSzPts val="1600"/>
                  </a:pPr>
                  <a:endParaRPr sz="2133" kern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256" name="Google Shape;256;p24"/>
          <p:cNvSpPr txBox="1"/>
          <p:nvPr/>
        </p:nvSpPr>
        <p:spPr>
          <a:xfrm>
            <a:off x="4191853" y="6148521"/>
            <a:ext cx="30792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2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destral</a:t>
            </a:r>
            <a:r>
              <a:rPr lang="en" sz="12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: A low-latency model for </a:t>
            </a:r>
            <a:r>
              <a:rPr lang="en" sz="12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ding </a:t>
            </a:r>
            <a:r>
              <a:rPr lang="en" sz="12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(80+ programming languages)</a:t>
            </a:r>
            <a:endParaRPr sz="12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7" name="Google Shape;257;p24"/>
          <p:cNvSpPr txBox="1"/>
          <p:nvPr/>
        </p:nvSpPr>
        <p:spPr>
          <a:xfrm>
            <a:off x="2172221" y="3125113"/>
            <a:ext cx="2164000" cy="4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indent="-152396" algn="ctr" defTabSz="1219170">
              <a:buClr>
                <a:srgbClr val="FF7000"/>
              </a:buClr>
              <a:buSzPts val="1800"/>
              <a:buFont typeface="Quattrocento Sans"/>
              <a:buChar char="​"/>
            </a:pPr>
            <a:r>
              <a:rPr lang="en" sz="2400" b="1" kern="0">
                <a:solidFill>
                  <a:srgbClr val="FF7000"/>
                </a:solidFill>
                <a:latin typeface="Arial"/>
                <a:cs typeface="Arial"/>
                <a:sym typeface="Arial"/>
              </a:rPr>
              <a:t>Research</a:t>
            </a:r>
            <a:endParaRPr sz="2400" kern="0">
              <a:solidFill>
                <a:srgbClr val="FF7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8" name="Google Shape;258;p24"/>
          <p:cNvSpPr txBox="1"/>
          <p:nvPr/>
        </p:nvSpPr>
        <p:spPr>
          <a:xfrm>
            <a:off x="2444032" y="4242024"/>
            <a:ext cx="1620400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indent="-152396" algn="ctr" defTabSz="1219170">
              <a:buClr>
                <a:srgbClr val="000000"/>
              </a:buClr>
              <a:buSzPts val="1800"/>
              <a:buFont typeface="Quattrocento Sans"/>
              <a:buChar char="​"/>
            </a:pPr>
            <a:r>
              <a:rPr lang="en" sz="2400" b="1" kern="0">
                <a:solidFill>
                  <a:srgbClr val="A20004"/>
                </a:solidFill>
                <a:latin typeface="Arial"/>
                <a:cs typeface="Arial"/>
                <a:sym typeface="Arial"/>
              </a:rPr>
              <a:t>General models</a:t>
            </a:r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59" name="Google Shape;259;p24"/>
          <p:cNvGrpSpPr/>
          <p:nvPr/>
        </p:nvGrpSpPr>
        <p:grpSpPr>
          <a:xfrm>
            <a:off x="4191841" y="2986170"/>
            <a:ext cx="3017615" cy="926667"/>
            <a:chOff x="2850839" y="2298424"/>
            <a:chExt cx="2263211" cy="695000"/>
          </a:xfrm>
        </p:grpSpPr>
        <p:sp>
          <p:nvSpPr>
            <p:cNvPr id="260" name="Google Shape;260;p24"/>
            <p:cNvSpPr txBox="1"/>
            <p:nvPr/>
          </p:nvSpPr>
          <p:spPr>
            <a:xfrm>
              <a:off x="2850850" y="2716425"/>
              <a:ext cx="22632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defTabSz="1219170">
                <a:buClr>
                  <a:srgbClr val="000000"/>
                </a:buClr>
                <a:buSzPts val="1200"/>
              </a:pPr>
              <a:r>
                <a:rPr lang="en" sz="1200" b="1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rPr>
                <a:t>Codestral Mamba, </a:t>
              </a:r>
              <a:r>
                <a:rPr lang="en" sz="1200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rPr>
                <a:t>with in-context retrieval capabilities up to 256k token</a:t>
              </a:r>
              <a:endParaRPr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pic>
          <p:nvPicPr>
            <p:cNvPr id="261" name="Google Shape;261;p24"/>
            <p:cNvPicPr preferRelativeResize="0"/>
            <p:nvPr/>
          </p:nvPicPr>
          <p:blipFill rotWithShape="1">
            <a:blip r:embed="rId6">
              <a:alphaModFix/>
            </a:blip>
            <a:srcRect l="29522" t="11011" r="29502" b="11499"/>
            <a:stretch/>
          </p:blipFill>
          <p:spPr>
            <a:xfrm>
              <a:off x="2850839" y="2298424"/>
              <a:ext cx="369792" cy="37691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62" name="Google Shape;262;p24"/>
            <p:cNvSpPr txBox="1"/>
            <p:nvPr/>
          </p:nvSpPr>
          <p:spPr>
            <a:xfrm>
              <a:off x="3333164" y="2442328"/>
              <a:ext cx="673200" cy="2461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defTabSz="1219170">
                <a:buClr>
                  <a:srgbClr val="000000"/>
                </a:buClr>
                <a:buSzPts val="1400"/>
              </a:pPr>
              <a:r>
                <a:rPr lang="en" sz="2133" b="1" kern="0">
                  <a:solidFill>
                    <a:srgbClr val="FF7000"/>
                  </a:solidFill>
                  <a:latin typeface="Consolas"/>
                  <a:ea typeface="Consolas"/>
                  <a:cs typeface="Consolas"/>
                  <a:sym typeface="Consolas"/>
                </a:rPr>
                <a:t>_Mamba</a:t>
              </a:r>
              <a:endParaRPr sz="1867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63" name="Google Shape;263;p24"/>
          <p:cNvGrpSpPr/>
          <p:nvPr/>
        </p:nvGrpSpPr>
        <p:grpSpPr>
          <a:xfrm>
            <a:off x="7936689" y="2972048"/>
            <a:ext cx="3017600" cy="886089"/>
            <a:chOff x="5507076" y="2287832"/>
            <a:chExt cx="2263200" cy="664567"/>
          </a:xfrm>
        </p:grpSpPr>
        <p:sp>
          <p:nvSpPr>
            <p:cNvPr id="264" name="Google Shape;264;p24"/>
            <p:cNvSpPr txBox="1"/>
            <p:nvPr/>
          </p:nvSpPr>
          <p:spPr>
            <a:xfrm>
              <a:off x="5507076" y="2675400"/>
              <a:ext cx="22632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defTabSz="1219170">
                <a:buClr>
                  <a:srgbClr val="000000"/>
                </a:buClr>
                <a:buSzPts val="1200"/>
              </a:pPr>
              <a:r>
                <a:rPr lang="en" sz="1200" b="1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rPr>
                <a:t>MathStral, </a:t>
              </a:r>
              <a:r>
                <a:rPr lang="en" sz="1200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rPr>
                <a:t>our model dedicated to research in STEM subjects</a:t>
              </a:r>
              <a:endParaRPr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265" name="Google Shape;265;p24"/>
            <p:cNvSpPr txBox="1"/>
            <p:nvPr/>
          </p:nvSpPr>
          <p:spPr>
            <a:xfrm>
              <a:off x="5863497" y="2401303"/>
              <a:ext cx="1122000" cy="2461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defTabSz="1219170">
                <a:buClr>
                  <a:srgbClr val="000000"/>
                </a:buClr>
                <a:buSzPts val="1400"/>
              </a:pPr>
              <a:r>
                <a:rPr lang="en" sz="2133" b="1" kern="0">
                  <a:solidFill>
                    <a:srgbClr val="FF7000"/>
                  </a:solidFill>
                  <a:latin typeface="Consolas"/>
                  <a:ea typeface="Consolas"/>
                  <a:cs typeface="Consolas"/>
                  <a:sym typeface="Consolas"/>
                </a:rPr>
                <a:t>_MathStral</a:t>
              </a:r>
              <a:endParaRPr sz="2133" b="1" kern="0">
                <a:solidFill>
                  <a:srgbClr val="FF7000"/>
                </a:solidFill>
                <a:latin typeface="Consolas"/>
                <a:ea typeface="Consolas"/>
                <a:cs typeface="Consolas"/>
                <a:sym typeface="Consolas"/>
              </a:endParaRPr>
            </a:p>
          </p:txBody>
        </p:sp>
        <p:pic>
          <p:nvPicPr>
            <p:cNvPr id="266" name="Google Shape;266;p24"/>
            <p:cNvPicPr preferRelativeResize="0"/>
            <p:nvPr/>
          </p:nvPicPr>
          <p:blipFill rotWithShape="1">
            <a:blip r:embed="rId7">
              <a:alphaModFix/>
            </a:blip>
            <a:srcRect l="27391" t="10865" r="26656" b="10912"/>
            <a:stretch/>
          </p:blipFill>
          <p:spPr>
            <a:xfrm>
              <a:off x="5535348" y="2287832"/>
              <a:ext cx="352531" cy="32345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67" name="Google Shape;267;p24"/>
          <p:cNvPicPr preferRelativeResize="0"/>
          <p:nvPr/>
        </p:nvPicPr>
        <p:blipFill rotWithShape="1">
          <a:blip r:embed="rId8">
            <a:alphaModFix/>
          </a:blip>
          <a:srcRect l="27867" t="26976" r="27920" b="27463"/>
          <a:stretch/>
        </p:blipFill>
        <p:spPr>
          <a:xfrm>
            <a:off x="9368559" y="1721492"/>
            <a:ext cx="808811" cy="449177"/>
          </a:xfrm>
          <a:prstGeom prst="rect">
            <a:avLst/>
          </a:prstGeom>
          <a:noFill/>
          <a:ln>
            <a:noFill/>
          </a:ln>
        </p:spPr>
      </p:pic>
      <p:sp>
        <p:nvSpPr>
          <p:cNvPr id="268" name="Google Shape;268;p24"/>
          <p:cNvSpPr txBox="1"/>
          <p:nvPr/>
        </p:nvSpPr>
        <p:spPr>
          <a:xfrm>
            <a:off x="10253324" y="1932899"/>
            <a:ext cx="662400" cy="28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400"/>
            </a:pPr>
            <a:r>
              <a:rPr lang="en" sz="1867" b="1" kern="0">
                <a:solidFill>
                  <a:srgbClr val="FF7000"/>
                </a:solidFill>
                <a:latin typeface="Consolas"/>
                <a:ea typeface="Consolas"/>
                <a:cs typeface="Consolas"/>
                <a:sym typeface="Consolas"/>
              </a:rPr>
              <a:t>_Nemo</a:t>
            </a:r>
            <a:endParaRPr sz="18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9" name="Google Shape;269;p24"/>
          <p:cNvSpPr txBox="1"/>
          <p:nvPr/>
        </p:nvSpPr>
        <p:spPr>
          <a:xfrm>
            <a:off x="8891921" y="2280471"/>
            <a:ext cx="2608400" cy="7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  <a:buSzPts val="1200"/>
            </a:pP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Our </a:t>
            </a:r>
            <a: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state-of-the-art 12B model</a:t>
            </a:r>
            <a:r>
              <a:rPr lang="en" sz="12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, built in collaboration with NVIDIA </a:t>
            </a:r>
            <a:endParaRPr sz="1200" i="1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24"/>
          <p:cNvSpPr txBox="1"/>
          <p:nvPr/>
        </p:nvSpPr>
        <p:spPr>
          <a:xfrm>
            <a:off x="-763112" y="2501205"/>
            <a:ext cx="4000000" cy="656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indent="-152396" algn="ctr" defTabSz="1219170">
              <a:buClr>
                <a:srgbClr val="424242"/>
              </a:buClr>
              <a:buSzPts val="1800"/>
              <a:buFont typeface="Quattrocento Sans"/>
              <a:buChar char="​"/>
            </a:pPr>
            <a:r>
              <a:rPr lang="en" sz="2667" b="1" kern="0">
                <a:solidFill>
                  <a:srgbClr val="FF7000"/>
                </a:solidFill>
                <a:latin typeface="Arial"/>
                <a:cs typeface="Arial"/>
                <a:sym typeface="Arial"/>
              </a:rPr>
              <a:t>Free</a:t>
            </a: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71" name="Google Shape;271;p24"/>
          <p:cNvSpPr txBox="1"/>
          <p:nvPr/>
        </p:nvSpPr>
        <p:spPr>
          <a:xfrm>
            <a:off x="390721" y="4898371"/>
            <a:ext cx="1850400" cy="656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indent="-152396" algn="ctr" defTabSz="1219170">
              <a:buClr>
                <a:srgbClr val="424242"/>
              </a:buClr>
              <a:buSzPts val="1800"/>
              <a:buFont typeface="Quattrocento Sans"/>
              <a:buChar char="​"/>
            </a:pPr>
            <a:r>
              <a:rPr lang="en" sz="2667" b="1" kern="0">
                <a:solidFill>
                  <a:srgbClr val="FF7000"/>
                </a:solidFill>
                <a:latin typeface="Arial"/>
                <a:cs typeface="Arial"/>
                <a:sym typeface="Arial"/>
              </a:rPr>
              <a:t>Premier</a:t>
            </a: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72" name="Google Shape;272;p24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3888560" y="1485604"/>
            <a:ext cx="2035601" cy="114504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3" name="Google Shape;273;p24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4956829" y="1612238"/>
            <a:ext cx="2285201" cy="1285481"/>
          </a:xfrm>
          <a:prstGeom prst="rect">
            <a:avLst/>
          </a:prstGeom>
          <a:noFill/>
          <a:ln>
            <a:noFill/>
          </a:ln>
        </p:spPr>
      </p:pic>
      <p:pic>
        <p:nvPicPr>
          <p:cNvPr id="274" name="Google Shape;274;p24"/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3478188" y="5136522"/>
            <a:ext cx="2102801" cy="1182833"/>
          </a:xfrm>
          <a:prstGeom prst="rect">
            <a:avLst/>
          </a:prstGeom>
          <a:noFill/>
          <a:ln>
            <a:noFill/>
          </a:ln>
        </p:spPr>
      </p:pic>
      <p:sp>
        <p:nvSpPr>
          <p:cNvPr id="275" name="Google Shape;275;p24"/>
          <p:cNvSpPr txBox="1"/>
          <p:nvPr/>
        </p:nvSpPr>
        <p:spPr>
          <a:xfrm>
            <a:off x="609600" y="609600"/>
            <a:ext cx="54864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000" b="1" kern="0">
                <a:solidFill>
                  <a:srgbClr val="323131"/>
                </a:solidFill>
                <a:latin typeface="Sora"/>
                <a:ea typeface="Sora"/>
                <a:cs typeface="Sora"/>
                <a:sym typeface="Sora"/>
              </a:rPr>
              <a:t>Models</a:t>
            </a:r>
            <a:endParaRPr sz="2667" kern="0">
              <a:solidFill>
                <a:srgbClr val="FF2327"/>
              </a:solidFill>
              <a:latin typeface="Sora"/>
              <a:ea typeface="Sora"/>
              <a:cs typeface="Sora"/>
              <a:sym typeface="Sora"/>
            </a:endParaRPr>
          </a:p>
        </p:txBody>
      </p:sp>
      <p:pic>
        <p:nvPicPr>
          <p:cNvPr id="276" name="Google Shape;276;p24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1" y="304800"/>
            <a:ext cx="12192004" cy="626864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25"/>
          <p:cNvSpPr txBox="1"/>
          <p:nvPr/>
        </p:nvSpPr>
        <p:spPr>
          <a:xfrm>
            <a:off x="473100" y="501234"/>
            <a:ext cx="4000000" cy="53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2" name="Google Shape;282;p25"/>
          <p:cNvSpPr txBox="1"/>
          <p:nvPr/>
        </p:nvSpPr>
        <p:spPr>
          <a:xfrm>
            <a:off x="557200" y="2174767"/>
            <a:ext cx="5950400" cy="10668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5333" b="1" kern="0">
                <a:solidFill>
                  <a:srgbClr val="FF7000"/>
                </a:solidFill>
                <a:latin typeface="Consolas"/>
                <a:ea typeface="Consolas"/>
                <a:cs typeface="Consolas"/>
                <a:sym typeface="Consolas"/>
              </a:rPr>
              <a:t>Mistral Large 2</a:t>
            </a:r>
            <a:endParaRPr sz="5333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3" name="Google Shape;283;p25"/>
          <p:cNvSpPr txBox="1"/>
          <p:nvPr/>
        </p:nvSpPr>
        <p:spPr>
          <a:xfrm>
            <a:off x="557200" y="3164400"/>
            <a:ext cx="5234000" cy="5293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</a:pPr>
            <a:r>
              <a:rPr lang="en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ur most powerful model</a:t>
            </a:r>
            <a:endParaRPr sz="16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62FE0E1-6C2A-4D04-F70E-F623ACAC5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6296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62FE0E1-6C2A-4D04-F70E-F623ACAC5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D9075E-8425-C804-910B-BB2E87A71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3044280"/>
            <a:ext cx="8433401" cy="769441"/>
          </a:xfrm>
        </p:spPr>
        <p:txBody>
          <a:bodyPr vert="horz"/>
          <a:lstStyle/>
          <a:p>
            <a:r>
              <a:rPr lang="en-US" sz="3600" dirty="0"/>
              <a:t>Introduction to </a:t>
            </a:r>
            <a:r>
              <a:rPr lang="en-US" sz="3600" dirty="0" err="1"/>
              <a:t>QuantumBlack</a:t>
            </a:r>
            <a:endParaRPr lang="en-US" sz="36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B9A2BC-AB3F-3C5D-10A7-463486723A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7842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26"/>
          <p:cNvSpPr txBox="1"/>
          <p:nvPr/>
        </p:nvSpPr>
        <p:spPr>
          <a:xfrm>
            <a:off x="609600" y="609600"/>
            <a:ext cx="106680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000" b="1" kern="0">
                <a:solidFill>
                  <a:srgbClr val="323131"/>
                </a:solidFill>
                <a:latin typeface="Sora"/>
                <a:ea typeface="Sora"/>
                <a:cs typeface="Sora"/>
                <a:sym typeface="Sora"/>
              </a:rPr>
              <a:t>Mistral Large 2</a:t>
            </a:r>
            <a:endParaRPr sz="2667" kern="0">
              <a:solidFill>
                <a:srgbClr val="FF2327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289" name="Google Shape;289;p26"/>
          <p:cNvSpPr txBox="1"/>
          <p:nvPr/>
        </p:nvSpPr>
        <p:spPr>
          <a:xfrm>
            <a:off x="839367" y="1861333"/>
            <a:ext cx="6155200" cy="3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609585" indent="-431789" defTabSz="1219170">
              <a:lnSpc>
                <a:spcPct val="200000"/>
              </a:lnSpc>
              <a:buClr>
                <a:srgbClr val="000000"/>
              </a:buClr>
              <a:buSzPts val="1500"/>
              <a:buFont typeface="Sora"/>
              <a:buChar char="●"/>
            </a:pPr>
            <a:r>
              <a:rPr lang="en" sz="20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123B parameters</a:t>
            </a:r>
            <a:endParaRPr sz="2000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  <a:p>
            <a:pPr marL="609585" indent="-431789" defTabSz="1219170">
              <a:lnSpc>
                <a:spcPct val="200000"/>
              </a:lnSpc>
              <a:buClr>
                <a:srgbClr val="000000"/>
              </a:buClr>
              <a:buSzPts val="1500"/>
              <a:buFont typeface="Sora"/>
              <a:buChar char="●"/>
            </a:pPr>
            <a:r>
              <a:rPr lang="en" sz="20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Strong multilingual support</a:t>
            </a:r>
            <a:endParaRPr sz="2000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  <a:p>
            <a:pPr marL="609585" indent="-431789" defTabSz="1219170">
              <a:lnSpc>
                <a:spcPct val="200000"/>
              </a:lnSpc>
              <a:buClr>
                <a:srgbClr val="000000"/>
              </a:buClr>
              <a:buSzPts val="1500"/>
              <a:buFont typeface="Sora"/>
              <a:buChar char="●"/>
            </a:pPr>
            <a:r>
              <a:rPr lang="en" sz="20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Strong code &amp; reasoning abilities</a:t>
            </a:r>
            <a:endParaRPr sz="2000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  <a:p>
            <a:pPr marL="609585" indent="-431789" defTabSz="1219170">
              <a:lnSpc>
                <a:spcPct val="200000"/>
              </a:lnSpc>
              <a:buClr>
                <a:srgbClr val="000000"/>
              </a:buClr>
              <a:buSzPts val="1500"/>
              <a:buFont typeface="Sora"/>
              <a:buChar char="●"/>
            </a:pPr>
            <a:r>
              <a:rPr lang="en" sz="20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Advanced function calling</a:t>
            </a:r>
            <a:endParaRPr sz="2000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  <a:p>
            <a:pPr marL="609585" indent="-431789" defTabSz="1219170">
              <a:lnSpc>
                <a:spcPct val="200000"/>
              </a:lnSpc>
              <a:buClr>
                <a:srgbClr val="000000"/>
              </a:buClr>
              <a:buSzPts val="1500"/>
              <a:buFont typeface="Sora"/>
              <a:buChar char="●"/>
            </a:pPr>
            <a:r>
              <a:rPr lang="en" sz="2000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Open-weights for non-commercial usage</a:t>
            </a:r>
            <a:endParaRPr sz="2000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pic>
        <p:nvPicPr>
          <p:cNvPr id="290" name="Google Shape;290;p2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666804" y="2438396"/>
            <a:ext cx="1308800" cy="18618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5" name="Google Shape;295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96" name="Google Shape;296;p27"/>
          <p:cNvSpPr txBox="1"/>
          <p:nvPr/>
        </p:nvSpPr>
        <p:spPr>
          <a:xfrm>
            <a:off x="609600" y="609600"/>
            <a:ext cx="106680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000" b="1" kern="0">
                <a:solidFill>
                  <a:srgbClr val="323131"/>
                </a:solidFill>
                <a:latin typeface="Sora"/>
                <a:ea typeface="Sora"/>
                <a:cs typeface="Sora"/>
                <a:sym typeface="Sora"/>
              </a:rPr>
              <a:t>Mistral Large 2 – Performance</a:t>
            </a:r>
            <a:endParaRPr sz="2667" kern="0">
              <a:solidFill>
                <a:srgbClr val="FF2327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297" name="Google Shape;297;p27"/>
          <p:cNvSpPr txBox="1"/>
          <p:nvPr/>
        </p:nvSpPr>
        <p:spPr>
          <a:xfrm>
            <a:off x="7155167" y="1925767"/>
            <a:ext cx="4732000" cy="1846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609585" indent="-414856" defTabSz="1219170">
              <a:lnSpc>
                <a:spcPct val="150000"/>
              </a:lnSpc>
              <a:buClr>
                <a:srgbClr val="595959"/>
              </a:buClr>
              <a:buSzPts val="1300"/>
              <a:buFont typeface="Sora"/>
              <a:buChar char="●"/>
            </a:pPr>
            <a:r>
              <a:rPr lang="en" sz="1733" kern="0">
                <a:solidFill>
                  <a:srgbClr val="595959"/>
                </a:solidFill>
                <a:latin typeface="Sora"/>
                <a:ea typeface="Sora"/>
                <a:cs typeface="Sora"/>
                <a:sym typeface="Sora"/>
              </a:rPr>
              <a:t>Artificial Analysis Quality Index measures average quality of models across multiple dimensions (general knowledge, science, coding, reasoning)</a:t>
            </a:r>
            <a:endParaRPr sz="1733" kern="0">
              <a:solidFill>
                <a:srgbClr val="595959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298" name="Google Shape;298;p27"/>
          <p:cNvSpPr txBox="1"/>
          <p:nvPr/>
        </p:nvSpPr>
        <p:spPr>
          <a:xfrm>
            <a:off x="3890800" y="6037201"/>
            <a:ext cx="4410400" cy="4719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467" i="1" u="sng" kern="0">
                <a:solidFill>
                  <a:srgbClr val="0097A7"/>
                </a:solidFill>
                <a:latin typeface="Sora"/>
                <a:ea typeface="Sora"/>
                <a:cs typeface="Sora"/>
                <a:sym typeface="Sora"/>
                <a:hlinkClick r:id="rId4"/>
              </a:rPr>
              <a:t>https://artificialanalysis.ai/models</a:t>
            </a:r>
            <a:endParaRPr sz="1467" i="1" kern="0">
              <a:solidFill>
                <a:srgbClr val="595959"/>
              </a:solidFill>
              <a:latin typeface="Sora"/>
              <a:ea typeface="Sora"/>
              <a:cs typeface="Sora"/>
              <a:sym typeface="Sora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3" name="Google Shape;303;p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04" name="Google Shape;304;p28"/>
          <p:cNvSpPr txBox="1"/>
          <p:nvPr/>
        </p:nvSpPr>
        <p:spPr>
          <a:xfrm>
            <a:off x="609600" y="609600"/>
            <a:ext cx="106680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000" b="1" kern="0">
                <a:solidFill>
                  <a:srgbClr val="323131"/>
                </a:solidFill>
                <a:latin typeface="Sora"/>
                <a:ea typeface="Sora"/>
                <a:cs typeface="Sora"/>
                <a:sym typeface="Sora"/>
              </a:rPr>
              <a:t>Mistral Large 2 – Reasoning benchmarks</a:t>
            </a:r>
            <a:endParaRPr sz="2667" kern="0">
              <a:solidFill>
                <a:srgbClr val="FF2327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305" name="Google Shape;305;p28"/>
          <p:cNvSpPr txBox="1"/>
          <p:nvPr/>
        </p:nvSpPr>
        <p:spPr>
          <a:xfrm>
            <a:off x="3890800" y="6037201"/>
            <a:ext cx="4410400" cy="4719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467" i="1" u="sng" kern="0">
                <a:solidFill>
                  <a:srgbClr val="0097A7"/>
                </a:solidFill>
                <a:latin typeface="Sora"/>
                <a:ea typeface="Sora"/>
                <a:cs typeface="Sora"/>
                <a:sym typeface="Sora"/>
                <a:hlinkClick r:id="rId4"/>
              </a:rPr>
              <a:t>https://artificialanalysis.ai/models</a:t>
            </a:r>
            <a:endParaRPr sz="1467" i="1" kern="0">
              <a:solidFill>
                <a:srgbClr val="595959"/>
              </a:solidFill>
              <a:latin typeface="Sora"/>
              <a:ea typeface="Sora"/>
              <a:cs typeface="Sora"/>
              <a:sym typeface="Sora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29"/>
          <p:cNvSpPr txBox="1"/>
          <p:nvPr/>
        </p:nvSpPr>
        <p:spPr>
          <a:xfrm>
            <a:off x="473100" y="501234"/>
            <a:ext cx="4000000" cy="53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11" name="Google Shape;311;p29"/>
          <p:cNvSpPr txBox="1"/>
          <p:nvPr/>
        </p:nvSpPr>
        <p:spPr>
          <a:xfrm>
            <a:off x="557200" y="2174767"/>
            <a:ext cx="5950400" cy="10668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5333" b="1" kern="0">
                <a:solidFill>
                  <a:srgbClr val="FF7000"/>
                </a:solidFill>
                <a:latin typeface="Consolas"/>
                <a:ea typeface="Consolas"/>
                <a:cs typeface="Consolas"/>
                <a:sym typeface="Consolas"/>
              </a:rPr>
              <a:t>Mistral Small</a:t>
            </a:r>
            <a:endParaRPr sz="5333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12" name="Google Shape;312;p29"/>
          <p:cNvSpPr txBox="1"/>
          <p:nvPr/>
        </p:nvSpPr>
        <p:spPr>
          <a:xfrm>
            <a:off x="557200" y="3164401"/>
            <a:ext cx="5817600" cy="5293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</a:pPr>
            <a:r>
              <a:rPr lang="en" sz="16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ur best model for low latency conversational use cases</a:t>
            </a:r>
            <a:endParaRPr sz="1600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Google Shape;317;p30"/>
          <p:cNvSpPr txBox="1"/>
          <p:nvPr/>
        </p:nvSpPr>
        <p:spPr>
          <a:xfrm>
            <a:off x="609600" y="609600"/>
            <a:ext cx="106680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000" b="1" kern="0">
                <a:solidFill>
                  <a:srgbClr val="323131"/>
                </a:solidFill>
                <a:latin typeface="Sora"/>
                <a:ea typeface="Sora"/>
                <a:cs typeface="Sora"/>
                <a:sym typeface="Sora"/>
              </a:rPr>
              <a:t>Mistral Small (24.09)</a:t>
            </a:r>
            <a:endParaRPr sz="2667" kern="0">
              <a:solidFill>
                <a:srgbClr val="FF2327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318" name="Google Shape;318;p30"/>
          <p:cNvSpPr txBox="1"/>
          <p:nvPr/>
        </p:nvSpPr>
        <p:spPr>
          <a:xfrm>
            <a:off x="839367" y="1861333"/>
            <a:ext cx="6155200" cy="3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609585" indent="-423323" defTabSz="1219170">
              <a:lnSpc>
                <a:spcPct val="200000"/>
              </a:lnSpc>
              <a:spcBef>
                <a:spcPts val="400"/>
              </a:spcBef>
              <a:buClr>
                <a:srgbClr val="18181B"/>
              </a:buClr>
              <a:buSzPts val="1400"/>
              <a:buFont typeface="Arial"/>
              <a:buChar char="●"/>
            </a:pPr>
            <a:r>
              <a:rPr lang="en" sz="1867" kern="0">
                <a:solidFill>
                  <a:srgbClr val="18181B"/>
                </a:solidFill>
                <a:latin typeface="Arial"/>
                <a:cs typeface="Arial"/>
                <a:sym typeface="Arial"/>
              </a:rPr>
              <a:t>Cost-efficient, fast, reliable option</a:t>
            </a:r>
            <a:endParaRPr sz="1867" kern="0">
              <a:solidFill>
                <a:srgbClr val="18181B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200000"/>
              </a:lnSpc>
              <a:buClr>
                <a:srgbClr val="18181B"/>
              </a:buClr>
              <a:buSzPts val="1400"/>
              <a:buFont typeface="Arial"/>
              <a:buChar char="●"/>
            </a:pPr>
            <a:r>
              <a:rPr lang="en" sz="1867" kern="0">
                <a:solidFill>
                  <a:srgbClr val="18181B"/>
                </a:solidFill>
                <a:latin typeface="Arial"/>
                <a:cs typeface="Arial"/>
                <a:sym typeface="Arial"/>
              </a:rPr>
              <a:t>22 billion parameters for mid-point flexibility</a:t>
            </a:r>
            <a:endParaRPr sz="1867" kern="0">
              <a:solidFill>
                <a:srgbClr val="18181B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200000"/>
              </a:lnSpc>
              <a:buClr>
                <a:srgbClr val="18181B"/>
              </a:buClr>
              <a:buSzPts val="1400"/>
              <a:buFont typeface="Arial"/>
              <a:buChar char="●"/>
            </a:pPr>
            <a:r>
              <a:rPr lang="en" sz="1867" kern="0">
                <a:solidFill>
                  <a:srgbClr val="18181B"/>
                </a:solidFill>
                <a:latin typeface="Arial"/>
                <a:cs typeface="Arial"/>
                <a:sym typeface="Arial"/>
              </a:rPr>
              <a:t>Improved human alignment, reasoning, code</a:t>
            </a:r>
            <a:endParaRPr sz="1867" kern="0">
              <a:solidFill>
                <a:srgbClr val="18181B"/>
              </a:solidFill>
              <a:latin typeface="Arial"/>
              <a:cs typeface="Arial"/>
              <a:sym typeface="Arial"/>
            </a:endParaRPr>
          </a:p>
          <a:p>
            <a:pPr defTabSz="1219170">
              <a:lnSpc>
                <a:spcPct val="200000"/>
              </a:lnSpc>
              <a:spcBef>
                <a:spcPts val="800"/>
              </a:spcBef>
              <a:buClr>
                <a:srgbClr val="000000"/>
              </a:buClr>
            </a:pPr>
            <a:endParaRPr sz="2267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pic>
        <p:nvPicPr>
          <p:cNvPr id="319" name="Google Shape;319;p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65300" y="2810534"/>
            <a:ext cx="3828224" cy="1021085"/>
          </a:xfrm>
          <a:custGeom>
            <a:avLst/>
            <a:gdLst/>
            <a:ahLst/>
            <a:cxnLst/>
            <a:rect l="l" t="t" r="r" b="b"/>
            <a:pathLst>
              <a:path w="1123745" h="297982" extrusionOk="0">
                <a:moveTo>
                  <a:pt x="784692" y="191188"/>
                </a:moveTo>
                <a:cubicBezTo>
                  <a:pt x="777492" y="193588"/>
                  <a:pt x="766093" y="196455"/>
                  <a:pt x="750494" y="199788"/>
                </a:cubicBezTo>
                <a:cubicBezTo>
                  <a:pt x="734895" y="203121"/>
                  <a:pt x="724695" y="206388"/>
                  <a:pt x="719896" y="209587"/>
                </a:cubicBezTo>
                <a:cubicBezTo>
                  <a:pt x="712563" y="214787"/>
                  <a:pt x="708896" y="221387"/>
                  <a:pt x="708896" y="229386"/>
                </a:cubicBezTo>
                <a:cubicBezTo>
                  <a:pt x="708896" y="237252"/>
                  <a:pt x="711829" y="244052"/>
                  <a:pt x="717696" y="249785"/>
                </a:cubicBezTo>
                <a:cubicBezTo>
                  <a:pt x="723562" y="255518"/>
                  <a:pt x="731028" y="258384"/>
                  <a:pt x="740094" y="258384"/>
                </a:cubicBezTo>
                <a:cubicBezTo>
                  <a:pt x="750227" y="258384"/>
                  <a:pt x="759893" y="255051"/>
                  <a:pt x="769093" y="248385"/>
                </a:cubicBezTo>
                <a:cubicBezTo>
                  <a:pt x="775892" y="243319"/>
                  <a:pt x="780359" y="237119"/>
                  <a:pt x="782492" y="229786"/>
                </a:cubicBezTo>
                <a:cubicBezTo>
                  <a:pt x="783958" y="224986"/>
                  <a:pt x="784692" y="215854"/>
                  <a:pt x="784692" y="202388"/>
                </a:cubicBezTo>
                <a:close/>
                <a:moveTo>
                  <a:pt x="750494" y="75995"/>
                </a:moveTo>
                <a:cubicBezTo>
                  <a:pt x="775559" y="75995"/>
                  <a:pt x="794224" y="78962"/>
                  <a:pt x="806490" y="84895"/>
                </a:cubicBezTo>
                <a:cubicBezTo>
                  <a:pt x="818756" y="90828"/>
                  <a:pt x="827389" y="98361"/>
                  <a:pt x="832389" y="107494"/>
                </a:cubicBezTo>
                <a:cubicBezTo>
                  <a:pt x="837389" y="116626"/>
                  <a:pt x="839888" y="133392"/>
                  <a:pt x="839888" y="157791"/>
                </a:cubicBezTo>
                <a:lnTo>
                  <a:pt x="839288" y="223386"/>
                </a:lnTo>
                <a:cubicBezTo>
                  <a:pt x="839288" y="242052"/>
                  <a:pt x="840188" y="255818"/>
                  <a:pt x="841988" y="264684"/>
                </a:cubicBezTo>
                <a:cubicBezTo>
                  <a:pt x="843788" y="273550"/>
                  <a:pt x="847155" y="283050"/>
                  <a:pt x="852088" y="293182"/>
                </a:cubicBezTo>
                <a:lnTo>
                  <a:pt x="796491" y="293182"/>
                </a:lnTo>
                <a:cubicBezTo>
                  <a:pt x="795024" y="289449"/>
                  <a:pt x="793224" y="283916"/>
                  <a:pt x="791091" y="276583"/>
                </a:cubicBezTo>
                <a:cubicBezTo>
                  <a:pt x="790158" y="273250"/>
                  <a:pt x="789491" y="271050"/>
                  <a:pt x="789091" y="269984"/>
                </a:cubicBezTo>
                <a:cubicBezTo>
                  <a:pt x="779492" y="279316"/>
                  <a:pt x="769226" y="286316"/>
                  <a:pt x="758293" y="290982"/>
                </a:cubicBezTo>
                <a:cubicBezTo>
                  <a:pt x="747361" y="295649"/>
                  <a:pt x="735695" y="297982"/>
                  <a:pt x="723295" y="297982"/>
                </a:cubicBezTo>
                <a:cubicBezTo>
                  <a:pt x="701430" y="297982"/>
                  <a:pt x="684198" y="292049"/>
                  <a:pt x="671599" y="280183"/>
                </a:cubicBezTo>
                <a:cubicBezTo>
                  <a:pt x="658999" y="268317"/>
                  <a:pt x="652700" y="253318"/>
                  <a:pt x="652700" y="235186"/>
                </a:cubicBezTo>
                <a:cubicBezTo>
                  <a:pt x="652700" y="223187"/>
                  <a:pt x="655566" y="212487"/>
                  <a:pt x="661299" y="203088"/>
                </a:cubicBezTo>
                <a:cubicBezTo>
                  <a:pt x="667032" y="193688"/>
                  <a:pt x="675065" y="186489"/>
                  <a:pt x="685398" y="181489"/>
                </a:cubicBezTo>
                <a:cubicBezTo>
                  <a:pt x="695730" y="176489"/>
                  <a:pt x="710630" y="172123"/>
                  <a:pt x="730095" y="168390"/>
                </a:cubicBezTo>
                <a:cubicBezTo>
                  <a:pt x="756360" y="163457"/>
                  <a:pt x="774559" y="158857"/>
                  <a:pt x="784692" y="154591"/>
                </a:cubicBezTo>
                <a:lnTo>
                  <a:pt x="784692" y="148991"/>
                </a:lnTo>
                <a:cubicBezTo>
                  <a:pt x="784692" y="138192"/>
                  <a:pt x="782025" y="130492"/>
                  <a:pt x="776692" y="125892"/>
                </a:cubicBezTo>
                <a:cubicBezTo>
                  <a:pt x="771359" y="121293"/>
                  <a:pt x="761293" y="118993"/>
                  <a:pt x="746494" y="118993"/>
                </a:cubicBezTo>
                <a:cubicBezTo>
                  <a:pt x="736495" y="118993"/>
                  <a:pt x="728695" y="120959"/>
                  <a:pt x="723095" y="124893"/>
                </a:cubicBezTo>
                <a:cubicBezTo>
                  <a:pt x="717496" y="128826"/>
                  <a:pt x="712963" y="135725"/>
                  <a:pt x="709496" y="145591"/>
                </a:cubicBezTo>
                <a:lnTo>
                  <a:pt x="658499" y="136392"/>
                </a:lnTo>
                <a:cubicBezTo>
                  <a:pt x="664232" y="115860"/>
                  <a:pt x="674098" y="100661"/>
                  <a:pt x="688098" y="90795"/>
                </a:cubicBezTo>
                <a:cubicBezTo>
                  <a:pt x="702097" y="80929"/>
                  <a:pt x="722896" y="75995"/>
                  <a:pt x="750494" y="75995"/>
                </a:cubicBezTo>
                <a:close/>
                <a:moveTo>
                  <a:pt x="390767" y="75995"/>
                </a:moveTo>
                <a:cubicBezTo>
                  <a:pt x="404366" y="75995"/>
                  <a:pt x="416165" y="78795"/>
                  <a:pt x="426165" y="84395"/>
                </a:cubicBezTo>
                <a:cubicBezTo>
                  <a:pt x="436164" y="89995"/>
                  <a:pt x="444364" y="98461"/>
                  <a:pt x="450763" y="109793"/>
                </a:cubicBezTo>
                <a:cubicBezTo>
                  <a:pt x="460096" y="98461"/>
                  <a:pt x="470162" y="89995"/>
                  <a:pt x="480961" y="84395"/>
                </a:cubicBezTo>
                <a:cubicBezTo>
                  <a:pt x="491761" y="78795"/>
                  <a:pt x="503293" y="75995"/>
                  <a:pt x="515559" y="75995"/>
                </a:cubicBezTo>
                <a:cubicBezTo>
                  <a:pt x="531158" y="75995"/>
                  <a:pt x="544357" y="79162"/>
                  <a:pt x="555157" y="85495"/>
                </a:cubicBezTo>
                <a:cubicBezTo>
                  <a:pt x="565956" y="91828"/>
                  <a:pt x="574022" y="101127"/>
                  <a:pt x="579355" y="113393"/>
                </a:cubicBezTo>
                <a:cubicBezTo>
                  <a:pt x="583222" y="122459"/>
                  <a:pt x="585155" y="137125"/>
                  <a:pt x="585155" y="157391"/>
                </a:cubicBezTo>
                <a:lnTo>
                  <a:pt x="585155" y="293182"/>
                </a:lnTo>
                <a:lnTo>
                  <a:pt x="528958" y="293182"/>
                </a:lnTo>
                <a:lnTo>
                  <a:pt x="528958" y="171790"/>
                </a:lnTo>
                <a:cubicBezTo>
                  <a:pt x="528958" y="150724"/>
                  <a:pt x="527025" y="137125"/>
                  <a:pt x="523159" y="130992"/>
                </a:cubicBezTo>
                <a:cubicBezTo>
                  <a:pt x="517959" y="122993"/>
                  <a:pt x="509960" y="118993"/>
                  <a:pt x="499160" y="118993"/>
                </a:cubicBezTo>
                <a:cubicBezTo>
                  <a:pt x="491294" y="118993"/>
                  <a:pt x="483895" y="121393"/>
                  <a:pt x="476962" y="126192"/>
                </a:cubicBezTo>
                <a:cubicBezTo>
                  <a:pt x="470029" y="130992"/>
                  <a:pt x="465029" y="138025"/>
                  <a:pt x="461963" y="147291"/>
                </a:cubicBezTo>
                <a:cubicBezTo>
                  <a:pt x="458896" y="156557"/>
                  <a:pt x="457363" y="171190"/>
                  <a:pt x="457363" y="191188"/>
                </a:cubicBezTo>
                <a:lnTo>
                  <a:pt x="457363" y="293182"/>
                </a:lnTo>
                <a:lnTo>
                  <a:pt x="401166" y="293182"/>
                </a:lnTo>
                <a:lnTo>
                  <a:pt x="401166" y="176789"/>
                </a:lnTo>
                <a:cubicBezTo>
                  <a:pt x="401166" y="156124"/>
                  <a:pt x="400166" y="142791"/>
                  <a:pt x="398166" y="136792"/>
                </a:cubicBezTo>
                <a:cubicBezTo>
                  <a:pt x="396167" y="130792"/>
                  <a:pt x="393067" y="126326"/>
                  <a:pt x="388867" y="123393"/>
                </a:cubicBezTo>
                <a:cubicBezTo>
                  <a:pt x="384667" y="120459"/>
                  <a:pt x="378968" y="118993"/>
                  <a:pt x="371768" y="118993"/>
                </a:cubicBezTo>
                <a:cubicBezTo>
                  <a:pt x="363102" y="118993"/>
                  <a:pt x="355302" y="121326"/>
                  <a:pt x="348370" y="125992"/>
                </a:cubicBezTo>
                <a:cubicBezTo>
                  <a:pt x="341437" y="130659"/>
                  <a:pt x="336470" y="137392"/>
                  <a:pt x="333470" y="146191"/>
                </a:cubicBezTo>
                <a:cubicBezTo>
                  <a:pt x="330471" y="154991"/>
                  <a:pt x="328971" y="169590"/>
                  <a:pt x="328971" y="189989"/>
                </a:cubicBezTo>
                <a:lnTo>
                  <a:pt x="328971" y="293182"/>
                </a:lnTo>
                <a:lnTo>
                  <a:pt x="272774" y="293182"/>
                </a:lnTo>
                <a:lnTo>
                  <a:pt x="272774" y="80795"/>
                </a:lnTo>
                <a:lnTo>
                  <a:pt x="324571" y="80795"/>
                </a:lnTo>
                <a:lnTo>
                  <a:pt x="324571" y="109793"/>
                </a:lnTo>
                <a:cubicBezTo>
                  <a:pt x="343103" y="87261"/>
                  <a:pt x="365168" y="75995"/>
                  <a:pt x="390767" y="75995"/>
                </a:cubicBezTo>
                <a:close/>
                <a:moveTo>
                  <a:pt x="97194" y="75995"/>
                </a:moveTo>
                <a:cubicBezTo>
                  <a:pt x="126259" y="75995"/>
                  <a:pt x="147858" y="80729"/>
                  <a:pt x="161990" y="90195"/>
                </a:cubicBezTo>
                <a:cubicBezTo>
                  <a:pt x="176123" y="99661"/>
                  <a:pt x="185855" y="113660"/>
                  <a:pt x="191188" y="132192"/>
                </a:cubicBezTo>
                <a:lnTo>
                  <a:pt x="138192" y="141991"/>
                </a:lnTo>
                <a:cubicBezTo>
                  <a:pt x="135925" y="133725"/>
                  <a:pt x="131625" y="127392"/>
                  <a:pt x="125292" y="122993"/>
                </a:cubicBezTo>
                <a:cubicBezTo>
                  <a:pt x="118959" y="118593"/>
                  <a:pt x="109927" y="116393"/>
                  <a:pt x="98194" y="116393"/>
                </a:cubicBezTo>
                <a:cubicBezTo>
                  <a:pt x="83395" y="116393"/>
                  <a:pt x="72796" y="118460"/>
                  <a:pt x="66396" y="122593"/>
                </a:cubicBezTo>
                <a:cubicBezTo>
                  <a:pt x="62130" y="125526"/>
                  <a:pt x="59996" y="129326"/>
                  <a:pt x="59996" y="133992"/>
                </a:cubicBezTo>
                <a:cubicBezTo>
                  <a:pt x="59996" y="137992"/>
                  <a:pt x="61863" y="141392"/>
                  <a:pt x="65596" y="144191"/>
                </a:cubicBezTo>
                <a:cubicBezTo>
                  <a:pt x="70662" y="147924"/>
                  <a:pt x="88161" y="153191"/>
                  <a:pt x="118093" y="159990"/>
                </a:cubicBezTo>
                <a:cubicBezTo>
                  <a:pt x="148024" y="166790"/>
                  <a:pt x="168923" y="175123"/>
                  <a:pt x="180789" y="184989"/>
                </a:cubicBezTo>
                <a:cubicBezTo>
                  <a:pt x="192522" y="194988"/>
                  <a:pt x="198388" y="208921"/>
                  <a:pt x="198388" y="226786"/>
                </a:cubicBezTo>
                <a:cubicBezTo>
                  <a:pt x="198388" y="246252"/>
                  <a:pt x="190255" y="262984"/>
                  <a:pt x="173989" y="276983"/>
                </a:cubicBezTo>
                <a:cubicBezTo>
                  <a:pt x="157724" y="290982"/>
                  <a:pt x="133659" y="297982"/>
                  <a:pt x="101794" y="297982"/>
                </a:cubicBezTo>
                <a:cubicBezTo>
                  <a:pt x="72862" y="297982"/>
                  <a:pt x="49964" y="292116"/>
                  <a:pt x="33098" y="280383"/>
                </a:cubicBezTo>
                <a:cubicBezTo>
                  <a:pt x="16232" y="268650"/>
                  <a:pt x="5200" y="252718"/>
                  <a:pt x="0" y="232586"/>
                </a:cubicBezTo>
                <a:lnTo>
                  <a:pt x="56397" y="223986"/>
                </a:lnTo>
                <a:cubicBezTo>
                  <a:pt x="58796" y="234919"/>
                  <a:pt x="63663" y="243219"/>
                  <a:pt x="70996" y="248885"/>
                </a:cubicBezTo>
                <a:cubicBezTo>
                  <a:pt x="78329" y="254551"/>
                  <a:pt x="88595" y="257384"/>
                  <a:pt x="101794" y="257384"/>
                </a:cubicBezTo>
                <a:cubicBezTo>
                  <a:pt x="116326" y="257384"/>
                  <a:pt x="127259" y="254718"/>
                  <a:pt x="134592" y="249385"/>
                </a:cubicBezTo>
                <a:cubicBezTo>
                  <a:pt x="139525" y="245652"/>
                  <a:pt x="141991" y="240652"/>
                  <a:pt x="141991" y="234386"/>
                </a:cubicBezTo>
                <a:cubicBezTo>
                  <a:pt x="141991" y="230119"/>
                  <a:pt x="140658" y="226586"/>
                  <a:pt x="137992" y="223786"/>
                </a:cubicBezTo>
                <a:cubicBezTo>
                  <a:pt x="135192" y="221120"/>
                  <a:pt x="128926" y="218653"/>
                  <a:pt x="119193" y="216387"/>
                </a:cubicBezTo>
                <a:cubicBezTo>
                  <a:pt x="73862" y="206388"/>
                  <a:pt x="45131" y="197255"/>
                  <a:pt x="32998" y="188989"/>
                </a:cubicBezTo>
                <a:cubicBezTo>
                  <a:pt x="16199" y="177523"/>
                  <a:pt x="7800" y="161590"/>
                  <a:pt x="7800" y="141192"/>
                </a:cubicBezTo>
                <a:cubicBezTo>
                  <a:pt x="7800" y="122793"/>
                  <a:pt x="15066" y="107327"/>
                  <a:pt x="29598" y="94794"/>
                </a:cubicBezTo>
                <a:cubicBezTo>
                  <a:pt x="44131" y="82262"/>
                  <a:pt x="66663" y="75995"/>
                  <a:pt x="97194" y="75995"/>
                </a:cubicBezTo>
                <a:close/>
                <a:moveTo>
                  <a:pt x="1067549" y="0"/>
                </a:moveTo>
                <a:lnTo>
                  <a:pt x="1123745" y="0"/>
                </a:lnTo>
                <a:lnTo>
                  <a:pt x="1123745" y="293182"/>
                </a:lnTo>
                <a:lnTo>
                  <a:pt x="1067549" y="293182"/>
                </a:lnTo>
                <a:close/>
                <a:moveTo>
                  <a:pt x="924674" y="0"/>
                </a:moveTo>
                <a:lnTo>
                  <a:pt x="980871" y="0"/>
                </a:lnTo>
                <a:lnTo>
                  <a:pt x="980871" y="293182"/>
                </a:lnTo>
                <a:lnTo>
                  <a:pt x="924674" y="293182"/>
                </a:lnTo>
                <a:close/>
              </a:path>
            </a:pathLst>
          </a:custGeom>
          <a:noFill/>
          <a:ln>
            <a:noFill/>
          </a:ln>
        </p:spPr>
      </p:pic>
      <p:pic>
        <p:nvPicPr>
          <p:cNvPr id="320" name="Google Shape;320;p3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751167" y="3684352"/>
            <a:ext cx="3983357" cy="261998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31"/>
          <p:cNvSpPr txBox="1"/>
          <p:nvPr/>
        </p:nvSpPr>
        <p:spPr>
          <a:xfrm>
            <a:off x="473100" y="501234"/>
            <a:ext cx="4000000" cy="53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26" name="Google Shape;326;p31"/>
          <p:cNvSpPr txBox="1"/>
          <p:nvPr/>
        </p:nvSpPr>
        <p:spPr>
          <a:xfrm>
            <a:off x="557200" y="2174767"/>
            <a:ext cx="5950400" cy="10668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5333" b="1" kern="0">
                <a:solidFill>
                  <a:srgbClr val="FF7000"/>
                </a:solidFill>
                <a:latin typeface="Consolas"/>
                <a:ea typeface="Consolas"/>
                <a:cs typeface="Consolas"/>
                <a:sym typeface="Consolas"/>
              </a:rPr>
              <a:t>Fine-tuning</a:t>
            </a:r>
            <a:endParaRPr sz="5333" b="1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Google Shape;331;p32"/>
          <p:cNvSpPr/>
          <p:nvPr/>
        </p:nvSpPr>
        <p:spPr>
          <a:xfrm>
            <a:off x="1007940" y="1673359"/>
            <a:ext cx="8717600" cy="1631200"/>
          </a:xfrm>
          <a:prstGeom prst="rect">
            <a:avLst/>
          </a:prstGeom>
          <a:noFill/>
          <a:ln w="19050" cap="flat" cmpd="sng">
            <a:solidFill>
              <a:srgbClr val="FF7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332" name="Google Shape;332;p32"/>
          <p:cNvSpPr txBox="1"/>
          <p:nvPr/>
        </p:nvSpPr>
        <p:spPr>
          <a:xfrm>
            <a:off x="7399117" y="2165037"/>
            <a:ext cx="2377600" cy="451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4285F4"/>
              </a:buClr>
              <a:buSzPts val="1100"/>
            </a:pPr>
            <a:r>
              <a:rPr lang="en" sz="1467" b="1" kern="0">
                <a:solidFill>
                  <a:srgbClr val="FF7000"/>
                </a:solidFill>
                <a:latin typeface="Sora"/>
                <a:ea typeface="Sora"/>
                <a:cs typeface="Sora"/>
                <a:sym typeface="Sora"/>
              </a:rPr>
              <a:t>Mistral </a:t>
            </a: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general purpose Foundational Model</a:t>
            </a:r>
            <a:endParaRPr sz="1467" b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333" name="Google Shape;333;p32"/>
          <p:cNvSpPr txBox="1"/>
          <p:nvPr/>
        </p:nvSpPr>
        <p:spPr>
          <a:xfrm>
            <a:off x="3247408" y="2236352"/>
            <a:ext cx="23036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indent="-93131" algn="ctr" defTabSz="1219170">
              <a:buClr>
                <a:srgbClr val="000000"/>
              </a:buClr>
              <a:buSzPts val="1100"/>
              <a:buFont typeface="Quattrocento Sans"/>
              <a:buChar char="​"/>
            </a:pPr>
            <a:r>
              <a:rPr lang="en" sz="1200" b="1" i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Pre-trains</a:t>
            </a:r>
            <a:endParaRPr sz="1200" b="1" i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334" name="Google Shape;334;p32"/>
          <p:cNvSpPr txBox="1"/>
          <p:nvPr/>
        </p:nvSpPr>
        <p:spPr>
          <a:xfrm>
            <a:off x="931864" y="2851219"/>
            <a:ext cx="2204400" cy="225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indent="-93131" algn="ctr" defTabSz="1219170">
              <a:buClr>
                <a:srgbClr val="000000"/>
              </a:buClr>
              <a:buSzPts val="1100"/>
              <a:buFont typeface="Quattrocento Sans"/>
              <a:buChar char="​"/>
            </a:pP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Trillions of tokens</a:t>
            </a:r>
            <a:endParaRPr sz="1467" b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grpSp>
        <p:nvGrpSpPr>
          <p:cNvPr id="335" name="Google Shape;335;p32"/>
          <p:cNvGrpSpPr/>
          <p:nvPr/>
        </p:nvGrpSpPr>
        <p:grpSpPr>
          <a:xfrm>
            <a:off x="2039204" y="1905234"/>
            <a:ext cx="541200" cy="619053"/>
            <a:chOff x="5363839" y="1933953"/>
            <a:chExt cx="505794" cy="578555"/>
          </a:xfrm>
        </p:grpSpPr>
        <p:sp>
          <p:nvSpPr>
            <p:cNvPr id="336" name="Google Shape;336;p32"/>
            <p:cNvSpPr/>
            <p:nvPr/>
          </p:nvSpPr>
          <p:spPr>
            <a:xfrm>
              <a:off x="5380715" y="2388984"/>
              <a:ext cx="472049" cy="123523"/>
            </a:xfrm>
            <a:custGeom>
              <a:avLst/>
              <a:gdLst/>
              <a:ahLst/>
              <a:cxnLst/>
              <a:rect l="l" t="t" r="r" b="b"/>
              <a:pathLst>
                <a:path w="256200" h="67041" extrusionOk="0">
                  <a:moveTo>
                    <a:pt x="256200" y="33521"/>
                  </a:moveTo>
                  <a:cubicBezTo>
                    <a:pt x="256200" y="52034"/>
                    <a:pt x="198848" y="67042"/>
                    <a:pt x="128100" y="67042"/>
                  </a:cubicBezTo>
                  <a:cubicBezTo>
                    <a:pt x="57352" y="67042"/>
                    <a:pt x="0" y="52034"/>
                    <a:pt x="0" y="33521"/>
                  </a:cubicBezTo>
                  <a:cubicBezTo>
                    <a:pt x="0" y="15008"/>
                    <a:pt x="57352" y="0"/>
                    <a:pt x="128100" y="0"/>
                  </a:cubicBezTo>
                  <a:cubicBezTo>
                    <a:pt x="198848" y="0"/>
                    <a:pt x="256200" y="15008"/>
                    <a:pt x="25620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37" name="Google Shape;337;p32"/>
            <p:cNvSpPr/>
            <p:nvPr/>
          </p:nvSpPr>
          <p:spPr>
            <a:xfrm>
              <a:off x="5380715" y="2388985"/>
              <a:ext cx="236024" cy="123523"/>
            </a:xfrm>
            <a:custGeom>
              <a:avLst/>
              <a:gdLst/>
              <a:ahLst/>
              <a:cxnLst/>
              <a:rect l="l" t="t" r="r" b="b"/>
              <a:pathLst>
                <a:path w="128100" h="67041" extrusionOk="0">
                  <a:moveTo>
                    <a:pt x="0" y="33521"/>
                  </a:moveTo>
                  <a:cubicBezTo>
                    <a:pt x="0" y="52032"/>
                    <a:pt x="57351" y="67042"/>
                    <a:pt x="128100" y="67042"/>
                  </a:cubicBezTo>
                  <a:lnTo>
                    <a:pt x="128100" y="0"/>
                  </a:lnTo>
                  <a:cubicBezTo>
                    <a:pt x="57351" y="0"/>
                    <a:pt x="0" y="15010"/>
                    <a:pt x="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38" name="Google Shape;338;p32"/>
            <p:cNvSpPr/>
            <p:nvPr/>
          </p:nvSpPr>
          <p:spPr>
            <a:xfrm>
              <a:off x="5363839" y="2237318"/>
              <a:ext cx="505794" cy="255284"/>
            </a:xfrm>
            <a:custGeom>
              <a:avLst/>
              <a:gdLst/>
              <a:ahLst/>
              <a:cxnLst/>
              <a:rect l="l" t="t" r="r" b="b"/>
              <a:pathLst>
                <a:path w="274515" h="138553" extrusionOk="0">
                  <a:moveTo>
                    <a:pt x="274516" y="40225"/>
                  </a:moveTo>
                  <a:lnTo>
                    <a:pt x="274516" y="98328"/>
                  </a:lnTo>
                  <a:cubicBezTo>
                    <a:pt x="274516" y="120552"/>
                    <a:pt x="213067" y="138553"/>
                    <a:pt x="137258" y="138553"/>
                  </a:cubicBezTo>
                  <a:cubicBezTo>
                    <a:pt x="61449" y="138553"/>
                    <a:pt x="0" y="120535"/>
                    <a:pt x="0" y="98328"/>
                  </a:cubicBezTo>
                  <a:lnTo>
                    <a:pt x="0" y="40225"/>
                  </a:lnTo>
                  <a:cubicBezTo>
                    <a:pt x="0" y="18001"/>
                    <a:pt x="61449" y="0"/>
                    <a:pt x="137258" y="0"/>
                  </a:cubicBezTo>
                  <a:cubicBezTo>
                    <a:pt x="213067" y="0"/>
                    <a:pt x="274516" y="18001"/>
                    <a:pt x="274516" y="40225"/>
                  </a:cubicBezTo>
                  <a:close/>
                </a:path>
              </a:pathLst>
            </a:custGeom>
            <a:solidFill>
              <a:srgbClr val="8D8D8D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39" name="Google Shape;339;p32"/>
            <p:cNvSpPr/>
            <p:nvPr/>
          </p:nvSpPr>
          <p:spPr>
            <a:xfrm>
              <a:off x="5363839" y="2237318"/>
              <a:ext cx="252896" cy="255284"/>
            </a:xfrm>
            <a:custGeom>
              <a:avLst/>
              <a:gdLst/>
              <a:ahLst/>
              <a:cxnLst/>
              <a:rect l="l" t="t" r="r" b="b"/>
              <a:pathLst>
                <a:path w="137257" h="138553" extrusionOk="0">
                  <a:moveTo>
                    <a:pt x="0" y="40225"/>
                  </a:moveTo>
                  <a:lnTo>
                    <a:pt x="0" y="98328"/>
                  </a:lnTo>
                  <a:cubicBezTo>
                    <a:pt x="0" y="120552"/>
                    <a:pt x="61449" y="138553"/>
                    <a:pt x="137258" y="138553"/>
                  </a:cubicBezTo>
                  <a:lnTo>
                    <a:pt x="137258" y="0"/>
                  </a:lnTo>
                  <a:cubicBezTo>
                    <a:pt x="61449" y="0"/>
                    <a:pt x="0" y="18001"/>
                    <a:pt x="0" y="40225"/>
                  </a:cubicBez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40" name="Google Shape;340;p32"/>
            <p:cNvSpPr/>
            <p:nvPr/>
          </p:nvSpPr>
          <p:spPr>
            <a:xfrm>
              <a:off x="5363839" y="2237318"/>
              <a:ext cx="505794" cy="148229"/>
            </a:xfrm>
            <a:custGeom>
              <a:avLst/>
              <a:gdLst/>
              <a:ahLst/>
              <a:cxnLst/>
              <a:rect l="l" t="t" r="r" b="b"/>
              <a:pathLst>
                <a:path w="274515" h="80450" extrusionOk="0">
                  <a:moveTo>
                    <a:pt x="274516" y="40225"/>
                  </a:moveTo>
                  <a:cubicBezTo>
                    <a:pt x="274516" y="62449"/>
                    <a:pt x="213067" y="80450"/>
                    <a:pt x="137258" y="80450"/>
                  </a:cubicBezTo>
                  <a:cubicBezTo>
                    <a:pt x="61449" y="80450"/>
                    <a:pt x="0" y="62432"/>
                    <a:pt x="0" y="40225"/>
                  </a:cubicBezTo>
                  <a:cubicBezTo>
                    <a:pt x="0" y="18019"/>
                    <a:pt x="61449" y="0"/>
                    <a:pt x="137258" y="0"/>
                  </a:cubicBezTo>
                  <a:cubicBezTo>
                    <a:pt x="213067" y="0"/>
                    <a:pt x="274516" y="18001"/>
                    <a:pt x="274516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41" name="Google Shape;341;p32"/>
            <p:cNvSpPr/>
            <p:nvPr/>
          </p:nvSpPr>
          <p:spPr>
            <a:xfrm>
              <a:off x="5363839" y="2237318"/>
              <a:ext cx="252896" cy="148229"/>
            </a:xfrm>
            <a:custGeom>
              <a:avLst/>
              <a:gdLst/>
              <a:ahLst/>
              <a:cxnLst/>
              <a:rect l="l" t="t" r="r" b="b"/>
              <a:pathLst>
                <a:path w="137257" h="80450" extrusionOk="0">
                  <a:moveTo>
                    <a:pt x="0" y="40225"/>
                  </a:moveTo>
                  <a:cubicBezTo>
                    <a:pt x="0" y="62449"/>
                    <a:pt x="61449" y="80450"/>
                    <a:pt x="137258" y="80450"/>
                  </a:cubicBezTo>
                  <a:lnTo>
                    <a:pt x="137258" y="0"/>
                  </a:lnTo>
                  <a:cubicBezTo>
                    <a:pt x="61449" y="0"/>
                    <a:pt x="0" y="18001"/>
                    <a:pt x="0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42" name="Google Shape;342;p32"/>
            <p:cNvSpPr/>
            <p:nvPr/>
          </p:nvSpPr>
          <p:spPr>
            <a:xfrm>
              <a:off x="5380715" y="2237318"/>
              <a:ext cx="472049" cy="123523"/>
            </a:xfrm>
            <a:custGeom>
              <a:avLst/>
              <a:gdLst/>
              <a:ahLst/>
              <a:cxnLst/>
              <a:rect l="l" t="t" r="r" b="b"/>
              <a:pathLst>
                <a:path w="256200" h="67041" extrusionOk="0">
                  <a:moveTo>
                    <a:pt x="256200" y="33521"/>
                  </a:moveTo>
                  <a:cubicBezTo>
                    <a:pt x="256200" y="52034"/>
                    <a:pt x="198848" y="67042"/>
                    <a:pt x="128100" y="67042"/>
                  </a:cubicBezTo>
                  <a:cubicBezTo>
                    <a:pt x="57352" y="67042"/>
                    <a:pt x="0" y="52034"/>
                    <a:pt x="0" y="33521"/>
                  </a:cubicBezTo>
                  <a:cubicBezTo>
                    <a:pt x="0" y="15008"/>
                    <a:pt x="57352" y="0"/>
                    <a:pt x="128100" y="0"/>
                  </a:cubicBezTo>
                  <a:cubicBezTo>
                    <a:pt x="198848" y="0"/>
                    <a:pt x="256200" y="15008"/>
                    <a:pt x="25620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43" name="Google Shape;343;p32"/>
            <p:cNvSpPr/>
            <p:nvPr/>
          </p:nvSpPr>
          <p:spPr>
            <a:xfrm>
              <a:off x="5380715" y="2237318"/>
              <a:ext cx="236024" cy="123523"/>
            </a:xfrm>
            <a:custGeom>
              <a:avLst/>
              <a:gdLst/>
              <a:ahLst/>
              <a:cxnLst/>
              <a:rect l="l" t="t" r="r" b="b"/>
              <a:pathLst>
                <a:path w="128100" h="67041" extrusionOk="0">
                  <a:moveTo>
                    <a:pt x="0" y="33521"/>
                  </a:moveTo>
                  <a:cubicBezTo>
                    <a:pt x="0" y="52032"/>
                    <a:pt x="57351" y="67042"/>
                    <a:pt x="128100" y="67042"/>
                  </a:cubicBezTo>
                  <a:lnTo>
                    <a:pt x="128100" y="0"/>
                  </a:lnTo>
                  <a:cubicBezTo>
                    <a:pt x="57351" y="0"/>
                    <a:pt x="0" y="15010"/>
                    <a:pt x="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44" name="Google Shape;344;p32"/>
            <p:cNvSpPr/>
            <p:nvPr/>
          </p:nvSpPr>
          <p:spPr>
            <a:xfrm>
              <a:off x="5407375" y="2384379"/>
              <a:ext cx="110198" cy="46134"/>
            </a:xfrm>
            <a:custGeom>
              <a:avLst/>
              <a:gdLst/>
              <a:ahLst/>
              <a:cxnLst/>
              <a:rect l="l" t="t" r="r" b="b"/>
              <a:pathLst>
                <a:path w="59809" h="25039" extrusionOk="0">
                  <a:moveTo>
                    <a:pt x="59810" y="18652"/>
                  </a:moveTo>
                  <a:cubicBezTo>
                    <a:pt x="59810" y="22189"/>
                    <a:pt x="56888" y="25040"/>
                    <a:pt x="53271" y="25040"/>
                  </a:cubicBezTo>
                  <a:cubicBezTo>
                    <a:pt x="49654" y="25040"/>
                    <a:pt x="46732" y="22171"/>
                    <a:pt x="46732" y="18652"/>
                  </a:cubicBezTo>
                  <a:cubicBezTo>
                    <a:pt x="46732" y="15133"/>
                    <a:pt x="49654" y="12265"/>
                    <a:pt x="53271" y="12265"/>
                  </a:cubicBezTo>
                  <a:cubicBezTo>
                    <a:pt x="56888" y="12265"/>
                    <a:pt x="59810" y="15133"/>
                    <a:pt x="59810" y="18652"/>
                  </a:cubicBezTo>
                  <a:close/>
                  <a:moveTo>
                    <a:pt x="29094" y="7514"/>
                  </a:moveTo>
                  <a:cubicBezTo>
                    <a:pt x="25477" y="7514"/>
                    <a:pt x="22556" y="10382"/>
                    <a:pt x="22556" y="13901"/>
                  </a:cubicBezTo>
                  <a:cubicBezTo>
                    <a:pt x="22556" y="17420"/>
                    <a:pt x="25477" y="20289"/>
                    <a:pt x="29094" y="20289"/>
                  </a:cubicBezTo>
                  <a:cubicBezTo>
                    <a:pt x="32711" y="20289"/>
                    <a:pt x="35633" y="17420"/>
                    <a:pt x="35633" y="13901"/>
                  </a:cubicBezTo>
                  <a:cubicBezTo>
                    <a:pt x="35633" y="10382"/>
                    <a:pt x="32711" y="7514"/>
                    <a:pt x="29094" y="7514"/>
                  </a:cubicBezTo>
                  <a:close/>
                  <a:moveTo>
                    <a:pt x="6539" y="0"/>
                  </a:moveTo>
                  <a:cubicBezTo>
                    <a:pt x="2922" y="0"/>
                    <a:pt x="0" y="2868"/>
                    <a:pt x="0" y="6387"/>
                  </a:cubicBezTo>
                  <a:cubicBezTo>
                    <a:pt x="0" y="9907"/>
                    <a:pt x="2922" y="12775"/>
                    <a:pt x="6539" y="12775"/>
                  </a:cubicBezTo>
                  <a:cubicBezTo>
                    <a:pt x="10155" y="12775"/>
                    <a:pt x="13077" y="9907"/>
                    <a:pt x="13077" y="6387"/>
                  </a:cubicBezTo>
                  <a:cubicBezTo>
                    <a:pt x="13077" y="2868"/>
                    <a:pt x="10155" y="0"/>
                    <a:pt x="65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45" name="Google Shape;345;p32"/>
            <p:cNvSpPr/>
            <p:nvPr/>
          </p:nvSpPr>
          <p:spPr>
            <a:xfrm>
              <a:off x="5363839" y="2085618"/>
              <a:ext cx="505794" cy="255284"/>
            </a:xfrm>
            <a:custGeom>
              <a:avLst/>
              <a:gdLst/>
              <a:ahLst/>
              <a:cxnLst/>
              <a:rect l="l" t="t" r="r" b="b"/>
              <a:pathLst>
                <a:path w="274515" h="138553" extrusionOk="0">
                  <a:moveTo>
                    <a:pt x="274516" y="40225"/>
                  </a:moveTo>
                  <a:lnTo>
                    <a:pt x="274516" y="98328"/>
                  </a:lnTo>
                  <a:cubicBezTo>
                    <a:pt x="274516" y="120552"/>
                    <a:pt x="213067" y="138553"/>
                    <a:pt x="137258" y="138553"/>
                  </a:cubicBezTo>
                  <a:cubicBezTo>
                    <a:pt x="61449" y="138553"/>
                    <a:pt x="0" y="120552"/>
                    <a:pt x="0" y="98328"/>
                  </a:cubicBezTo>
                  <a:lnTo>
                    <a:pt x="0" y="40225"/>
                  </a:lnTo>
                  <a:cubicBezTo>
                    <a:pt x="0" y="18001"/>
                    <a:pt x="61449" y="0"/>
                    <a:pt x="137258" y="0"/>
                  </a:cubicBezTo>
                  <a:cubicBezTo>
                    <a:pt x="213067" y="0"/>
                    <a:pt x="274516" y="18001"/>
                    <a:pt x="274516" y="40225"/>
                  </a:cubicBezTo>
                  <a:close/>
                </a:path>
              </a:pathLst>
            </a:custGeom>
            <a:solidFill>
              <a:srgbClr val="8D8D8D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46" name="Google Shape;346;p32"/>
            <p:cNvSpPr/>
            <p:nvPr/>
          </p:nvSpPr>
          <p:spPr>
            <a:xfrm>
              <a:off x="5363839" y="2085618"/>
              <a:ext cx="252896" cy="255284"/>
            </a:xfrm>
            <a:custGeom>
              <a:avLst/>
              <a:gdLst/>
              <a:ahLst/>
              <a:cxnLst/>
              <a:rect l="l" t="t" r="r" b="b"/>
              <a:pathLst>
                <a:path w="137257" h="138553" extrusionOk="0">
                  <a:moveTo>
                    <a:pt x="0" y="40225"/>
                  </a:moveTo>
                  <a:lnTo>
                    <a:pt x="0" y="98328"/>
                  </a:lnTo>
                  <a:cubicBezTo>
                    <a:pt x="0" y="120552"/>
                    <a:pt x="61449" y="138553"/>
                    <a:pt x="137258" y="138553"/>
                  </a:cubicBezTo>
                  <a:lnTo>
                    <a:pt x="137258" y="0"/>
                  </a:lnTo>
                  <a:cubicBezTo>
                    <a:pt x="61449" y="0"/>
                    <a:pt x="0" y="18019"/>
                    <a:pt x="0" y="40225"/>
                  </a:cubicBez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47" name="Google Shape;347;p32"/>
            <p:cNvSpPr/>
            <p:nvPr/>
          </p:nvSpPr>
          <p:spPr>
            <a:xfrm>
              <a:off x="5363839" y="2085618"/>
              <a:ext cx="505794" cy="148229"/>
            </a:xfrm>
            <a:custGeom>
              <a:avLst/>
              <a:gdLst/>
              <a:ahLst/>
              <a:cxnLst/>
              <a:rect l="l" t="t" r="r" b="b"/>
              <a:pathLst>
                <a:path w="274515" h="80450" extrusionOk="0">
                  <a:moveTo>
                    <a:pt x="274516" y="40225"/>
                  </a:moveTo>
                  <a:cubicBezTo>
                    <a:pt x="274516" y="62441"/>
                    <a:pt x="213063" y="80450"/>
                    <a:pt x="137258" y="80450"/>
                  </a:cubicBezTo>
                  <a:cubicBezTo>
                    <a:pt x="61452" y="80450"/>
                    <a:pt x="0" y="62441"/>
                    <a:pt x="0" y="40225"/>
                  </a:cubicBezTo>
                  <a:cubicBezTo>
                    <a:pt x="0" y="18009"/>
                    <a:pt x="61452" y="0"/>
                    <a:pt x="137258" y="0"/>
                  </a:cubicBezTo>
                  <a:cubicBezTo>
                    <a:pt x="213063" y="0"/>
                    <a:pt x="274516" y="18009"/>
                    <a:pt x="274516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48" name="Google Shape;348;p32"/>
            <p:cNvSpPr/>
            <p:nvPr/>
          </p:nvSpPr>
          <p:spPr>
            <a:xfrm>
              <a:off x="5363839" y="2085618"/>
              <a:ext cx="252896" cy="148229"/>
            </a:xfrm>
            <a:custGeom>
              <a:avLst/>
              <a:gdLst/>
              <a:ahLst/>
              <a:cxnLst/>
              <a:rect l="l" t="t" r="r" b="b"/>
              <a:pathLst>
                <a:path w="137257" h="80450" extrusionOk="0">
                  <a:moveTo>
                    <a:pt x="0" y="40225"/>
                  </a:moveTo>
                  <a:cubicBezTo>
                    <a:pt x="0" y="62432"/>
                    <a:pt x="61449" y="80450"/>
                    <a:pt x="137258" y="80450"/>
                  </a:cubicBezTo>
                  <a:lnTo>
                    <a:pt x="137258" y="0"/>
                  </a:lnTo>
                  <a:cubicBezTo>
                    <a:pt x="61449" y="0"/>
                    <a:pt x="0" y="18019"/>
                    <a:pt x="0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49" name="Google Shape;349;p32"/>
            <p:cNvSpPr/>
            <p:nvPr/>
          </p:nvSpPr>
          <p:spPr>
            <a:xfrm>
              <a:off x="5380715" y="2085618"/>
              <a:ext cx="472049" cy="123523"/>
            </a:xfrm>
            <a:custGeom>
              <a:avLst/>
              <a:gdLst/>
              <a:ahLst/>
              <a:cxnLst/>
              <a:rect l="l" t="t" r="r" b="b"/>
              <a:pathLst>
                <a:path w="256200" h="67041" extrusionOk="0">
                  <a:moveTo>
                    <a:pt x="256200" y="33521"/>
                  </a:moveTo>
                  <a:cubicBezTo>
                    <a:pt x="256200" y="52034"/>
                    <a:pt x="198848" y="67042"/>
                    <a:pt x="128100" y="67042"/>
                  </a:cubicBezTo>
                  <a:cubicBezTo>
                    <a:pt x="57352" y="67042"/>
                    <a:pt x="0" y="52034"/>
                    <a:pt x="0" y="33521"/>
                  </a:cubicBezTo>
                  <a:cubicBezTo>
                    <a:pt x="0" y="15008"/>
                    <a:pt x="57352" y="0"/>
                    <a:pt x="128100" y="0"/>
                  </a:cubicBezTo>
                  <a:cubicBezTo>
                    <a:pt x="198848" y="0"/>
                    <a:pt x="256200" y="15008"/>
                    <a:pt x="25620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50" name="Google Shape;350;p32"/>
            <p:cNvSpPr/>
            <p:nvPr/>
          </p:nvSpPr>
          <p:spPr>
            <a:xfrm>
              <a:off x="5380715" y="2085618"/>
              <a:ext cx="236024" cy="123523"/>
            </a:xfrm>
            <a:custGeom>
              <a:avLst/>
              <a:gdLst/>
              <a:ahLst/>
              <a:cxnLst/>
              <a:rect l="l" t="t" r="r" b="b"/>
              <a:pathLst>
                <a:path w="128100" h="67041" extrusionOk="0">
                  <a:moveTo>
                    <a:pt x="0" y="33521"/>
                  </a:moveTo>
                  <a:cubicBezTo>
                    <a:pt x="0" y="52032"/>
                    <a:pt x="57351" y="67042"/>
                    <a:pt x="128100" y="67042"/>
                  </a:cubicBezTo>
                  <a:lnTo>
                    <a:pt x="128100" y="0"/>
                  </a:lnTo>
                  <a:cubicBezTo>
                    <a:pt x="57351" y="0"/>
                    <a:pt x="0" y="15010"/>
                    <a:pt x="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51" name="Google Shape;351;p32"/>
            <p:cNvSpPr/>
            <p:nvPr/>
          </p:nvSpPr>
          <p:spPr>
            <a:xfrm>
              <a:off x="5407375" y="2232681"/>
              <a:ext cx="110198" cy="46134"/>
            </a:xfrm>
            <a:custGeom>
              <a:avLst/>
              <a:gdLst/>
              <a:ahLst/>
              <a:cxnLst/>
              <a:rect l="l" t="t" r="r" b="b"/>
              <a:pathLst>
                <a:path w="59809" h="25039" extrusionOk="0">
                  <a:moveTo>
                    <a:pt x="59810" y="18652"/>
                  </a:moveTo>
                  <a:cubicBezTo>
                    <a:pt x="59810" y="22189"/>
                    <a:pt x="56888" y="25040"/>
                    <a:pt x="53271" y="25040"/>
                  </a:cubicBezTo>
                  <a:cubicBezTo>
                    <a:pt x="49654" y="25040"/>
                    <a:pt x="46732" y="22171"/>
                    <a:pt x="46732" y="18652"/>
                  </a:cubicBezTo>
                  <a:cubicBezTo>
                    <a:pt x="46732" y="15133"/>
                    <a:pt x="49654" y="12265"/>
                    <a:pt x="53271" y="12265"/>
                  </a:cubicBezTo>
                  <a:cubicBezTo>
                    <a:pt x="56888" y="12265"/>
                    <a:pt x="59810" y="15133"/>
                    <a:pt x="59810" y="18652"/>
                  </a:cubicBezTo>
                  <a:close/>
                  <a:moveTo>
                    <a:pt x="29094" y="7514"/>
                  </a:moveTo>
                  <a:cubicBezTo>
                    <a:pt x="25477" y="7514"/>
                    <a:pt x="22556" y="10382"/>
                    <a:pt x="22556" y="13901"/>
                  </a:cubicBezTo>
                  <a:cubicBezTo>
                    <a:pt x="22556" y="17420"/>
                    <a:pt x="25477" y="20289"/>
                    <a:pt x="29094" y="20289"/>
                  </a:cubicBezTo>
                  <a:cubicBezTo>
                    <a:pt x="32711" y="20289"/>
                    <a:pt x="35633" y="17420"/>
                    <a:pt x="35633" y="13901"/>
                  </a:cubicBezTo>
                  <a:cubicBezTo>
                    <a:pt x="35633" y="10382"/>
                    <a:pt x="32711" y="7514"/>
                    <a:pt x="29094" y="7514"/>
                  </a:cubicBezTo>
                  <a:close/>
                  <a:moveTo>
                    <a:pt x="6539" y="0"/>
                  </a:moveTo>
                  <a:cubicBezTo>
                    <a:pt x="2922" y="0"/>
                    <a:pt x="0" y="2868"/>
                    <a:pt x="0" y="6387"/>
                  </a:cubicBezTo>
                  <a:cubicBezTo>
                    <a:pt x="0" y="9907"/>
                    <a:pt x="2922" y="12775"/>
                    <a:pt x="6539" y="12775"/>
                  </a:cubicBezTo>
                  <a:cubicBezTo>
                    <a:pt x="10155" y="12775"/>
                    <a:pt x="13077" y="9907"/>
                    <a:pt x="13077" y="6387"/>
                  </a:cubicBezTo>
                  <a:cubicBezTo>
                    <a:pt x="13077" y="2868"/>
                    <a:pt x="10155" y="0"/>
                    <a:pt x="65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52" name="Google Shape;352;p32"/>
            <p:cNvSpPr/>
            <p:nvPr/>
          </p:nvSpPr>
          <p:spPr>
            <a:xfrm>
              <a:off x="5363839" y="1933953"/>
              <a:ext cx="505794" cy="255284"/>
            </a:xfrm>
            <a:custGeom>
              <a:avLst/>
              <a:gdLst/>
              <a:ahLst/>
              <a:cxnLst/>
              <a:rect l="l" t="t" r="r" b="b"/>
              <a:pathLst>
                <a:path w="274515" h="138553" extrusionOk="0">
                  <a:moveTo>
                    <a:pt x="274516" y="40225"/>
                  </a:moveTo>
                  <a:lnTo>
                    <a:pt x="274516" y="98328"/>
                  </a:lnTo>
                  <a:cubicBezTo>
                    <a:pt x="274516" y="120552"/>
                    <a:pt x="213067" y="138553"/>
                    <a:pt x="137258" y="138553"/>
                  </a:cubicBezTo>
                  <a:cubicBezTo>
                    <a:pt x="61449" y="138553"/>
                    <a:pt x="0" y="120535"/>
                    <a:pt x="0" y="98328"/>
                  </a:cubicBezTo>
                  <a:lnTo>
                    <a:pt x="0" y="40225"/>
                  </a:lnTo>
                  <a:cubicBezTo>
                    <a:pt x="0" y="18001"/>
                    <a:pt x="61449" y="0"/>
                    <a:pt x="137258" y="0"/>
                  </a:cubicBezTo>
                  <a:cubicBezTo>
                    <a:pt x="213067" y="0"/>
                    <a:pt x="274516" y="18001"/>
                    <a:pt x="274516" y="40225"/>
                  </a:cubicBezTo>
                  <a:close/>
                </a:path>
              </a:pathLst>
            </a:custGeom>
            <a:solidFill>
              <a:srgbClr val="8D8D8D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53" name="Google Shape;353;p32"/>
            <p:cNvSpPr/>
            <p:nvPr/>
          </p:nvSpPr>
          <p:spPr>
            <a:xfrm>
              <a:off x="5363839" y="1933954"/>
              <a:ext cx="252896" cy="255284"/>
            </a:xfrm>
            <a:custGeom>
              <a:avLst/>
              <a:gdLst/>
              <a:ahLst/>
              <a:cxnLst/>
              <a:rect l="l" t="t" r="r" b="b"/>
              <a:pathLst>
                <a:path w="137257" h="138553" extrusionOk="0">
                  <a:moveTo>
                    <a:pt x="0" y="40225"/>
                  </a:moveTo>
                  <a:lnTo>
                    <a:pt x="0" y="98328"/>
                  </a:lnTo>
                  <a:cubicBezTo>
                    <a:pt x="0" y="120552"/>
                    <a:pt x="61449" y="138553"/>
                    <a:pt x="137258" y="138553"/>
                  </a:cubicBezTo>
                  <a:lnTo>
                    <a:pt x="137258" y="0"/>
                  </a:lnTo>
                  <a:cubicBezTo>
                    <a:pt x="61449" y="0"/>
                    <a:pt x="0" y="18001"/>
                    <a:pt x="0" y="40225"/>
                  </a:cubicBez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54" name="Google Shape;354;p32"/>
            <p:cNvSpPr/>
            <p:nvPr/>
          </p:nvSpPr>
          <p:spPr>
            <a:xfrm>
              <a:off x="5363839" y="1933955"/>
              <a:ext cx="252896" cy="148229"/>
            </a:xfrm>
            <a:custGeom>
              <a:avLst/>
              <a:gdLst/>
              <a:ahLst/>
              <a:cxnLst/>
              <a:rect l="l" t="t" r="r" b="b"/>
              <a:pathLst>
                <a:path w="137257" h="80450" extrusionOk="0">
                  <a:moveTo>
                    <a:pt x="0" y="40225"/>
                  </a:moveTo>
                  <a:cubicBezTo>
                    <a:pt x="0" y="62432"/>
                    <a:pt x="61449" y="80450"/>
                    <a:pt x="137258" y="80450"/>
                  </a:cubicBezTo>
                  <a:lnTo>
                    <a:pt x="137258" y="0"/>
                  </a:lnTo>
                  <a:cubicBezTo>
                    <a:pt x="61449" y="0"/>
                    <a:pt x="0" y="18001"/>
                    <a:pt x="0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55" name="Google Shape;355;p32"/>
            <p:cNvSpPr/>
            <p:nvPr/>
          </p:nvSpPr>
          <p:spPr>
            <a:xfrm>
              <a:off x="5380715" y="1933954"/>
              <a:ext cx="472049" cy="123523"/>
            </a:xfrm>
            <a:custGeom>
              <a:avLst/>
              <a:gdLst/>
              <a:ahLst/>
              <a:cxnLst/>
              <a:rect l="l" t="t" r="r" b="b"/>
              <a:pathLst>
                <a:path w="256200" h="67041" extrusionOk="0">
                  <a:moveTo>
                    <a:pt x="256200" y="33521"/>
                  </a:moveTo>
                  <a:cubicBezTo>
                    <a:pt x="256200" y="52034"/>
                    <a:pt x="198848" y="67042"/>
                    <a:pt x="128100" y="67042"/>
                  </a:cubicBezTo>
                  <a:cubicBezTo>
                    <a:pt x="57352" y="67042"/>
                    <a:pt x="0" y="52034"/>
                    <a:pt x="0" y="33521"/>
                  </a:cubicBezTo>
                  <a:cubicBezTo>
                    <a:pt x="0" y="15008"/>
                    <a:pt x="57352" y="0"/>
                    <a:pt x="128100" y="0"/>
                  </a:cubicBezTo>
                  <a:cubicBezTo>
                    <a:pt x="198848" y="0"/>
                    <a:pt x="256200" y="15008"/>
                    <a:pt x="25620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56" name="Google Shape;356;p32"/>
            <p:cNvSpPr/>
            <p:nvPr/>
          </p:nvSpPr>
          <p:spPr>
            <a:xfrm>
              <a:off x="5380715" y="1933954"/>
              <a:ext cx="236024" cy="123523"/>
            </a:xfrm>
            <a:custGeom>
              <a:avLst/>
              <a:gdLst/>
              <a:ahLst/>
              <a:cxnLst/>
              <a:rect l="l" t="t" r="r" b="b"/>
              <a:pathLst>
                <a:path w="128100" h="67041" extrusionOk="0">
                  <a:moveTo>
                    <a:pt x="0" y="33521"/>
                  </a:moveTo>
                  <a:cubicBezTo>
                    <a:pt x="0" y="52032"/>
                    <a:pt x="57351" y="67042"/>
                    <a:pt x="128100" y="67042"/>
                  </a:cubicBezTo>
                  <a:lnTo>
                    <a:pt x="128100" y="0"/>
                  </a:lnTo>
                  <a:cubicBezTo>
                    <a:pt x="57351" y="0"/>
                    <a:pt x="0" y="15010"/>
                    <a:pt x="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57" name="Google Shape;357;p32"/>
            <p:cNvSpPr/>
            <p:nvPr/>
          </p:nvSpPr>
          <p:spPr>
            <a:xfrm>
              <a:off x="5407375" y="2080982"/>
              <a:ext cx="110198" cy="46134"/>
            </a:xfrm>
            <a:custGeom>
              <a:avLst/>
              <a:gdLst/>
              <a:ahLst/>
              <a:cxnLst/>
              <a:rect l="l" t="t" r="r" b="b"/>
              <a:pathLst>
                <a:path w="59809" h="25039" extrusionOk="0">
                  <a:moveTo>
                    <a:pt x="59810" y="18652"/>
                  </a:moveTo>
                  <a:cubicBezTo>
                    <a:pt x="59810" y="22189"/>
                    <a:pt x="56888" y="25040"/>
                    <a:pt x="53271" y="25040"/>
                  </a:cubicBezTo>
                  <a:cubicBezTo>
                    <a:pt x="49654" y="25040"/>
                    <a:pt x="46732" y="22171"/>
                    <a:pt x="46732" y="18652"/>
                  </a:cubicBezTo>
                  <a:cubicBezTo>
                    <a:pt x="46732" y="15133"/>
                    <a:pt x="49654" y="12265"/>
                    <a:pt x="53271" y="12265"/>
                  </a:cubicBezTo>
                  <a:cubicBezTo>
                    <a:pt x="56888" y="12265"/>
                    <a:pt x="59810" y="15133"/>
                    <a:pt x="59810" y="18652"/>
                  </a:cubicBezTo>
                  <a:close/>
                  <a:moveTo>
                    <a:pt x="29094" y="7514"/>
                  </a:moveTo>
                  <a:cubicBezTo>
                    <a:pt x="25477" y="7514"/>
                    <a:pt x="22556" y="10382"/>
                    <a:pt x="22556" y="13901"/>
                  </a:cubicBezTo>
                  <a:cubicBezTo>
                    <a:pt x="22556" y="17420"/>
                    <a:pt x="25477" y="20289"/>
                    <a:pt x="29094" y="20289"/>
                  </a:cubicBezTo>
                  <a:cubicBezTo>
                    <a:pt x="32711" y="20289"/>
                    <a:pt x="35633" y="17420"/>
                    <a:pt x="35633" y="13901"/>
                  </a:cubicBezTo>
                  <a:cubicBezTo>
                    <a:pt x="35633" y="10382"/>
                    <a:pt x="32711" y="7514"/>
                    <a:pt x="29094" y="7514"/>
                  </a:cubicBezTo>
                  <a:close/>
                  <a:moveTo>
                    <a:pt x="6539" y="0"/>
                  </a:moveTo>
                  <a:cubicBezTo>
                    <a:pt x="2922" y="0"/>
                    <a:pt x="0" y="2868"/>
                    <a:pt x="0" y="6387"/>
                  </a:cubicBezTo>
                  <a:cubicBezTo>
                    <a:pt x="0" y="9907"/>
                    <a:pt x="2922" y="12775"/>
                    <a:pt x="6539" y="12775"/>
                  </a:cubicBezTo>
                  <a:cubicBezTo>
                    <a:pt x="10155" y="12775"/>
                    <a:pt x="13077" y="9907"/>
                    <a:pt x="13077" y="6387"/>
                  </a:cubicBezTo>
                  <a:cubicBezTo>
                    <a:pt x="13077" y="2868"/>
                    <a:pt x="10155" y="0"/>
                    <a:pt x="65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sp>
        <p:nvSpPr>
          <p:cNvPr id="358" name="Google Shape;358;p32"/>
          <p:cNvSpPr txBox="1"/>
          <p:nvPr/>
        </p:nvSpPr>
        <p:spPr>
          <a:xfrm>
            <a:off x="2812643" y="4751652"/>
            <a:ext cx="23036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indent="-93131" algn="ctr" defTabSz="1219170">
              <a:buClr>
                <a:srgbClr val="000000"/>
              </a:buClr>
              <a:buSzPts val="1100"/>
              <a:buFont typeface="Quattrocento Sans"/>
              <a:buChar char="​"/>
            </a:pPr>
            <a:r>
              <a:rPr lang="en" sz="1200" b="1" i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Sends specific queries</a:t>
            </a:r>
            <a:endParaRPr sz="1200" b="1" i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cxnSp>
        <p:nvCxnSpPr>
          <p:cNvPr id="359" name="Google Shape;359;p32"/>
          <p:cNvCxnSpPr/>
          <p:nvPr/>
        </p:nvCxnSpPr>
        <p:spPr>
          <a:xfrm>
            <a:off x="3169892" y="2509359"/>
            <a:ext cx="282560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60" name="Google Shape;360;p32"/>
          <p:cNvCxnSpPr/>
          <p:nvPr/>
        </p:nvCxnSpPr>
        <p:spPr>
          <a:xfrm>
            <a:off x="2050545" y="5005636"/>
            <a:ext cx="388080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61" name="Google Shape;361;p32"/>
          <p:cNvCxnSpPr/>
          <p:nvPr/>
        </p:nvCxnSpPr>
        <p:spPr>
          <a:xfrm>
            <a:off x="2050545" y="5442307"/>
            <a:ext cx="388080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triangle" w="med" len="med"/>
            <a:tailEnd type="none" w="sm" len="sm"/>
          </a:ln>
        </p:spPr>
      </p:cxnSp>
      <p:sp>
        <p:nvSpPr>
          <p:cNvPr id="362" name="Google Shape;362;p32"/>
          <p:cNvSpPr txBox="1"/>
          <p:nvPr/>
        </p:nvSpPr>
        <p:spPr>
          <a:xfrm>
            <a:off x="2812643" y="5205163"/>
            <a:ext cx="23036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indent="-93131" algn="ctr" defTabSz="1219170">
              <a:buClr>
                <a:srgbClr val="000000"/>
              </a:buClr>
              <a:buSzPts val="1100"/>
              <a:buFont typeface="Quattrocento Sans"/>
              <a:buChar char="​"/>
            </a:pPr>
            <a:r>
              <a:rPr lang="en" sz="1200" b="1" i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Responds</a:t>
            </a:r>
            <a:endParaRPr sz="1200" b="1" i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363" name="Google Shape;363;p32"/>
          <p:cNvSpPr txBox="1"/>
          <p:nvPr/>
        </p:nvSpPr>
        <p:spPr>
          <a:xfrm>
            <a:off x="1156113" y="5661373"/>
            <a:ext cx="894400" cy="225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indent="-93131" defTabSz="1219170">
              <a:buClr>
                <a:srgbClr val="000000"/>
              </a:buClr>
              <a:buSzPts val="1100"/>
              <a:buFont typeface="Quattrocento Sans"/>
              <a:buChar char="​"/>
            </a:pP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User</a:t>
            </a:r>
            <a:endParaRPr sz="1867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grpSp>
        <p:nvGrpSpPr>
          <p:cNvPr id="364" name="Google Shape;364;p32"/>
          <p:cNvGrpSpPr/>
          <p:nvPr/>
        </p:nvGrpSpPr>
        <p:grpSpPr>
          <a:xfrm>
            <a:off x="947265" y="4670088"/>
            <a:ext cx="894283" cy="894283"/>
            <a:chOff x="9037124" y="5391168"/>
            <a:chExt cx="641400" cy="641400"/>
          </a:xfrm>
        </p:grpSpPr>
        <p:grpSp>
          <p:nvGrpSpPr>
            <p:cNvPr id="365" name="Google Shape;365;p32"/>
            <p:cNvGrpSpPr/>
            <p:nvPr/>
          </p:nvGrpSpPr>
          <p:grpSpPr>
            <a:xfrm>
              <a:off x="9130444" y="5427111"/>
              <a:ext cx="477223" cy="600754"/>
              <a:chOff x="10975424" y="2400211"/>
              <a:chExt cx="655616" cy="825324"/>
            </a:xfrm>
          </p:grpSpPr>
          <p:sp>
            <p:nvSpPr>
              <p:cNvPr id="366" name="Google Shape;366;p32"/>
              <p:cNvSpPr/>
              <p:nvPr/>
            </p:nvSpPr>
            <p:spPr>
              <a:xfrm>
                <a:off x="10975424" y="2938633"/>
                <a:ext cx="655616" cy="286902"/>
              </a:xfrm>
              <a:custGeom>
                <a:avLst/>
                <a:gdLst/>
                <a:ahLst/>
                <a:cxnLst/>
                <a:rect l="l" t="t" r="r" b="b"/>
                <a:pathLst>
                  <a:path w="933261" h="408402" extrusionOk="0">
                    <a:moveTo>
                      <a:pt x="675244" y="0"/>
                    </a:moveTo>
                    <a:cubicBezTo>
                      <a:pt x="733513" y="41577"/>
                      <a:pt x="822242" y="80065"/>
                      <a:pt x="885292" y="133824"/>
                    </a:cubicBezTo>
                    <a:lnTo>
                      <a:pt x="933261" y="188309"/>
                    </a:lnTo>
                    <a:lnTo>
                      <a:pt x="910478" y="215922"/>
                    </a:lnTo>
                    <a:cubicBezTo>
                      <a:pt x="791554" y="334846"/>
                      <a:pt x="627262" y="408402"/>
                      <a:pt x="445789" y="408402"/>
                    </a:cubicBezTo>
                    <a:cubicBezTo>
                      <a:pt x="309685" y="408402"/>
                      <a:pt x="183244" y="367027"/>
                      <a:pt x="78359" y="296168"/>
                    </a:cubicBezTo>
                    <a:lnTo>
                      <a:pt x="0" y="231516"/>
                    </a:lnTo>
                    <a:lnTo>
                      <a:pt x="7910" y="215377"/>
                    </a:lnTo>
                    <a:cubicBezTo>
                      <a:pt x="55928" y="140254"/>
                      <a:pt x="163119" y="69572"/>
                      <a:pt x="230822" y="12793"/>
                    </a:cubicBezTo>
                    <a:cubicBezTo>
                      <a:pt x="277905" y="64140"/>
                      <a:pt x="348587" y="106490"/>
                      <a:pt x="483117" y="93289"/>
                    </a:cubicBezTo>
                    <a:cubicBezTo>
                      <a:pt x="593171" y="82482"/>
                      <a:pt x="651820" y="28156"/>
                      <a:pt x="675244" y="0"/>
                    </a:cubicBezTo>
                    <a:close/>
                  </a:path>
                </a:pathLst>
              </a:custGeom>
              <a:solidFill>
                <a:srgbClr val="FF7000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  <a:buSzPts val="800"/>
                </a:pPr>
                <a:endParaRPr sz="1067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endParaRPr>
              </a:p>
            </p:txBody>
          </p:sp>
          <p:sp>
            <p:nvSpPr>
              <p:cNvPr id="367" name="Google Shape;367;p32"/>
              <p:cNvSpPr/>
              <p:nvPr/>
            </p:nvSpPr>
            <p:spPr>
              <a:xfrm>
                <a:off x="11137299" y="2739812"/>
                <a:ext cx="311878" cy="262633"/>
              </a:xfrm>
              <a:custGeom>
                <a:avLst/>
                <a:gdLst/>
                <a:ahLst/>
                <a:cxnLst/>
                <a:rect l="l" t="t" r="r" b="b"/>
                <a:pathLst>
                  <a:path w="443954" h="373855" extrusionOk="0">
                    <a:moveTo>
                      <a:pt x="444422" y="283371"/>
                    </a:moveTo>
                    <a:cubicBezTo>
                      <a:pt x="420997" y="311527"/>
                      <a:pt x="362407" y="365852"/>
                      <a:pt x="252295" y="376659"/>
                    </a:cubicBezTo>
                    <a:cubicBezTo>
                      <a:pt x="117765" y="389861"/>
                      <a:pt x="47083" y="347510"/>
                      <a:pt x="0" y="296163"/>
                    </a:cubicBezTo>
                    <a:cubicBezTo>
                      <a:pt x="27806" y="272856"/>
                      <a:pt x="48952" y="251943"/>
                      <a:pt x="56604" y="233952"/>
                    </a:cubicBezTo>
                    <a:cubicBezTo>
                      <a:pt x="83066" y="172149"/>
                      <a:pt x="75764" y="47082"/>
                      <a:pt x="77225" y="5900"/>
                    </a:cubicBezTo>
                    <a:lnTo>
                      <a:pt x="344999" y="0"/>
                    </a:lnTo>
                    <a:cubicBezTo>
                      <a:pt x="344999" y="0"/>
                      <a:pt x="352360" y="142708"/>
                      <a:pt x="390563" y="226533"/>
                    </a:cubicBezTo>
                    <a:cubicBezTo>
                      <a:pt x="399910" y="247037"/>
                      <a:pt x="419362" y="265496"/>
                      <a:pt x="444422" y="283371"/>
                    </a:cubicBezTo>
                    <a:close/>
                  </a:path>
                </a:pathLst>
              </a:custGeom>
              <a:solidFill>
                <a:srgbClr val="FCD9C9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  <a:buSzPts val="800"/>
                </a:pPr>
                <a:endParaRPr sz="1067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endParaRPr>
              </a:p>
            </p:txBody>
          </p:sp>
          <p:sp>
            <p:nvSpPr>
              <p:cNvPr id="368" name="Google Shape;368;p32"/>
              <p:cNvSpPr/>
              <p:nvPr/>
            </p:nvSpPr>
            <p:spPr>
              <a:xfrm>
                <a:off x="11147485" y="2400211"/>
                <a:ext cx="266737" cy="287255"/>
              </a:xfrm>
              <a:custGeom>
                <a:avLst/>
                <a:gdLst/>
                <a:ahLst/>
                <a:cxnLst/>
                <a:rect l="l" t="t" r="r" b="b"/>
                <a:pathLst>
                  <a:path w="379697" h="408904" extrusionOk="0">
                    <a:moveTo>
                      <a:pt x="182630" y="216"/>
                    </a:moveTo>
                    <a:cubicBezTo>
                      <a:pt x="244433" y="-3523"/>
                      <a:pt x="292217" y="42158"/>
                      <a:pt x="326039" y="74519"/>
                    </a:cubicBezTo>
                    <a:cubicBezTo>
                      <a:pt x="359861" y="106881"/>
                      <a:pt x="387842" y="145844"/>
                      <a:pt x="384162" y="198067"/>
                    </a:cubicBezTo>
                    <a:cubicBezTo>
                      <a:pt x="380482" y="250290"/>
                      <a:pt x="375458" y="299533"/>
                      <a:pt x="375458" y="299533"/>
                    </a:cubicBezTo>
                    <a:cubicBezTo>
                      <a:pt x="375458" y="299533"/>
                      <a:pt x="380482" y="401701"/>
                      <a:pt x="352501" y="405089"/>
                    </a:cubicBezTo>
                    <a:cubicBezTo>
                      <a:pt x="324579" y="408477"/>
                      <a:pt x="62704" y="410639"/>
                      <a:pt x="51663" y="408477"/>
                    </a:cubicBezTo>
                    <a:cubicBezTo>
                      <a:pt x="40623" y="406257"/>
                      <a:pt x="25902" y="317292"/>
                      <a:pt x="19301" y="299592"/>
                    </a:cubicBezTo>
                    <a:cubicBezTo>
                      <a:pt x="12701" y="281951"/>
                      <a:pt x="-8679" y="215708"/>
                      <a:pt x="3880" y="170846"/>
                    </a:cubicBezTo>
                    <a:cubicBezTo>
                      <a:pt x="16381" y="125983"/>
                      <a:pt x="46523" y="84800"/>
                      <a:pt x="76723" y="53899"/>
                    </a:cubicBezTo>
                    <a:cubicBezTo>
                      <a:pt x="106866" y="22997"/>
                      <a:pt x="158329" y="1676"/>
                      <a:pt x="182630" y="216"/>
                    </a:cubicBezTo>
                    <a:close/>
                  </a:path>
                </a:pathLst>
              </a:custGeom>
              <a:solidFill>
                <a:srgbClr val="382222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  <a:buSzPts val="800"/>
                </a:pPr>
                <a:endParaRPr sz="1067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endParaRPr>
              </a:p>
            </p:txBody>
          </p:sp>
          <p:sp>
            <p:nvSpPr>
              <p:cNvPr id="369" name="Google Shape;369;p32"/>
              <p:cNvSpPr/>
              <p:nvPr/>
            </p:nvSpPr>
            <p:spPr>
              <a:xfrm>
                <a:off x="11158836" y="2468881"/>
                <a:ext cx="250323" cy="373431"/>
              </a:xfrm>
              <a:custGeom>
                <a:avLst/>
                <a:gdLst/>
                <a:ahLst/>
                <a:cxnLst/>
                <a:rect l="l" t="t" r="r" b="b"/>
                <a:pathLst>
                  <a:path w="356331" h="531575" extrusionOk="0">
                    <a:moveTo>
                      <a:pt x="3879" y="67812"/>
                    </a:moveTo>
                    <a:cubicBezTo>
                      <a:pt x="15153" y="22657"/>
                      <a:pt x="49268" y="-1351"/>
                      <a:pt x="126726" y="13369"/>
                    </a:cubicBezTo>
                    <a:cubicBezTo>
                      <a:pt x="204184" y="28090"/>
                      <a:pt x="253370" y="12259"/>
                      <a:pt x="276794" y="3088"/>
                    </a:cubicBezTo>
                    <a:cubicBezTo>
                      <a:pt x="310617" y="-10172"/>
                      <a:pt x="343738" y="20730"/>
                      <a:pt x="355479" y="67812"/>
                    </a:cubicBezTo>
                    <a:cubicBezTo>
                      <a:pt x="367221" y="114894"/>
                      <a:pt x="350105" y="188672"/>
                      <a:pt x="343212" y="229855"/>
                    </a:cubicBezTo>
                    <a:cubicBezTo>
                      <a:pt x="336319" y="271037"/>
                      <a:pt x="332405" y="360529"/>
                      <a:pt x="324578" y="398791"/>
                    </a:cubicBezTo>
                    <a:cubicBezTo>
                      <a:pt x="316750" y="437052"/>
                      <a:pt x="252026" y="531918"/>
                      <a:pt x="192151" y="534897"/>
                    </a:cubicBezTo>
                    <a:cubicBezTo>
                      <a:pt x="132334" y="537818"/>
                      <a:pt x="59081" y="437695"/>
                      <a:pt x="47982" y="417191"/>
                    </a:cubicBezTo>
                    <a:cubicBezTo>
                      <a:pt x="28881" y="381909"/>
                      <a:pt x="34489" y="325246"/>
                      <a:pt x="23682" y="266423"/>
                    </a:cubicBezTo>
                    <a:cubicBezTo>
                      <a:pt x="12933" y="207540"/>
                      <a:pt x="-8855" y="118808"/>
                      <a:pt x="3879" y="67812"/>
                    </a:cubicBezTo>
                    <a:close/>
                  </a:path>
                </a:pathLst>
              </a:custGeom>
              <a:solidFill>
                <a:srgbClr val="FCD9C9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  <a:buSzPts val="800"/>
                </a:pPr>
                <a:endParaRPr sz="1067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endParaRPr>
              </a:p>
            </p:txBody>
          </p:sp>
          <p:sp>
            <p:nvSpPr>
              <p:cNvPr id="370" name="Google Shape;370;p32"/>
              <p:cNvSpPr/>
              <p:nvPr/>
            </p:nvSpPr>
            <p:spPr>
              <a:xfrm>
                <a:off x="11394756" y="2610285"/>
                <a:ext cx="45140" cy="73865"/>
              </a:xfrm>
              <a:custGeom>
                <a:avLst/>
                <a:gdLst/>
                <a:ahLst/>
                <a:cxnLst/>
                <a:rect l="l" t="t" r="r" b="b"/>
                <a:pathLst>
                  <a:path w="64256" h="105146" extrusionOk="0">
                    <a:moveTo>
                      <a:pt x="22957" y="59"/>
                    </a:moveTo>
                    <a:cubicBezTo>
                      <a:pt x="22957" y="59"/>
                      <a:pt x="72902" y="-4205"/>
                      <a:pt x="64899" y="59759"/>
                    </a:cubicBezTo>
                    <a:cubicBezTo>
                      <a:pt x="56896" y="123665"/>
                      <a:pt x="0" y="105615"/>
                      <a:pt x="0" y="105615"/>
                    </a:cubicBezTo>
                    <a:lnTo>
                      <a:pt x="22957" y="59"/>
                    </a:lnTo>
                    <a:close/>
                  </a:path>
                </a:pathLst>
              </a:custGeom>
              <a:solidFill>
                <a:srgbClr val="FCD9C9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  <a:buSzPts val="800"/>
                </a:pPr>
                <a:endParaRPr sz="1067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endParaRPr>
              </a:p>
            </p:txBody>
          </p:sp>
          <p:sp>
            <p:nvSpPr>
              <p:cNvPr id="371" name="Google Shape;371;p32"/>
              <p:cNvSpPr/>
              <p:nvPr/>
            </p:nvSpPr>
            <p:spPr>
              <a:xfrm>
                <a:off x="11133494" y="2610285"/>
                <a:ext cx="45140" cy="73865"/>
              </a:xfrm>
              <a:custGeom>
                <a:avLst/>
                <a:gdLst/>
                <a:ahLst/>
                <a:cxnLst/>
                <a:rect l="l" t="t" r="r" b="b"/>
                <a:pathLst>
                  <a:path w="64256" h="105146" extrusionOk="0">
                    <a:moveTo>
                      <a:pt x="42810" y="59"/>
                    </a:moveTo>
                    <a:cubicBezTo>
                      <a:pt x="42810" y="59"/>
                      <a:pt x="-7134" y="-4205"/>
                      <a:pt x="868" y="59759"/>
                    </a:cubicBezTo>
                    <a:cubicBezTo>
                      <a:pt x="8871" y="123723"/>
                      <a:pt x="65768" y="105615"/>
                      <a:pt x="65768" y="105615"/>
                    </a:cubicBezTo>
                    <a:lnTo>
                      <a:pt x="42810" y="59"/>
                    </a:lnTo>
                    <a:close/>
                  </a:path>
                </a:pathLst>
              </a:custGeom>
              <a:solidFill>
                <a:srgbClr val="FCD9C9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  <a:buSzPts val="800"/>
                </a:pPr>
                <a:endParaRPr sz="1067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endParaRPr>
              </a:p>
            </p:txBody>
          </p:sp>
          <p:sp>
            <p:nvSpPr>
              <p:cNvPr id="372" name="Google Shape;372;p32"/>
              <p:cNvSpPr/>
              <p:nvPr/>
            </p:nvSpPr>
            <p:spPr>
              <a:xfrm>
                <a:off x="11191592" y="2705762"/>
                <a:ext cx="192871" cy="135420"/>
              </a:xfrm>
              <a:custGeom>
                <a:avLst/>
                <a:gdLst/>
                <a:ahLst/>
                <a:cxnLst/>
                <a:rect l="l" t="t" r="r" b="b"/>
                <a:pathLst>
                  <a:path w="274550" h="192769" extrusionOk="0">
                    <a:moveTo>
                      <a:pt x="278990" y="55027"/>
                    </a:moveTo>
                    <a:cubicBezTo>
                      <a:pt x="256968" y="41650"/>
                      <a:pt x="181204" y="-1811"/>
                      <a:pt x="130733" y="58"/>
                    </a:cubicBezTo>
                    <a:cubicBezTo>
                      <a:pt x="76407" y="2045"/>
                      <a:pt x="30084" y="46849"/>
                      <a:pt x="0" y="77049"/>
                    </a:cubicBezTo>
                    <a:cubicBezTo>
                      <a:pt x="409" y="77867"/>
                      <a:pt x="818" y="78685"/>
                      <a:pt x="1285" y="79503"/>
                    </a:cubicBezTo>
                    <a:cubicBezTo>
                      <a:pt x="12384" y="100006"/>
                      <a:pt x="85636" y="200129"/>
                      <a:pt x="145454" y="197209"/>
                    </a:cubicBezTo>
                    <a:cubicBezTo>
                      <a:pt x="205271" y="194288"/>
                      <a:pt x="269994" y="99364"/>
                      <a:pt x="277880" y="61102"/>
                    </a:cubicBezTo>
                    <a:cubicBezTo>
                      <a:pt x="278289" y="59233"/>
                      <a:pt x="278640" y="57188"/>
                      <a:pt x="278990" y="55027"/>
                    </a:cubicBezTo>
                    <a:close/>
                  </a:path>
                </a:pathLst>
              </a:custGeom>
              <a:solidFill>
                <a:srgbClr val="DAAF96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  <a:buSzPts val="800"/>
                </a:pPr>
                <a:endParaRPr sz="1067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endParaRPr>
              </a:p>
            </p:txBody>
          </p:sp>
          <p:sp>
            <p:nvSpPr>
              <p:cNvPr id="373" name="Google Shape;373;p32"/>
              <p:cNvSpPr/>
              <p:nvPr/>
            </p:nvSpPr>
            <p:spPr>
              <a:xfrm>
                <a:off x="11248757" y="2730560"/>
                <a:ext cx="73866" cy="28725"/>
              </a:xfrm>
              <a:custGeom>
                <a:avLst/>
                <a:gdLst/>
                <a:ahLst/>
                <a:cxnLst/>
                <a:rect l="l" t="t" r="r" b="b"/>
                <a:pathLst>
                  <a:path w="105147" h="40890" extrusionOk="0">
                    <a:moveTo>
                      <a:pt x="0" y="8637"/>
                    </a:moveTo>
                    <a:cubicBezTo>
                      <a:pt x="-116" y="28147"/>
                      <a:pt x="23542" y="44095"/>
                      <a:pt x="52749" y="44212"/>
                    </a:cubicBezTo>
                    <a:cubicBezTo>
                      <a:pt x="82015" y="44387"/>
                      <a:pt x="105790" y="28673"/>
                      <a:pt x="105907" y="9163"/>
                    </a:cubicBezTo>
                    <a:cubicBezTo>
                      <a:pt x="106024" y="-10348"/>
                      <a:pt x="83943" y="9046"/>
                      <a:pt x="54735" y="8871"/>
                    </a:cubicBezTo>
                    <a:cubicBezTo>
                      <a:pt x="25469" y="8754"/>
                      <a:pt x="117" y="-10874"/>
                      <a:pt x="0" y="86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  <a:buSzPts val="800"/>
                </a:pPr>
                <a:endParaRPr sz="1067" kern="0">
                  <a:solidFill>
                    <a:srgbClr val="000000"/>
                  </a:solidFill>
                  <a:latin typeface="Sora"/>
                  <a:ea typeface="Sora"/>
                  <a:cs typeface="Sora"/>
                  <a:sym typeface="Sora"/>
                </a:endParaRPr>
              </a:p>
            </p:txBody>
          </p:sp>
        </p:grpSp>
        <p:sp>
          <p:nvSpPr>
            <p:cNvPr id="374" name="Google Shape;374;p32"/>
            <p:cNvSpPr/>
            <p:nvPr/>
          </p:nvSpPr>
          <p:spPr>
            <a:xfrm>
              <a:off x="9037124" y="5391168"/>
              <a:ext cx="641400" cy="641400"/>
            </a:xfrm>
            <a:prstGeom prst="flowChartConnector">
              <a:avLst/>
            </a:prstGeom>
            <a:noFill/>
            <a:ln w="9525" cap="sq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sp>
        <p:nvSpPr>
          <p:cNvPr id="375" name="Google Shape;375;p32"/>
          <p:cNvSpPr txBox="1"/>
          <p:nvPr/>
        </p:nvSpPr>
        <p:spPr>
          <a:xfrm>
            <a:off x="8994803" y="4458117"/>
            <a:ext cx="2265200" cy="513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indent="-93131" algn="r" defTabSz="1219170">
              <a:buClr>
                <a:srgbClr val="4285F4"/>
              </a:buClr>
              <a:buSzPts val="1100"/>
              <a:buFont typeface="Quattrocento Sans"/>
              <a:buChar char="​"/>
            </a:pPr>
            <a:r>
              <a:rPr lang="en" sz="1467" b="1" kern="0">
                <a:solidFill>
                  <a:srgbClr val="FF7000"/>
                </a:solidFill>
                <a:latin typeface="Sora"/>
                <a:ea typeface="Sora"/>
                <a:cs typeface="Sora"/>
                <a:sym typeface="Sora"/>
              </a:rPr>
              <a:t>Domain-specific</a:t>
            </a: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 dataset</a:t>
            </a:r>
            <a:br>
              <a:rPr lang="en" sz="12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endParaRPr sz="1867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grpSp>
        <p:nvGrpSpPr>
          <p:cNvPr id="376" name="Google Shape;376;p32"/>
          <p:cNvGrpSpPr/>
          <p:nvPr/>
        </p:nvGrpSpPr>
        <p:grpSpPr>
          <a:xfrm>
            <a:off x="10353682" y="3373615"/>
            <a:ext cx="906463" cy="978388"/>
            <a:chOff x="10939992" y="3357093"/>
            <a:chExt cx="585974" cy="632469"/>
          </a:xfrm>
        </p:grpSpPr>
        <p:sp>
          <p:nvSpPr>
            <p:cNvPr id="377" name="Google Shape;377;p32"/>
            <p:cNvSpPr/>
            <p:nvPr/>
          </p:nvSpPr>
          <p:spPr>
            <a:xfrm>
              <a:off x="11184866" y="3580962"/>
              <a:ext cx="341100" cy="408600"/>
            </a:xfrm>
            <a:prstGeom prst="foldedCorner">
              <a:avLst>
                <a:gd name="adj" fmla="val 32261"/>
              </a:avLst>
            </a:prstGeom>
            <a:solidFill>
              <a:srgbClr val="FEC599"/>
            </a:solidFill>
            <a:ln>
              <a:noFill/>
            </a:ln>
          </p:spPr>
          <p:txBody>
            <a:bodyPr spcFirstLastPara="1" wrap="square" lIns="63500" tIns="64933" rIns="63500" bIns="63500" anchor="t" anchorCtr="0">
              <a:noAutofit/>
            </a:bodyPr>
            <a:lstStyle/>
            <a:p>
              <a:pPr defTabSz="1219170">
                <a:buClr>
                  <a:srgbClr val="FFFFFF"/>
                </a:buClr>
                <a:buSzPts val="800"/>
              </a:pPr>
              <a:endParaRPr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78" name="Google Shape;378;p32"/>
            <p:cNvSpPr/>
            <p:nvPr/>
          </p:nvSpPr>
          <p:spPr>
            <a:xfrm>
              <a:off x="11062429" y="3469026"/>
              <a:ext cx="341100" cy="408600"/>
            </a:xfrm>
            <a:prstGeom prst="foldedCorner">
              <a:avLst>
                <a:gd name="adj" fmla="val 32261"/>
              </a:avLst>
            </a:prstGeom>
            <a:solidFill>
              <a:srgbClr val="FFA966"/>
            </a:solidFill>
            <a:ln>
              <a:noFill/>
            </a:ln>
          </p:spPr>
          <p:txBody>
            <a:bodyPr spcFirstLastPara="1" wrap="square" lIns="63500" tIns="64933" rIns="63500" bIns="63500" anchor="t" anchorCtr="0">
              <a:noAutofit/>
            </a:bodyPr>
            <a:lstStyle/>
            <a:p>
              <a:pPr defTabSz="1219170">
                <a:buClr>
                  <a:srgbClr val="FFFFFF"/>
                </a:buClr>
                <a:buSzPts val="800"/>
              </a:pPr>
              <a:endParaRPr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79" name="Google Shape;379;p32"/>
            <p:cNvSpPr/>
            <p:nvPr/>
          </p:nvSpPr>
          <p:spPr>
            <a:xfrm>
              <a:off x="10939992" y="3357093"/>
              <a:ext cx="341100" cy="408600"/>
            </a:xfrm>
            <a:prstGeom prst="foldedCorner">
              <a:avLst>
                <a:gd name="adj" fmla="val 32261"/>
              </a:avLst>
            </a:prstGeom>
            <a:solidFill>
              <a:srgbClr val="FF7000"/>
            </a:solidFill>
            <a:ln>
              <a:noFill/>
            </a:ln>
          </p:spPr>
          <p:txBody>
            <a:bodyPr spcFirstLastPara="1" wrap="square" lIns="63500" tIns="64933" rIns="63500" bIns="63500" anchor="t" anchorCtr="0">
              <a:noAutofit/>
            </a:bodyPr>
            <a:lstStyle/>
            <a:p>
              <a:pPr defTabSz="1219170">
                <a:buClr>
                  <a:srgbClr val="FFFFFF"/>
                </a:buClr>
                <a:buSzPts val="800"/>
              </a:pPr>
              <a:endParaRPr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sp>
        <p:nvSpPr>
          <p:cNvPr id="380" name="Google Shape;380;p32"/>
          <p:cNvSpPr txBox="1"/>
          <p:nvPr/>
        </p:nvSpPr>
        <p:spPr>
          <a:xfrm>
            <a:off x="6093377" y="5583299"/>
            <a:ext cx="2884400" cy="389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100"/>
            </a:pPr>
            <a:r>
              <a:rPr lang="en" sz="1467" b="1" kern="0">
                <a:solidFill>
                  <a:srgbClr val="FF7000"/>
                </a:solidFill>
                <a:latin typeface="Sora"/>
                <a:ea typeface="Sora"/>
                <a:cs typeface="Sora"/>
                <a:sym typeface="Sora"/>
              </a:rPr>
              <a:t>Fine-tuned </a:t>
            </a: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LLM</a:t>
            </a:r>
            <a:b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specialized to your specific domain</a:t>
            </a:r>
            <a:endParaRPr sz="1067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cxnSp>
        <p:nvCxnSpPr>
          <p:cNvPr id="381" name="Google Shape;381;p32"/>
          <p:cNvCxnSpPr/>
          <p:nvPr/>
        </p:nvCxnSpPr>
        <p:spPr>
          <a:xfrm>
            <a:off x="6605641" y="3344259"/>
            <a:ext cx="0" cy="12516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triangle" w="med" len="med"/>
          </a:ln>
        </p:spPr>
      </p:cxnSp>
      <p:pic>
        <p:nvPicPr>
          <p:cNvPr id="382" name="Google Shape;382;p3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228154" y="4727381"/>
            <a:ext cx="780108" cy="780108"/>
          </a:xfrm>
          <a:prstGeom prst="rect">
            <a:avLst/>
          </a:prstGeom>
          <a:noFill/>
          <a:ln>
            <a:noFill/>
          </a:ln>
        </p:spPr>
      </p:pic>
      <p:sp>
        <p:nvSpPr>
          <p:cNvPr id="383" name="Google Shape;383;p32"/>
          <p:cNvSpPr txBox="1"/>
          <p:nvPr/>
        </p:nvSpPr>
        <p:spPr>
          <a:xfrm>
            <a:off x="7528777" y="3667834"/>
            <a:ext cx="23036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indent="-93131" algn="ctr" defTabSz="1219170">
              <a:buClr>
                <a:srgbClr val="000000"/>
              </a:buClr>
              <a:buSzPts val="1100"/>
              <a:buFont typeface="Quattrocento Sans"/>
              <a:buChar char="​"/>
            </a:pPr>
            <a:r>
              <a:rPr lang="en" sz="1200" b="1" i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Further training</a:t>
            </a:r>
            <a:endParaRPr sz="1200" b="1" i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cxnSp>
        <p:nvCxnSpPr>
          <p:cNvPr id="384" name="Google Shape;384;p32"/>
          <p:cNvCxnSpPr/>
          <p:nvPr/>
        </p:nvCxnSpPr>
        <p:spPr>
          <a:xfrm rot="10800000">
            <a:off x="7258297" y="3941067"/>
            <a:ext cx="284440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triangle" w="med" len="med"/>
          </a:ln>
        </p:spPr>
      </p:cxnSp>
      <p:grpSp>
        <p:nvGrpSpPr>
          <p:cNvPr id="385" name="Google Shape;385;p32"/>
          <p:cNvGrpSpPr/>
          <p:nvPr/>
        </p:nvGrpSpPr>
        <p:grpSpPr>
          <a:xfrm>
            <a:off x="6268149" y="3523631"/>
            <a:ext cx="692051" cy="692051"/>
            <a:chOff x="-36657" y="-36657"/>
            <a:chExt cx="676800" cy="676800"/>
          </a:xfrm>
        </p:grpSpPr>
        <p:sp>
          <p:nvSpPr>
            <p:cNvPr id="386" name="Google Shape;386;p32"/>
            <p:cNvSpPr/>
            <p:nvPr/>
          </p:nvSpPr>
          <p:spPr>
            <a:xfrm>
              <a:off x="-36657" y="-36657"/>
              <a:ext cx="676800" cy="6768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  <a:buSzPts val="1200"/>
              </a:pPr>
              <a:endParaRPr sz="1600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pic>
          <p:nvPicPr>
            <p:cNvPr id="387" name="Google Shape;387;p32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0" y="0"/>
              <a:ext cx="609600" cy="6096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388" name="Google Shape;388;p32" descr="Découvrez l'histoire de la startup Mistral.ai | J'❤️ les startups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059409" y="2122598"/>
            <a:ext cx="1253080" cy="7984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89" name="Google Shape;389;p32"/>
          <p:cNvGrpSpPr/>
          <p:nvPr/>
        </p:nvGrpSpPr>
        <p:grpSpPr>
          <a:xfrm>
            <a:off x="1706103" y="2053394"/>
            <a:ext cx="541200" cy="619053"/>
            <a:chOff x="5363839" y="1933953"/>
            <a:chExt cx="505794" cy="578555"/>
          </a:xfrm>
        </p:grpSpPr>
        <p:sp>
          <p:nvSpPr>
            <p:cNvPr id="390" name="Google Shape;390;p32"/>
            <p:cNvSpPr/>
            <p:nvPr/>
          </p:nvSpPr>
          <p:spPr>
            <a:xfrm>
              <a:off x="5380715" y="2388984"/>
              <a:ext cx="472049" cy="123523"/>
            </a:xfrm>
            <a:custGeom>
              <a:avLst/>
              <a:gdLst/>
              <a:ahLst/>
              <a:cxnLst/>
              <a:rect l="l" t="t" r="r" b="b"/>
              <a:pathLst>
                <a:path w="256200" h="67041" extrusionOk="0">
                  <a:moveTo>
                    <a:pt x="256200" y="33521"/>
                  </a:moveTo>
                  <a:cubicBezTo>
                    <a:pt x="256200" y="52034"/>
                    <a:pt x="198848" y="67042"/>
                    <a:pt x="128100" y="67042"/>
                  </a:cubicBezTo>
                  <a:cubicBezTo>
                    <a:pt x="57352" y="67042"/>
                    <a:pt x="0" y="52034"/>
                    <a:pt x="0" y="33521"/>
                  </a:cubicBezTo>
                  <a:cubicBezTo>
                    <a:pt x="0" y="15008"/>
                    <a:pt x="57352" y="0"/>
                    <a:pt x="128100" y="0"/>
                  </a:cubicBezTo>
                  <a:cubicBezTo>
                    <a:pt x="198848" y="0"/>
                    <a:pt x="256200" y="15008"/>
                    <a:pt x="25620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91" name="Google Shape;391;p32"/>
            <p:cNvSpPr/>
            <p:nvPr/>
          </p:nvSpPr>
          <p:spPr>
            <a:xfrm>
              <a:off x="5380715" y="2388985"/>
              <a:ext cx="236024" cy="123523"/>
            </a:xfrm>
            <a:custGeom>
              <a:avLst/>
              <a:gdLst/>
              <a:ahLst/>
              <a:cxnLst/>
              <a:rect l="l" t="t" r="r" b="b"/>
              <a:pathLst>
                <a:path w="128100" h="67041" extrusionOk="0">
                  <a:moveTo>
                    <a:pt x="0" y="33521"/>
                  </a:moveTo>
                  <a:cubicBezTo>
                    <a:pt x="0" y="52032"/>
                    <a:pt x="57351" y="67042"/>
                    <a:pt x="128100" y="67042"/>
                  </a:cubicBezTo>
                  <a:lnTo>
                    <a:pt x="128100" y="0"/>
                  </a:lnTo>
                  <a:cubicBezTo>
                    <a:pt x="57351" y="0"/>
                    <a:pt x="0" y="15010"/>
                    <a:pt x="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92" name="Google Shape;392;p32"/>
            <p:cNvSpPr/>
            <p:nvPr/>
          </p:nvSpPr>
          <p:spPr>
            <a:xfrm>
              <a:off x="5363839" y="2237318"/>
              <a:ext cx="505794" cy="255284"/>
            </a:xfrm>
            <a:custGeom>
              <a:avLst/>
              <a:gdLst/>
              <a:ahLst/>
              <a:cxnLst/>
              <a:rect l="l" t="t" r="r" b="b"/>
              <a:pathLst>
                <a:path w="274515" h="138553" extrusionOk="0">
                  <a:moveTo>
                    <a:pt x="274516" y="40225"/>
                  </a:moveTo>
                  <a:lnTo>
                    <a:pt x="274516" y="98328"/>
                  </a:lnTo>
                  <a:cubicBezTo>
                    <a:pt x="274516" y="120552"/>
                    <a:pt x="213067" y="138553"/>
                    <a:pt x="137258" y="138553"/>
                  </a:cubicBezTo>
                  <a:cubicBezTo>
                    <a:pt x="61449" y="138553"/>
                    <a:pt x="0" y="120535"/>
                    <a:pt x="0" y="98328"/>
                  </a:cubicBezTo>
                  <a:lnTo>
                    <a:pt x="0" y="40225"/>
                  </a:lnTo>
                  <a:cubicBezTo>
                    <a:pt x="0" y="18001"/>
                    <a:pt x="61449" y="0"/>
                    <a:pt x="137258" y="0"/>
                  </a:cubicBezTo>
                  <a:cubicBezTo>
                    <a:pt x="213067" y="0"/>
                    <a:pt x="274516" y="18001"/>
                    <a:pt x="274516" y="40225"/>
                  </a:cubicBezTo>
                  <a:close/>
                </a:path>
              </a:pathLst>
            </a:custGeom>
            <a:solidFill>
              <a:srgbClr val="8D8D8D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93" name="Google Shape;393;p32"/>
            <p:cNvSpPr/>
            <p:nvPr/>
          </p:nvSpPr>
          <p:spPr>
            <a:xfrm>
              <a:off x="5363839" y="2237318"/>
              <a:ext cx="252896" cy="255284"/>
            </a:xfrm>
            <a:custGeom>
              <a:avLst/>
              <a:gdLst/>
              <a:ahLst/>
              <a:cxnLst/>
              <a:rect l="l" t="t" r="r" b="b"/>
              <a:pathLst>
                <a:path w="137257" h="138553" extrusionOk="0">
                  <a:moveTo>
                    <a:pt x="0" y="40225"/>
                  </a:moveTo>
                  <a:lnTo>
                    <a:pt x="0" y="98328"/>
                  </a:lnTo>
                  <a:cubicBezTo>
                    <a:pt x="0" y="120552"/>
                    <a:pt x="61449" y="138553"/>
                    <a:pt x="137258" y="138553"/>
                  </a:cubicBezTo>
                  <a:lnTo>
                    <a:pt x="137258" y="0"/>
                  </a:lnTo>
                  <a:cubicBezTo>
                    <a:pt x="61449" y="0"/>
                    <a:pt x="0" y="18001"/>
                    <a:pt x="0" y="40225"/>
                  </a:cubicBez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94" name="Google Shape;394;p32"/>
            <p:cNvSpPr/>
            <p:nvPr/>
          </p:nvSpPr>
          <p:spPr>
            <a:xfrm>
              <a:off x="5363839" y="2237318"/>
              <a:ext cx="505794" cy="148229"/>
            </a:xfrm>
            <a:custGeom>
              <a:avLst/>
              <a:gdLst/>
              <a:ahLst/>
              <a:cxnLst/>
              <a:rect l="l" t="t" r="r" b="b"/>
              <a:pathLst>
                <a:path w="274515" h="80450" extrusionOk="0">
                  <a:moveTo>
                    <a:pt x="274516" y="40225"/>
                  </a:moveTo>
                  <a:cubicBezTo>
                    <a:pt x="274516" y="62449"/>
                    <a:pt x="213067" y="80450"/>
                    <a:pt x="137258" y="80450"/>
                  </a:cubicBezTo>
                  <a:cubicBezTo>
                    <a:pt x="61449" y="80450"/>
                    <a:pt x="0" y="62432"/>
                    <a:pt x="0" y="40225"/>
                  </a:cubicBezTo>
                  <a:cubicBezTo>
                    <a:pt x="0" y="18019"/>
                    <a:pt x="61449" y="0"/>
                    <a:pt x="137258" y="0"/>
                  </a:cubicBezTo>
                  <a:cubicBezTo>
                    <a:pt x="213067" y="0"/>
                    <a:pt x="274516" y="18001"/>
                    <a:pt x="274516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95" name="Google Shape;395;p32"/>
            <p:cNvSpPr/>
            <p:nvPr/>
          </p:nvSpPr>
          <p:spPr>
            <a:xfrm>
              <a:off x="5363839" y="2237318"/>
              <a:ext cx="252896" cy="148229"/>
            </a:xfrm>
            <a:custGeom>
              <a:avLst/>
              <a:gdLst/>
              <a:ahLst/>
              <a:cxnLst/>
              <a:rect l="l" t="t" r="r" b="b"/>
              <a:pathLst>
                <a:path w="137257" h="80450" extrusionOk="0">
                  <a:moveTo>
                    <a:pt x="0" y="40225"/>
                  </a:moveTo>
                  <a:cubicBezTo>
                    <a:pt x="0" y="62449"/>
                    <a:pt x="61449" y="80450"/>
                    <a:pt x="137258" y="80450"/>
                  </a:cubicBezTo>
                  <a:lnTo>
                    <a:pt x="137258" y="0"/>
                  </a:lnTo>
                  <a:cubicBezTo>
                    <a:pt x="61449" y="0"/>
                    <a:pt x="0" y="18001"/>
                    <a:pt x="0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96" name="Google Shape;396;p32"/>
            <p:cNvSpPr/>
            <p:nvPr/>
          </p:nvSpPr>
          <p:spPr>
            <a:xfrm>
              <a:off x="5380715" y="2237318"/>
              <a:ext cx="472049" cy="123523"/>
            </a:xfrm>
            <a:custGeom>
              <a:avLst/>
              <a:gdLst/>
              <a:ahLst/>
              <a:cxnLst/>
              <a:rect l="l" t="t" r="r" b="b"/>
              <a:pathLst>
                <a:path w="256200" h="67041" extrusionOk="0">
                  <a:moveTo>
                    <a:pt x="256200" y="33521"/>
                  </a:moveTo>
                  <a:cubicBezTo>
                    <a:pt x="256200" y="52034"/>
                    <a:pt x="198848" y="67042"/>
                    <a:pt x="128100" y="67042"/>
                  </a:cubicBezTo>
                  <a:cubicBezTo>
                    <a:pt x="57352" y="67042"/>
                    <a:pt x="0" y="52034"/>
                    <a:pt x="0" y="33521"/>
                  </a:cubicBezTo>
                  <a:cubicBezTo>
                    <a:pt x="0" y="15008"/>
                    <a:pt x="57352" y="0"/>
                    <a:pt x="128100" y="0"/>
                  </a:cubicBezTo>
                  <a:cubicBezTo>
                    <a:pt x="198848" y="0"/>
                    <a:pt x="256200" y="15008"/>
                    <a:pt x="25620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97" name="Google Shape;397;p32"/>
            <p:cNvSpPr/>
            <p:nvPr/>
          </p:nvSpPr>
          <p:spPr>
            <a:xfrm>
              <a:off x="5380715" y="2237318"/>
              <a:ext cx="236024" cy="123523"/>
            </a:xfrm>
            <a:custGeom>
              <a:avLst/>
              <a:gdLst/>
              <a:ahLst/>
              <a:cxnLst/>
              <a:rect l="l" t="t" r="r" b="b"/>
              <a:pathLst>
                <a:path w="128100" h="67041" extrusionOk="0">
                  <a:moveTo>
                    <a:pt x="0" y="33521"/>
                  </a:moveTo>
                  <a:cubicBezTo>
                    <a:pt x="0" y="52032"/>
                    <a:pt x="57351" y="67042"/>
                    <a:pt x="128100" y="67042"/>
                  </a:cubicBezTo>
                  <a:lnTo>
                    <a:pt x="128100" y="0"/>
                  </a:lnTo>
                  <a:cubicBezTo>
                    <a:pt x="57351" y="0"/>
                    <a:pt x="0" y="15010"/>
                    <a:pt x="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98" name="Google Shape;398;p32"/>
            <p:cNvSpPr/>
            <p:nvPr/>
          </p:nvSpPr>
          <p:spPr>
            <a:xfrm>
              <a:off x="5407375" y="2384379"/>
              <a:ext cx="110198" cy="46134"/>
            </a:xfrm>
            <a:custGeom>
              <a:avLst/>
              <a:gdLst/>
              <a:ahLst/>
              <a:cxnLst/>
              <a:rect l="l" t="t" r="r" b="b"/>
              <a:pathLst>
                <a:path w="59809" h="25039" extrusionOk="0">
                  <a:moveTo>
                    <a:pt x="59810" y="18652"/>
                  </a:moveTo>
                  <a:cubicBezTo>
                    <a:pt x="59810" y="22189"/>
                    <a:pt x="56888" y="25040"/>
                    <a:pt x="53271" y="25040"/>
                  </a:cubicBezTo>
                  <a:cubicBezTo>
                    <a:pt x="49654" y="25040"/>
                    <a:pt x="46732" y="22171"/>
                    <a:pt x="46732" y="18652"/>
                  </a:cubicBezTo>
                  <a:cubicBezTo>
                    <a:pt x="46732" y="15133"/>
                    <a:pt x="49654" y="12265"/>
                    <a:pt x="53271" y="12265"/>
                  </a:cubicBezTo>
                  <a:cubicBezTo>
                    <a:pt x="56888" y="12265"/>
                    <a:pt x="59810" y="15133"/>
                    <a:pt x="59810" y="18652"/>
                  </a:cubicBezTo>
                  <a:close/>
                  <a:moveTo>
                    <a:pt x="29094" y="7514"/>
                  </a:moveTo>
                  <a:cubicBezTo>
                    <a:pt x="25477" y="7514"/>
                    <a:pt x="22556" y="10382"/>
                    <a:pt x="22556" y="13901"/>
                  </a:cubicBezTo>
                  <a:cubicBezTo>
                    <a:pt x="22556" y="17420"/>
                    <a:pt x="25477" y="20289"/>
                    <a:pt x="29094" y="20289"/>
                  </a:cubicBezTo>
                  <a:cubicBezTo>
                    <a:pt x="32711" y="20289"/>
                    <a:pt x="35633" y="17420"/>
                    <a:pt x="35633" y="13901"/>
                  </a:cubicBezTo>
                  <a:cubicBezTo>
                    <a:pt x="35633" y="10382"/>
                    <a:pt x="32711" y="7514"/>
                    <a:pt x="29094" y="7514"/>
                  </a:cubicBezTo>
                  <a:close/>
                  <a:moveTo>
                    <a:pt x="6539" y="0"/>
                  </a:moveTo>
                  <a:cubicBezTo>
                    <a:pt x="2922" y="0"/>
                    <a:pt x="0" y="2868"/>
                    <a:pt x="0" y="6387"/>
                  </a:cubicBezTo>
                  <a:cubicBezTo>
                    <a:pt x="0" y="9907"/>
                    <a:pt x="2922" y="12775"/>
                    <a:pt x="6539" y="12775"/>
                  </a:cubicBezTo>
                  <a:cubicBezTo>
                    <a:pt x="10155" y="12775"/>
                    <a:pt x="13077" y="9907"/>
                    <a:pt x="13077" y="6387"/>
                  </a:cubicBezTo>
                  <a:cubicBezTo>
                    <a:pt x="13077" y="2868"/>
                    <a:pt x="10155" y="0"/>
                    <a:pt x="65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399" name="Google Shape;399;p32"/>
            <p:cNvSpPr/>
            <p:nvPr/>
          </p:nvSpPr>
          <p:spPr>
            <a:xfrm>
              <a:off x="5363839" y="2085618"/>
              <a:ext cx="505794" cy="255284"/>
            </a:xfrm>
            <a:custGeom>
              <a:avLst/>
              <a:gdLst/>
              <a:ahLst/>
              <a:cxnLst/>
              <a:rect l="l" t="t" r="r" b="b"/>
              <a:pathLst>
                <a:path w="274515" h="138553" extrusionOk="0">
                  <a:moveTo>
                    <a:pt x="274516" y="40225"/>
                  </a:moveTo>
                  <a:lnTo>
                    <a:pt x="274516" y="98328"/>
                  </a:lnTo>
                  <a:cubicBezTo>
                    <a:pt x="274516" y="120552"/>
                    <a:pt x="213067" y="138553"/>
                    <a:pt x="137258" y="138553"/>
                  </a:cubicBezTo>
                  <a:cubicBezTo>
                    <a:pt x="61449" y="138553"/>
                    <a:pt x="0" y="120552"/>
                    <a:pt x="0" y="98328"/>
                  </a:cubicBezTo>
                  <a:lnTo>
                    <a:pt x="0" y="40225"/>
                  </a:lnTo>
                  <a:cubicBezTo>
                    <a:pt x="0" y="18001"/>
                    <a:pt x="61449" y="0"/>
                    <a:pt x="137258" y="0"/>
                  </a:cubicBezTo>
                  <a:cubicBezTo>
                    <a:pt x="213067" y="0"/>
                    <a:pt x="274516" y="18001"/>
                    <a:pt x="274516" y="40225"/>
                  </a:cubicBezTo>
                  <a:close/>
                </a:path>
              </a:pathLst>
            </a:custGeom>
            <a:solidFill>
              <a:srgbClr val="8D8D8D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00" name="Google Shape;400;p32"/>
            <p:cNvSpPr/>
            <p:nvPr/>
          </p:nvSpPr>
          <p:spPr>
            <a:xfrm>
              <a:off x="5363839" y="2085618"/>
              <a:ext cx="252896" cy="255284"/>
            </a:xfrm>
            <a:custGeom>
              <a:avLst/>
              <a:gdLst/>
              <a:ahLst/>
              <a:cxnLst/>
              <a:rect l="l" t="t" r="r" b="b"/>
              <a:pathLst>
                <a:path w="137257" h="138553" extrusionOk="0">
                  <a:moveTo>
                    <a:pt x="0" y="40225"/>
                  </a:moveTo>
                  <a:lnTo>
                    <a:pt x="0" y="98328"/>
                  </a:lnTo>
                  <a:cubicBezTo>
                    <a:pt x="0" y="120552"/>
                    <a:pt x="61449" y="138553"/>
                    <a:pt x="137258" y="138553"/>
                  </a:cubicBezTo>
                  <a:lnTo>
                    <a:pt x="137258" y="0"/>
                  </a:lnTo>
                  <a:cubicBezTo>
                    <a:pt x="61449" y="0"/>
                    <a:pt x="0" y="18019"/>
                    <a:pt x="0" y="40225"/>
                  </a:cubicBez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01" name="Google Shape;401;p32"/>
            <p:cNvSpPr/>
            <p:nvPr/>
          </p:nvSpPr>
          <p:spPr>
            <a:xfrm>
              <a:off x="5363839" y="2085618"/>
              <a:ext cx="505794" cy="148229"/>
            </a:xfrm>
            <a:custGeom>
              <a:avLst/>
              <a:gdLst/>
              <a:ahLst/>
              <a:cxnLst/>
              <a:rect l="l" t="t" r="r" b="b"/>
              <a:pathLst>
                <a:path w="274515" h="80450" extrusionOk="0">
                  <a:moveTo>
                    <a:pt x="274516" y="40225"/>
                  </a:moveTo>
                  <a:cubicBezTo>
                    <a:pt x="274516" y="62441"/>
                    <a:pt x="213063" y="80450"/>
                    <a:pt x="137258" y="80450"/>
                  </a:cubicBezTo>
                  <a:cubicBezTo>
                    <a:pt x="61452" y="80450"/>
                    <a:pt x="0" y="62441"/>
                    <a:pt x="0" y="40225"/>
                  </a:cubicBezTo>
                  <a:cubicBezTo>
                    <a:pt x="0" y="18009"/>
                    <a:pt x="61452" y="0"/>
                    <a:pt x="137258" y="0"/>
                  </a:cubicBezTo>
                  <a:cubicBezTo>
                    <a:pt x="213063" y="0"/>
                    <a:pt x="274516" y="18009"/>
                    <a:pt x="274516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02" name="Google Shape;402;p32"/>
            <p:cNvSpPr/>
            <p:nvPr/>
          </p:nvSpPr>
          <p:spPr>
            <a:xfrm>
              <a:off x="5363839" y="2085618"/>
              <a:ext cx="252896" cy="148229"/>
            </a:xfrm>
            <a:custGeom>
              <a:avLst/>
              <a:gdLst/>
              <a:ahLst/>
              <a:cxnLst/>
              <a:rect l="l" t="t" r="r" b="b"/>
              <a:pathLst>
                <a:path w="137257" h="80450" extrusionOk="0">
                  <a:moveTo>
                    <a:pt x="0" y="40225"/>
                  </a:moveTo>
                  <a:cubicBezTo>
                    <a:pt x="0" y="62432"/>
                    <a:pt x="61449" y="80450"/>
                    <a:pt x="137258" y="80450"/>
                  </a:cubicBezTo>
                  <a:lnTo>
                    <a:pt x="137258" y="0"/>
                  </a:lnTo>
                  <a:cubicBezTo>
                    <a:pt x="61449" y="0"/>
                    <a:pt x="0" y="18019"/>
                    <a:pt x="0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03" name="Google Shape;403;p32"/>
            <p:cNvSpPr/>
            <p:nvPr/>
          </p:nvSpPr>
          <p:spPr>
            <a:xfrm>
              <a:off x="5380715" y="2085618"/>
              <a:ext cx="472049" cy="123523"/>
            </a:xfrm>
            <a:custGeom>
              <a:avLst/>
              <a:gdLst/>
              <a:ahLst/>
              <a:cxnLst/>
              <a:rect l="l" t="t" r="r" b="b"/>
              <a:pathLst>
                <a:path w="256200" h="67041" extrusionOk="0">
                  <a:moveTo>
                    <a:pt x="256200" y="33521"/>
                  </a:moveTo>
                  <a:cubicBezTo>
                    <a:pt x="256200" y="52034"/>
                    <a:pt x="198848" y="67042"/>
                    <a:pt x="128100" y="67042"/>
                  </a:cubicBezTo>
                  <a:cubicBezTo>
                    <a:pt x="57352" y="67042"/>
                    <a:pt x="0" y="52034"/>
                    <a:pt x="0" y="33521"/>
                  </a:cubicBezTo>
                  <a:cubicBezTo>
                    <a:pt x="0" y="15008"/>
                    <a:pt x="57352" y="0"/>
                    <a:pt x="128100" y="0"/>
                  </a:cubicBezTo>
                  <a:cubicBezTo>
                    <a:pt x="198848" y="0"/>
                    <a:pt x="256200" y="15008"/>
                    <a:pt x="25620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04" name="Google Shape;404;p32"/>
            <p:cNvSpPr/>
            <p:nvPr/>
          </p:nvSpPr>
          <p:spPr>
            <a:xfrm>
              <a:off x="5380715" y="2085618"/>
              <a:ext cx="236024" cy="123523"/>
            </a:xfrm>
            <a:custGeom>
              <a:avLst/>
              <a:gdLst/>
              <a:ahLst/>
              <a:cxnLst/>
              <a:rect l="l" t="t" r="r" b="b"/>
              <a:pathLst>
                <a:path w="128100" h="67041" extrusionOk="0">
                  <a:moveTo>
                    <a:pt x="0" y="33521"/>
                  </a:moveTo>
                  <a:cubicBezTo>
                    <a:pt x="0" y="52032"/>
                    <a:pt x="57351" y="67042"/>
                    <a:pt x="128100" y="67042"/>
                  </a:cubicBezTo>
                  <a:lnTo>
                    <a:pt x="128100" y="0"/>
                  </a:lnTo>
                  <a:cubicBezTo>
                    <a:pt x="57351" y="0"/>
                    <a:pt x="0" y="15010"/>
                    <a:pt x="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05" name="Google Shape;405;p32"/>
            <p:cNvSpPr/>
            <p:nvPr/>
          </p:nvSpPr>
          <p:spPr>
            <a:xfrm>
              <a:off x="5407375" y="2232681"/>
              <a:ext cx="110198" cy="46134"/>
            </a:xfrm>
            <a:custGeom>
              <a:avLst/>
              <a:gdLst/>
              <a:ahLst/>
              <a:cxnLst/>
              <a:rect l="l" t="t" r="r" b="b"/>
              <a:pathLst>
                <a:path w="59809" h="25039" extrusionOk="0">
                  <a:moveTo>
                    <a:pt x="59810" y="18652"/>
                  </a:moveTo>
                  <a:cubicBezTo>
                    <a:pt x="59810" y="22189"/>
                    <a:pt x="56888" y="25040"/>
                    <a:pt x="53271" y="25040"/>
                  </a:cubicBezTo>
                  <a:cubicBezTo>
                    <a:pt x="49654" y="25040"/>
                    <a:pt x="46732" y="22171"/>
                    <a:pt x="46732" y="18652"/>
                  </a:cubicBezTo>
                  <a:cubicBezTo>
                    <a:pt x="46732" y="15133"/>
                    <a:pt x="49654" y="12265"/>
                    <a:pt x="53271" y="12265"/>
                  </a:cubicBezTo>
                  <a:cubicBezTo>
                    <a:pt x="56888" y="12265"/>
                    <a:pt x="59810" y="15133"/>
                    <a:pt x="59810" y="18652"/>
                  </a:cubicBezTo>
                  <a:close/>
                  <a:moveTo>
                    <a:pt x="29094" y="7514"/>
                  </a:moveTo>
                  <a:cubicBezTo>
                    <a:pt x="25477" y="7514"/>
                    <a:pt x="22556" y="10382"/>
                    <a:pt x="22556" y="13901"/>
                  </a:cubicBezTo>
                  <a:cubicBezTo>
                    <a:pt x="22556" y="17420"/>
                    <a:pt x="25477" y="20289"/>
                    <a:pt x="29094" y="20289"/>
                  </a:cubicBezTo>
                  <a:cubicBezTo>
                    <a:pt x="32711" y="20289"/>
                    <a:pt x="35633" y="17420"/>
                    <a:pt x="35633" y="13901"/>
                  </a:cubicBezTo>
                  <a:cubicBezTo>
                    <a:pt x="35633" y="10382"/>
                    <a:pt x="32711" y="7514"/>
                    <a:pt x="29094" y="7514"/>
                  </a:cubicBezTo>
                  <a:close/>
                  <a:moveTo>
                    <a:pt x="6539" y="0"/>
                  </a:moveTo>
                  <a:cubicBezTo>
                    <a:pt x="2922" y="0"/>
                    <a:pt x="0" y="2868"/>
                    <a:pt x="0" y="6387"/>
                  </a:cubicBezTo>
                  <a:cubicBezTo>
                    <a:pt x="0" y="9907"/>
                    <a:pt x="2922" y="12775"/>
                    <a:pt x="6539" y="12775"/>
                  </a:cubicBezTo>
                  <a:cubicBezTo>
                    <a:pt x="10155" y="12775"/>
                    <a:pt x="13077" y="9907"/>
                    <a:pt x="13077" y="6387"/>
                  </a:cubicBezTo>
                  <a:cubicBezTo>
                    <a:pt x="13077" y="2868"/>
                    <a:pt x="10155" y="0"/>
                    <a:pt x="65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06" name="Google Shape;406;p32"/>
            <p:cNvSpPr/>
            <p:nvPr/>
          </p:nvSpPr>
          <p:spPr>
            <a:xfrm>
              <a:off x="5363839" y="1933953"/>
              <a:ext cx="505794" cy="255284"/>
            </a:xfrm>
            <a:custGeom>
              <a:avLst/>
              <a:gdLst/>
              <a:ahLst/>
              <a:cxnLst/>
              <a:rect l="l" t="t" r="r" b="b"/>
              <a:pathLst>
                <a:path w="274515" h="138553" extrusionOk="0">
                  <a:moveTo>
                    <a:pt x="274516" y="40225"/>
                  </a:moveTo>
                  <a:lnTo>
                    <a:pt x="274516" y="98328"/>
                  </a:lnTo>
                  <a:cubicBezTo>
                    <a:pt x="274516" y="120552"/>
                    <a:pt x="213067" y="138553"/>
                    <a:pt x="137258" y="138553"/>
                  </a:cubicBezTo>
                  <a:cubicBezTo>
                    <a:pt x="61449" y="138553"/>
                    <a:pt x="0" y="120535"/>
                    <a:pt x="0" y="98328"/>
                  </a:cubicBezTo>
                  <a:lnTo>
                    <a:pt x="0" y="40225"/>
                  </a:lnTo>
                  <a:cubicBezTo>
                    <a:pt x="0" y="18001"/>
                    <a:pt x="61449" y="0"/>
                    <a:pt x="137258" y="0"/>
                  </a:cubicBezTo>
                  <a:cubicBezTo>
                    <a:pt x="213067" y="0"/>
                    <a:pt x="274516" y="18001"/>
                    <a:pt x="274516" y="40225"/>
                  </a:cubicBezTo>
                  <a:close/>
                </a:path>
              </a:pathLst>
            </a:custGeom>
            <a:solidFill>
              <a:srgbClr val="8D8D8D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07" name="Google Shape;407;p32"/>
            <p:cNvSpPr/>
            <p:nvPr/>
          </p:nvSpPr>
          <p:spPr>
            <a:xfrm>
              <a:off x="5363839" y="1933954"/>
              <a:ext cx="252896" cy="255284"/>
            </a:xfrm>
            <a:custGeom>
              <a:avLst/>
              <a:gdLst/>
              <a:ahLst/>
              <a:cxnLst/>
              <a:rect l="l" t="t" r="r" b="b"/>
              <a:pathLst>
                <a:path w="137257" h="138553" extrusionOk="0">
                  <a:moveTo>
                    <a:pt x="0" y="40225"/>
                  </a:moveTo>
                  <a:lnTo>
                    <a:pt x="0" y="98328"/>
                  </a:lnTo>
                  <a:cubicBezTo>
                    <a:pt x="0" y="120552"/>
                    <a:pt x="61449" y="138553"/>
                    <a:pt x="137258" y="138553"/>
                  </a:cubicBezTo>
                  <a:lnTo>
                    <a:pt x="137258" y="0"/>
                  </a:lnTo>
                  <a:cubicBezTo>
                    <a:pt x="61449" y="0"/>
                    <a:pt x="0" y="18001"/>
                    <a:pt x="0" y="40225"/>
                  </a:cubicBez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08" name="Google Shape;408;p32"/>
            <p:cNvSpPr/>
            <p:nvPr/>
          </p:nvSpPr>
          <p:spPr>
            <a:xfrm>
              <a:off x="5363839" y="1933955"/>
              <a:ext cx="252896" cy="148229"/>
            </a:xfrm>
            <a:custGeom>
              <a:avLst/>
              <a:gdLst/>
              <a:ahLst/>
              <a:cxnLst/>
              <a:rect l="l" t="t" r="r" b="b"/>
              <a:pathLst>
                <a:path w="137257" h="80450" extrusionOk="0">
                  <a:moveTo>
                    <a:pt x="0" y="40225"/>
                  </a:moveTo>
                  <a:cubicBezTo>
                    <a:pt x="0" y="62432"/>
                    <a:pt x="61449" y="80450"/>
                    <a:pt x="137258" y="80450"/>
                  </a:cubicBezTo>
                  <a:lnTo>
                    <a:pt x="137258" y="0"/>
                  </a:lnTo>
                  <a:cubicBezTo>
                    <a:pt x="61449" y="0"/>
                    <a:pt x="0" y="18001"/>
                    <a:pt x="0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09" name="Google Shape;409;p32"/>
            <p:cNvSpPr/>
            <p:nvPr/>
          </p:nvSpPr>
          <p:spPr>
            <a:xfrm>
              <a:off x="5380715" y="1933954"/>
              <a:ext cx="472049" cy="123523"/>
            </a:xfrm>
            <a:custGeom>
              <a:avLst/>
              <a:gdLst/>
              <a:ahLst/>
              <a:cxnLst/>
              <a:rect l="l" t="t" r="r" b="b"/>
              <a:pathLst>
                <a:path w="256200" h="67041" extrusionOk="0">
                  <a:moveTo>
                    <a:pt x="256200" y="33521"/>
                  </a:moveTo>
                  <a:cubicBezTo>
                    <a:pt x="256200" y="52034"/>
                    <a:pt x="198848" y="67042"/>
                    <a:pt x="128100" y="67042"/>
                  </a:cubicBezTo>
                  <a:cubicBezTo>
                    <a:pt x="57352" y="67042"/>
                    <a:pt x="0" y="52034"/>
                    <a:pt x="0" y="33521"/>
                  </a:cubicBezTo>
                  <a:cubicBezTo>
                    <a:pt x="0" y="15008"/>
                    <a:pt x="57352" y="0"/>
                    <a:pt x="128100" y="0"/>
                  </a:cubicBezTo>
                  <a:cubicBezTo>
                    <a:pt x="198848" y="0"/>
                    <a:pt x="256200" y="15008"/>
                    <a:pt x="25620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10" name="Google Shape;410;p32"/>
            <p:cNvSpPr/>
            <p:nvPr/>
          </p:nvSpPr>
          <p:spPr>
            <a:xfrm>
              <a:off x="5380715" y="1933954"/>
              <a:ext cx="236024" cy="123523"/>
            </a:xfrm>
            <a:custGeom>
              <a:avLst/>
              <a:gdLst/>
              <a:ahLst/>
              <a:cxnLst/>
              <a:rect l="l" t="t" r="r" b="b"/>
              <a:pathLst>
                <a:path w="128100" h="67041" extrusionOk="0">
                  <a:moveTo>
                    <a:pt x="0" y="33521"/>
                  </a:moveTo>
                  <a:cubicBezTo>
                    <a:pt x="0" y="52032"/>
                    <a:pt x="57351" y="67042"/>
                    <a:pt x="128100" y="67042"/>
                  </a:cubicBezTo>
                  <a:lnTo>
                    <a:pt x="128100" y="0"/>
                  </a:lnTo>
                  <a:cubicBezTo>
                    <a:pt x="57351" y="0"/>
                    <a:pt x="0" y="15010"/>
                    <a:pt x="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11" name="Google Shape;411;p32"/>
            <p:cNvSpPr/>
            <p:nvPr/>
          </p:nvSpPr>
          <p:spPr>
            <a:xfrm>
              <a:off x="5407375" y="2080982"/>
              <a:ext cx="110198" cy="46134"/>
            </a:xfrm>
            <a:custGeom>
              <a:avLst/>
              <a:gdLst/>
              <a:ahLst/>
              <a:cxnLst/>
              <a:rect l="l" t="t" r="r" b="b"/>
              <a:pathLst>
                <a:path w="59809" h="25039" extrusionOk="0">
                  <a:moveTo>
                    <a:pt x="59810" y="18652"/>
                  </a:moveTo>
                  <a:cubicBezTo>
                    <a:pt x="59810" y="22189"/>
                    <a:pt x="56888" y="25040"/>
                    <a:pt x="53271" y="25040"/>
                  </a:cubicBezTo>
                  <a:cubicBezTo>
                    <a:pt x="49654" y="25040"/>
                    <a:pt x="46732" y="22171"/>
                    <a:pt x="46732" y="18652"/>
                  </a:cubicBezTo>
                  <a:cubicBezTo>
                    <a:pt x="46732" y="15133"/>
                    <a:pt x="49654" y="12265"/>
                    <a:pt x="53271" y="12265"/>
                  </a:cubicBezTo>
                  <a:cubicBezTo>
                    <a:pt x="56888" y="12265"/>
                    <a:pt x="59810" y="15133"/>
                    <a:pt x="59810" y="18652"/>
                  </a:cubicBezTo>
                  <a:close/>
                  <a:moveTo>
                    <a:pt x="29094" y="7514"/>
                  </a:moveTo>
                  <a:cubicBezTo>
                    <a:pt x="25477" y="7514"/>
                    <a:pt x="22556" y="10382"/>
                    <a:pt x="22556" y="13901"/>
                  </a:cubicBezTo>
                  <a:cubicBezTo>
                    <a:pt x="22556" y="17420"/>
                    <a:pt x="25477" y="20289"/>
                    <a:pt x="29094" y="20289"/>
                  </a:cubicBezTo>
                  <a:cubicBezTo>
                    <a:pt x="32711" y="20289"/>
                    <a:pt x="35633" y="17420"/>
                    <a:pt x="35633" y="13901"/>
                  </a:cubicBezTo>
                  <a:cubicBezTo>
                    <a:pt x="35633" y="10382"/>
                    <a:pt x="32711" y="7514"/>
                    <a:pt x="29094" y="7514"/>
                  </a:cubicBezTo>
                  <a:close/>
                  <a:moveTo>
                    <a:pt x="6539" y="0"/>
                  </a:moveTo>
                  <a:cubicBezTo>
                    <a:pt x="2922" y="0"/>
                    <a:pt x="0" y="2868"/>
                    <a:pt x="0" y="6387"/>
                  </a:cubicBezTo>
                  <a:cubicBezTo>
                    <a:pt x="0" y="9907"/>
                    <a:pt x="2922" y="12775"/>
                    <a:pt x="6539" y="12775"/>
                  </a:cubicBezTo>
                  <a:cubicBezTo>
                    <a:pt x="10155" y="12775"/>
                    <a:pt x="13077" y="9907"/>
                    <a:pt x="13077" y="6387"/>
                  </a:cubicBezTo>
                  <a:cubicBezTo>
                    <a:pt x="13077" y="2868"/>
                    <a:pt x="10155" y="0"/>
                    <a:pt x="65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grpSp>
        <p:nvGrpSpPr>
          <p:cNvPr id="412" name="Google Shape;412;p32"/>
          <p:cNvGrpSpPr/>
          <p:nvPr/>
        </p:nvGrpSpPr>
        <p:grpSpPr>
          <a:xfrm>
            <a:off x="1324584" y="2155963"/>
            <a:ext cx="541200" cy="619053"/>
            <a:chOff x="5363839" y="1933953"/>
            <a:chExt cx="505794" cy="578555"/>
          </a:xfrm>
        </p:grpSpPr>
        <p:sp>
          <p:nvSpPr>
            <p:cNvPr id="413" name="Google Shape;413;p32"/>
            <p:cNvSpPr/>
            <p:nvPr/>
          </p:nvSpPr>
          <p:spPr>
            <a:xfrm>
              <a:off x="5380715" y="2388984"/>
              <a:ext cx="472049" cy="123523"/>
            </a:xfrm>
            <a:custGeom>
              <a:avLst/>
              <a:gdLst/>
              <a:ahLst/>
              <a:cxnLst/>
              <a:rect l="l" t="t" r="r" b="b"/>
              <a:pathLst>
                <a:path w="256200" h="67041" extrusionOk="0">
                  <a:moveTo>
                    <a:pt x="256200" y="33521"/>
                  </a:moveTo>
                  <a:cubicBezTo>
                    <a:pt x="256200" y="52034"/>
                    <a:pt x="198848" y="67042"/>
                    <a:pt x="128100" y="67042"/>
                  </a:cubicBezTo>
                  <a:cubicBezTo>
                    <a:pt x="57352" y="67042"/>
                    <a:pt x="0" y="52034"/>
                    <a:pt x="0" y="33521"/>
                  </a:cubicBezTo>
                  <a:cubicBezTo>
                    <a:pt x="0" y="15008"/>
                    <a:pt x="57352" y="0"/>
                    <a:pt x="128100" y="0"/>
                  </a:cubicBezTo>
                  <a:cubicBezTo>
                    <a:pt x="198848" y="0"/>
                    <a:pt x="256200" y="15008"/>
                    <a:pt x="25620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14" name="Google Shape;414;p32"/>
            <p:cNvSpPr/>
            <p:nvPr/>
          </p:nvSpPr>
          <p:spPr>
            <a:xfrm>
              <a:off x="5380715" y="2388985"/>
              <a:ext cx="236024" cy="123523"/>
            </a:xfrm>
            <a:custGeom>
              <a:avLst/>
              <a:gdLst/>
              <a:ahLst/>
              <a:cxnLst/>
              <a:rect l="l" t="t" r="r" b="b"/>
              <a:pathLst>
                <a:path w="128100" h="67041" extrusionOk="0">
                  <a:moveTo>
                    <a:pt x="0" y="33521"/>
                  </a:moveTo>
                  <a:cubicBezTo>
                    <a:pt x="0" y="52032"/>
                    <a:pt x="57351" y="67042"/>
                    <a:pt x="128100" y="67042"/>
                  </a:cubicBezTo>
                  <a:lnTo>
                    <a:pt x="128100" y="0"/>
                  </a:lnTo>
                  <a:cubicBezTo>
                    <a:pt x="57351" y="0"/>
                    <a:pt x="0" y="15010"/>
                    <a:pt x="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15" name="Google Shape;415;p32"/>
            <p:cNvSpPr/>
            <p:nvPr/>
          </p:nvSpPr>
          <p:spPr>
            <a:xfrm>
              <a:off x="5363839" y="2237318"/>
              <a:ext cx="505794" cy="255284"/>
            </a:xfrm>
            <a:custGeom>
              <a:avLst/>
              <a:gdLst/>
              <a:ahLst/>
              <a:cxnLst/>
              <a:rect l="l" t="t" r="r" b="b"/>
              <a:pathLst>
                <a:path w="274515" h="138553" extrusionOk="0">
                  <a:moveTo>
                    <a:pt x="274516" y="40225"/>
                  </a:moveTo>
                  <a:lnTo>
                    <a:pt x="274516" y="98328"/>
                  </a:lnTo>
                  <a:cubicBezTo>
                    <a:pt x="274516" y="120552"/>
                    <a:pt x="213067" y="138553"/>
                    <a:pt x="137258" y="138553"/>
                  </a:cubicBezTo>
                  <a:cubicBezTo>
                    <a:pt x="61449" y="138553"/>
                    <a:pt x="0" y="120535"/>
                    <a:pt x="0" y="98328"/>
                  </a:cubicBezTo>
                  <a:lnTo>
                    <a:pt x="0" y="40225"/>
                  </a:lnTo>
                  <a:cubicBezTo>
                    <a:pt x="0" y="18001"/>
                    <a:pt x="61449" y="0"/>
                    <a:pt x="137258" y="0"/>
                  </a:cubicBezTo>
                  <a:cubicBezTo>
                    <a:pt x="213067" y="0"/>
                    <a:pt x="274516" y="18001"/>
                    <a:pt x="274516" y="40225"/>
                  </a:cubicBezTo>
                  <a:close/>
                </a:path>
              </a:pathLst>
            </a:custGeom>
            <a:solidFill>
              <a:srgbClr val="8D8D8D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16" name="Google Shape;416;p32"/>
            <p:cNvSpPr/>
            <p:nvPr/>
          </p:nvSpPr>
          <p:spPr>
            <a:xfrm>
              <a:off x="5363839" y="2237318"/>
              <a:ext cx="252896" cy="255284"/>
            </a:xfrm>
            <a:custGeom>
              <a:avLst/>
              <a:gdLst/>
              <a:ahLst/>
              <a:cxnLst/>
              <a:rect l="l" t="t" r="r" b="b"/>
              <a:pathLst>
                <a:path w="137257" h="138553" extrusionOk="0">
                  <a:moveTo>
                    <a:pt x="0" y="40225"/>
                  </a:moveTo>
                  <a:lnTo>
                    <a:pt x="0" y="98328"/>
                  </a:lnTo>
                  <a:cubicBezTo>
                    <a:pt x="0" y="120552"/>
                    <a:pt x="61449" y="138553"/>
                    <a:pt x="137258" y="138553"/>
                  </a:cubicBezTo>
                  <a:lnTo>
                    <a:pt x="137258" y="0"/>
                  </a:lnTo>
                  <a:cubicBezTo>
                    <a:pt x="61449" y="0"/>
                    <a:pt x="0" y="18001"/>
                    <a:pt x="0" y="40225"/>
                  </a:cubicBez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17" name="Google Shape;417;p32"/>
            <p:cNvSpPr/>
            <p:nvPr/>
          </p:nvSpPr>
          <p:spPr>
            <a:xfrm>
              <a:off x="5363839" y="2237318"/>
              <a:ext cx="505794" cy="148229"/>
            </a:xfrm>
            <a:custGeom>
              <a:avLst/>
              <a:gdLst/>
              <a:ahLst/>
              <a:cxnLst/>
              <a:rect l="l" t="t" r="r" b="b"/>
              <a:pathLst>
                <a:path w="274515" h="80450" extrusionOk="0">
                  <a:moveTo>
                    <a:pt x="274516" y="40225"/>
                  </a:moveTo>
                  <a:cubicBezTo>
                    <a:pt x="274516" y="62449"/>
                    <a:pt x="213067" y="80450"/>
                    <a:pt x="137258" y="80450"/>
                  </a:cubicBezTo>
                  <a:cubicBezTo>
                    <a:pt x="61449" y="80450"/>
                    <a:pt x="0" y="62432"/>
                    <a:pt x="0" y="40225"/>
                  </a:cubicBezTo>
                  <a:cubicBezTo>
                    <a:pt x="0" y="18019"/>
                    <a:pt x="61449" y="0"/>
                    <a:pt x="137258" y="0"/>
                  </a:cubicBezTo>
                  <a:cubicBezTo>
                    <a:pt x="213067" y="0"/>
                    <a:pt x="274516" y="18001"/>
                    <a:pt x="274516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18" name="Google Shape;418;p32"/>
            <p:cNvSpPr/>
            <p:nvPr/>
          </p:nvSpPr>
          <p:spPr>
            <a:xfrm>
              <a:off x="5363839" y="2237318"/>
              <a:ext cx="252896" cy="148229"/>
            </a:xfrm>
            <a:custGeom>
              <a:avLst/>
              <a:gdLst/>
              <a:ahLst/>
              <a:cxnLst/>
              <a:rect l="l" t="t" r="r" b="b"/>
              <a:pathLst>
                <a:path w="137257" h="80450" extrusionOk="0">
                  <a:moveTo>
                    <a:pt x="0" y="40225"/>
                  </a:moveTo>
                  <a:cubicBezTo>
                    <a:pt x="0" y="62449"/>
                    <a:pt x="61449" y="80450"/>
                    <a:pt x="137258" y="80450"/>
                  </a:cubicBezTo>
                  <a:lnTo>
                    <a:pt x="137258" y="0"/>
                  </a:lnTo>
                  <a:cubicBezTo>
                    <a:pt x="61449" y="0"/>
                    <a:pt x="0" y="18001"/>
                    <a:pt x="0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19" name="Google Shape;419;p32"/>
            <p:cNvSpPr/>
            <p:nvPr/>
          </p:nvSpPr>
          <p:spPr>
            <a:xfrm>
              <a:off x="5380715" y="2237318"/>
              <a:ext cx="472049" cy="123523"/>
            </a:xfrm>
            <a:custGeom>
              <a:avLst/>
              <a:gdLst/>
              <a:ahLst/>
              <a:cxnLst/>
              <a:rect l="l" t="t" r="r" b="b"/>
              <a:pathLst>
                <a:path w="256200" h="67041" extrusionOk="0">
                  <a:moveTo>
                    <a:pt x="256200" y="33521"/>
                  </a:moveTo>
                  <a:cubicBezTo>
                    <a:pt x="256200" y="52034"/>
                    <a:pt x="198848" y="67042"/>
                    <a:pt x="128100" y="67042"/>
                  </a:cubicBezTo>
                  <a:cubicBezTo>
                    <a:pt x="57352" y="67042"/>
                    <a:pt x="0" y="52034"/>
                    <a:pt x="0" y="33521"/>
                  </a:cubicBezTo>
                  <a:cubicBezTo>
                    <a:pt x="0" y="15008"/>
                    <a:pt x="57352" y="0"/>
                    <a:pt x="128100" y="0"/>
                  </a:cubicBezTo>
                  <a:cubicBezTo>
                    <a:pt x="198848" y="0"/>
                    <a:pt x="256200" y="15008"/>
                    <a:pt x="25620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20" name="Google Shape;420;p32"/>
            <p:cNvSpPr/>
            <p:nvPr/>
          </p:nvSpPr>
          <p:spPr>
            <a:xfrm>
              <a:off x="5380715" y="2237318"/>
              <a:ext cx="236024" cy="123523"/>
            </a:xfrm>
            <a:custGeom>
              <a:avLst/>
              <a:gdLst/>
              <a:ahLst/>
              <a:cxnLst/>
              <a:rect l="l" t="t" r="r" b="b"/>
              <a:pathLst>
                <a:path w="128100" h="67041" extrusionOk="0">
                  <a:moveTo>
                    <a:pt x="0" y="33521"/>
                  </a:moveTo>
                  <a:cubicBezTo>
                    <a:pt x="0" y="52032"/>
                    <a:pt x="57351" y="67042"/>
                    <a:pt x="128100" y="67042"/>
                  </a:cubicBezTo>
                  <a:lnTo>
                    <a:pt x="128100" y="0"/>
                  </a:lnTo>
                  <a:cubicBezTo>
                    <a:pt x="57351" y="0"/>
                    <a:pt x="0" y="15010"/>
                    <a:pt x="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21" name="Google Shape;421;p32"/>
            <p:cNvSpPr/>
            <p:nvPr/>
          </p:nvSpPr>
          <p:spPr>
            <a:xfrm>
              <a:off x="5407375" y="2384379"/>
              <a:ext cx="110198" cy="46134"/>
            </a:xfrm>
            <a:custGeom>
              <a:avLst/>
              <a:gdLst/>
              <a:ahLst/>
              <a:cxnLst/>
              <a:rect l="l" t="t" r="r" b="b"/>
              <a:pathLst>
                <a:path w="59809" h="25039" extrusionOk="0">
                  <a:moveTo>
                    <a:pt x="59810" y="18652"/>
                  </a:moveTo>
                  <a:cubicBezTo>
                    <a:pt x="59810" y="22189"/>
                    <a:pt x="56888" y="25040"/>
                    <a:pt x="53271" y="25040"/>
                  </a:cubicBezTo>
                  <a:cubicBezTo>
                    <a:pt x="49654" y="25040"/>
                    <a:pt x="46732" y="22171"/>
                    <a:pt x="46732" y="18652"/>
                  </a:cubicBezTo>
                  <a:cubicBezTo>
                    <a:pt x="46732" y="15133"/>
                    <a:pt x="49654" y="12265"/>
                    <a:pt x="53271" y="12265"/>
                  </a:cubicBezTo>
                  <a:cubicBezTo>
                    <a:pt x="56888" y="12265"/>
                    <a:pt x="59810" y="15133"/>
                    <a:pt x="59810" y="18652"/>
                  </a:cubicBezTo>
                  <a:close/>
                  <a:moveTo>
                    <a:pt x="29094" y="7514"/>
                  </a:moveTo>
                  <a:cubicBezTo>
                    <a:pt x="25477" y="7514"/>
                    <a:pt x="22556" y="10382"/>
                    <a:pt x="22556" y="13901"/>
                  </a:cubicBezTo>
                  <a:cubicBezTo>
                    <a:pt x="22556" y="17420"/>
                    <a:pt x="25477" y="20289"/>
                    <a:pt x="29094" y="20289"/>
                  </a:cubicBezTo>
                  <a:cubicBezTo>
                    <a:pt x="32711" y="20289"/>
                    <a:pt x="35633" y="17420"/>
                    <a:pt x="35633" y="13901"/>
                  </a:cubicBezTo>
                  <a:cubicBezTo>
                    <a:pt x="35633" y="10382"/>
                    <a:pt x="32711" y="7514"/>
                    <a:pt x="29094" y="7514"/>
                  </a:cubicBezTo>
                  <a:close/>
                  <a:moveTo>
                    <a:pt x="6539" y="0"/>
                  </a:moveTo>
                  <a:cubicBezTo>
                    <a:pt x="2922" y="0"/>
                    <a:pt x="0" y="2868"/>
                    <a:pt x="0" y="6387"/>
                  </a:cubicBezTo>
                  <a:cubicBezTo>
                    <a:pt x="0" y="9907"/>
                    <a:pt x="2922" y="12775"/>
                    <a:pt x="6539" y="12775"/>
                  </a:cubicBezTo>
                  <a:cubicBezTo>
                    <a:pt x="10155" y="12775"/>
                    <a:pt x="13077" y="9907"/>
                    <a:pt x="13077" y="6387"/>
                  </a:cubicBezTo>
                  <a:cubicBezTo>
                    <a:pt x="13077" y="2868"/>
                    <a:pt x="10155" y="0"/>
                    <a:pt x="65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22" name="Google Shape;422;p32"/>
            <p:cNvSpPr/>
            <p:nvPr/>
          </p:nvSpPr>
          <p:spPr>
            <a:xfrm>
              <a:off x="5363839" y="2085618"/>
              <a:ext cx="505794" cy="255284"/>
            </a:xfrm>
            <a:custGeom>
              <a:avLst/>
              <a:gdLst/>
              <a:ahLst/>
              <a:cxnLst/>
              <a:rect l="l" t="t" r="r" b="b"/>
              <a:pathLst>
                <a:path w="274515" h="138553" extrusionOk="0">
                  <a:moveTo>
                    <a:pt x="274516" y="40225"/>
                  </a:moveTo>
                  <a:lnTo>
                    <a:pt x="274516" y="98328"/>
                  </a:lnTo>
                  <a:cubicBezTo>
                    <a:pt x="274516" y="120552"/>
                    <a:pt x="213067" y="138553"/>
                    <a:pt x="137258" y="138553"/>
                  </a:cubicBezTo>
                  <a:cubicBezTo>
                    <a:pt x="61449" y="138553"/>
                    <a:pt x="0" y="120552"/>
                    <a:pt x="0" y="98328"/>
                  </a:cubicBezTo>
                  <a:lnTo>
                    <a:pt x="0" y="40225"/>
                  </a:lnTo>
                  <a:cubicBezTo>
                    <a:pt x="0" y="18001"/>
                    <a:pt x="61449" y="0"/>
                    <a:pt x="137258" y="0"/>
                  </a:cubicBezTo>
                  <a:cubicBezTo>
                    <a:pt x="213067" y="0"/>
                    <a:pt x="274516" y="18001"/>
                    <a:pt x="274516" y="40225"/>
                  </a:cubicBezTo>
                  <a:close/>
                </a:path>
              </a:pathLst>
            </a:custGeom>
            <a:solidFill>
              <a:srgbClr val="8D8D8D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23" name="Google Shape;423;p32"/>
            <p:cNvSpPr/>
            <p:nvPr/>
          </p:nvSpPr>
          <p:spPr>
            <a:xfrm>
              <a:off x="5363839" y="2085618"/>
              <a:ext cx="252896" cy="255284"/>
            </a:xfrm>
            <a:custGeom>
              <a:avLst/>
              <a:gdLst/>
              <a:ahLst/>
              <a:cxnLst/>
              <a:rect l="l" t="t" r="r" b="b"/>
              <a:pathLst>
                <a:path w="137257" h="138553" extrusionOk="0">
                  <a:moveTo>
                    <a:pt x="0" y="40225"/>
                  </a:moveTo>
                  <a:lnTo>
                    <a:pt x="0" y="98328"/>
                  </a:lnTo>
                  <a:cubicBezTo>
                    <a:pt x="0" y="120552"/>
                    <a:pt x="61449" y="138553"/>
                    <a:pt x="137258" y="138553"/>
                  </a:cubicBezTo>
                  <a:lnTo>
                    <a:pt x="137258" y="0"/>
                  </a:lnTo>
                  <a:cubicBezTo>
                    <a:pt x="61449" y="0"/>
                    <a:pt x="0" y="18019"/>
                    <a:pt x="0" y="40225"/>
                  </a:cubicBez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24" name="Google Shape;424;p32"/>
            <p:cNvSpPr/>
            <p:nvPr/>
          </p:nvSpPr>
          <p:spPr>
            <a:xfrm>
              <a:off x="5363839" y="2085618"/>
              <a:ext cx="505794" cy="148229"/>
            </a:xfrm>
            <a:custGeom>
              <a:avLst/>
              <a:gdLst/>
              <a:ahLst/>
              <a:cxnLst/>
              <a:rect l="l" t="t" r="r" b="b"/>
              <a:pathLst>
                <a:path w="274515" h="80450" extrusionOk="0">
                  <a:moveTo>
                    <a:pt x="274516" y="40225"/>
                  </a:moveTo>
                  <a:cubicBezTo>
                    <a:pt x="274516" y="62441"/>
                    <a:pt x="213063" y="80450"/>
                    <a:pt x="137258" y="80450"/>
                  </a:cubicBezTo>
                  <a:cubicBezTo>
                    <a:pt x="61452" y="80450"/>
                    <a:pt x="0" y="62441"/>
                    <a:pt x="0" y="40225"/>
                  </a:cubicBezTo>
                  <a:cubicBezTo>
                    <a:pt x="0" y="18009"/>
                    <a:pt x="61452" y="0"/>
                    <a:pt x="137258" y="0"/>
                  </a:cubicBezTo>
                  <a:cubicBezTo>
                    <a:pt x="213063" y="0"/>
                    <a:pt x="274516" y="18009"/>
                    <a:pt x="274516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25" name="Google Shape;425;p32"/>
            <p:cNvSpPr/>
            <p:nvPr/>
          </p:nvSpPr>
          <p:spPr>
            <a:xfrm>
              <a:off x="5363839" y="2085618"/>
              <a:ext cx="252896" cy="148229"/>
            </a:xfrm>
            <a:custGeom>
              <a:avLst/>
              <a:gdLst/>
              <a:ahLst/>
              <a:cxnLst/>
              <a:rect l="l" t="t" r="r" b="b"/>
              <a:pathLst>
                <a:path w="137257" h="80450" extrusionOk="0">
                  <a:moveTo>
                    <a:pt x="0" y="40225"/>
                  </a:moveTo>
                  <a:cubicBezTo>
                    <a:pt x="0" y="62432"/>
                    <a:pt x="61449" y="80450"/>
                    <a:pt x="137258" y="80450"/>
                  </a:cubicBezTo>
                  <a:lnTo>
                    <a:pt x="137258" y="0"/>
                  </a:lnTo>
                  <a:cubicBezTo>
                    <a:pt x="61449" y="0"/>
                    <a:pt x="0" y="18019"/>
                    <a:pt x="0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26" name="Google Shape;426;p32"/>
            <p:cNvSpPr/>
            <p:nvPr/>
          </p:nvSpPr>
          <p:spPr>
            <a:xfrm>
              <a:off x="5380715" y="2085618"/>
              <a:ext cx="472049" cy="123523"/>
            </a:xfrm>
            <a:custGeom>
              <a:avLst/>
              <a:gdLst/>
              <a:ahLst/>
              <a:cxnLst/>
              <a:rect l="l" t="t" r="r" b="b"/>
              <a:pathLst>
                <a:path w="256200" h="67041" extrusionOk="0">
                  <a:moveTo>
                    <a:pt x="256200" y="33521"/>
                  </a:moveTo>
                  <a:cubicBezTo>
                    <a:pt x="256200" y="52034"/>
                    <a:pt x="198848" y="67042"/>
                    <a:pt x="128100" y="67042"/>
                  </a:cubicBezTo>
                  <a:cubicBezTo>
                    <a:pt x="57352" y="67042"/>
                    <a:pt x="0" y="52034"/>
                    <a:pt x="0" y="33521"/>
                  </a:cubicBezTo>
                  <a:cubicBezTo>
                    <a:pt x="0" y="15008"/>
                    <a:pt x="57352" y="0"/>
                    <a:pt x="128100" y="0"/>
                  </a:cubicBezTo>
                  <a:cubicBezTo>
                    <a:pt x="198848" y="0"/>
                    <a:pt x="256200" y="15008"/>
                    <a:pt x="25620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27" name="Google Shape;427;p32"/>
            <p:cNvSpPr/>
            <p:nvPr/>
          </p:nvSpPr>
          <p:spPr>
            <a:xfrm>
              <a:off x="5380715" y="2085618"/>
              <a:ext cx="236024" cy="123523"/>
            </a:xfrm>
            <a:custGeom>
              <a:avLst/>
              <a:gdLst/>
              <a:ahLst/>
              <a:cxnLst/>
              <a:rect l="l" t="t" r="r" b="b"/>
              <a:pathLst>
                <a:path w="128100" h="67041" extrusionOk="0">
                  <a:moveTo>
                    <a:pt x="0" y="33521"/>
                  </a:moveTo>
                  <a:cubicBezTo>
                    <a:pt x="0" y="52032"/>
                    <a:pt x="57351" y="67042"/>
                    <a:pt x="128100" y="67042"/>
                  </a:cubicBezTo>
                  <a:lnTo>
                    <a:pt x="128100" y="0"/>
                  </a:lnTo>
                  <a:cubicBezTo>
                    <a:pt x="57351" y="0"/>
                    <a:pt x="0" y="15010"/>
                    <a:pt x="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28" name="Google Shape;428;p32"/>
            <p:cNvSpPr/>
            <p:nvPr/>
          </p:nvSpPr>
          <p:spPr>
            <a:xfrm>
              <a:off x="5407375" y="2232681"/>
              <a:ext cx="110198" cy="46134"/>
            </a:xfrm>
            <a:custGeom>
              <a:avLst/>
              <a:gdLst/>
              <a:ahLst/>
              <a:cxnLst/>
              <a:rect l="l" t="t" r="r" b="b"/>
              <a:pathLst>
                <a:path w="59809" h="25039" extrusionOk="0">
                  <a:moveTo>
                    <a:pt x="59810" y="18652"/>
                  </a:moveTo>
                  <a:cubicBezTo>
                    <a:pt x="59810" y="22189"/>
                    <a:pt x="56888" y="25040"/>
                    <a:pt x="53271" y="25040"/>
                  </a:cubicBezTo>
                  <a:cubicBezTo>
                    <a:pt x="49654" y="25040"/>
                    <a:pt x="46732" y="22171"/>
                    <a:pt x="46732" y="18652"/>
                  </a:cubicBezTo>
                  <a:cubicBezTo>
                    <a:pt x="46732" y="15133"/>
                    <a:pt x="49654" y="12265"/>
                    <a:pt x="53271" y="12265"/>
                  </a:cubicBezTo>
                  <a:cubicBezTo>
                    <a:pt x="56888" y="12265"/>
                    <a:pt x="59810" y="15133"/>
                    <a:pt x="59810" y="18652"/>
                  </a:cubicBezTo>
                  <a:close/>
                  <a:moveTo>
                    <a:pt x="29094" y="7514"/>
                  </a:moveTo>
                  <a:cubicBezTo>
                    <a:pt x="25477" y="7514"/>
                    <a:pt x="22556" y="10382"/>
                    <a:pt x="22556" y="13901"/>
                  </a:cubicBezTo>
                  <a:cubicBezTo>
                    <a:pt x="22556" y="17420"/>
                    <a:pt x="25477" y="20289"/>
                    <a:pt x="29094" y="20289"/>
                  </a:cubicBezTo>
                  <a:cubicBezTo>
                    <a:pt x="32711" y="20289"/>
                    <a:pt x="35633" y="17420"/>
                    <a:pt x="35633" y="13901"/>
                  </a:cubicBezTo>
                  <a:cubicBezTo>
                    <a:pt x="35633" y="10382"/>
                    <a:pt x="32711" y="7514"/>
                    <a:pt x="29094" y="7514"/>
                  </a:cubicBezTo>
                  <a:close/>
                  <a:moveTo>
                    <a:pt x="6539" y="0"/>
                  </a:moveTo>
                  <a:cubicBezTo>
                    <a:pt x="2922" y="0"/>
                    <a:pt x="0" y="2868"/>
                    <a:pt x="0" y="6387"/>
                  </a:cubicBezTo>
                  <a:cubicBezTo>
                    <a:pt x="0" y="9907"/>
                    <a:pt x="2922" y="12775"/>
                    <a:pt x="6539" y="12775"/>
                  </a:cubicBezTo>
                  <a:cubicBezTo>
                    <a:pt x="10155" y="12775"/>
                    <a:pt x="13077" y="9907"/>
                    <a:pt x="13077" y="6387"/>
                  </a:cubicBezTo>
                  <a:cubicBezTo>
                    <a:pt x="13077" y="2868"/>
                    <a:pt x="10155" y="0"/>
                    <a:pt x="65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29" name="Google Shape;429;p32"/>
            <p:cNvSpPr/>
            <p:nvPr/>
          </p:nvSpPr>
          <p:spPr>
            <a:xfrm>
              <a:off x="5363839" y="1933953"/>
              <a:ext cx="505794" cy="255284"/>
            </a:xfrm>
            <a:custGeom>
              <a:avLst/>
              <a:gdLst/>
              <a:ahLst/>
              <a:cxnLst/>
              <a:rect l="l" t="t" r="r" b="b"/>
              <a:pathLst>
                <a:path w="274515" h="138553" extrusionOk="0">
                  <a:moveTo>
                    <a:pt x="274516" y="40225"/>
                  </a:moveTo>
                  <a:lnTo>
                    <a:pt x="274516" y="98328"/>
                  </a:lnTo>
                  <a:cubicBezTo>
                    <a:pt x="274516" y="120552"/>
                    <a:pt x="213067" y="138553"/>
                    <a:pt x="137258" y="138553"/>
                  </a:cubicBezTo>
                  <a:cubicBezTo>
                    <a:pt x="61449" y="138553"/>
                    <a:pt x="0" y="120535"/>
                    <a:pt x="0" y="98328"/>
                  </a:cubicBezTo>
                  <a:lnTo>
                    <a:pt x="0" y="40225"/>
                  </a:lnTo>
                  <a:cubicBezTo>
                    <a:pt x="0" y="18001"/>
                    <a:pt x="61449" y="0"/>
                    <a:pt x="137258" y="0"/>
                  </a:cubicBezTo>
                  <a:cubicBezTo>
                    <a:pt x="213067" y="0"/>
                    <a:pt x="274516" y="18001"/>
                    <a:pt x="274516" y="40225"/>
                  </a:cubicBezTo>
                  <a:close/>
                </a:path>
              </a:pathLst>
            </a:custGeom>
            <a:solidFill>
              <a:srgbClr val="8D8D8D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30" name="Google Shape;430;p32"/>
            <p:cNvSpPr/>
            <p:nvPr/>
          </p:nvSpPr>
          <p:spPr>
            <a:xfrm>
              <a:off x="5363839" y="1933954"/>
              <a:ext cx="252896" cy="255284"/>
            </a:xfrm>
            <a:custGeom>
              <a:avLst/>
              <a:gdLst/>
              <a:ahLst/>
              <a:cxnLst/>
              <a:rect l="l" t="t" r="r" b="b"/>
              <a:pathLst>
                <a:path w="137257" h="138553" extrusionOk="0">
                  <a:moveTo>
                    <a:pt x="0" y="40225"/>
                  </a:moveTo>
                  <a:lnTo>
                    <a:pt x="0" y="98328"/>
                  </a:lnTo>
                  <a:cubicBezTo>
                    <a:pt x="0" y="120552"/>
                    <a:pt x="61449" y="138553"/>
                    <a:pt x="137258" y="138553"/>
                  </a:cubicBezTo>
                  <a:lnTo>
                    <a:pt x="137258" y="0"/>
                  </a:lnTo>
                  <a:cubicBezTo>
                    <a:pt x="61449" y="0"/>
                    <a:pt x="0" y="18001"/>
                    <a:pt x="0" y="40225"/>
                  </a:cubicBez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31" name="Google Shape;431;p32"/>
            <p:cNvSpPr/>
            <p:nvPr/>
          </p:nvSpPr>
          <p:spPr>
            <a:xfrm>
              <a:off x="5363839" y="1933955"/>
              <a:ext cx="252896" cy="148229"/>
            </a:xfrm>
            <a:custGeom>
              <a:avLst/>
              <a:gdLst/>
              <a:ahLst/>
              <a:cxnLst/>
              <a:rect l="l" t="t" r="r" b="b"/>
              <a:pathLst>
                <a:path w="137257" h="80450" extrusionOk="0">
                  <a:moveTo>
                    <a:pt x="0" y="40225"/>
                  </a:moveTo>
                  <a:cubicBezTo>
                    <a:pt x="0" y="62432"/>
                    <a:pt x="61449" y="80450"/>
                    <a:pt x="137258" y="80450"/>
                  </a:cubicBezTo>
                  <a:lnTo>
                    <a:pt x="137258" y="0"/>
                  </a:lnTo>
                  <a:cubicBezTo>
                    <a:pt x="61449" y="0"/>
                    <a:pt x="0" y="18001"/>
                    <a:pt x="0" y="4022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32" name="Google Shape;432;p32"/>
            <p:cNvSpPr/>
            <p:nvPr/>
          </p:nvSpPr>
          <p:spPr>
            <a:xfrm>
              <a:off x="5380715" y="1933954"/>
              <a:ext cx="472049" cy="123523"/>
            </a:xfrm>
            <a:custGeom>
              <a:avLst/>
              <a:gdLst/>
              <a:ahLst/>
              <a:cxnLst/>
              <a:rect l="l" t="t" r="r" b="b"/>
              <a:pathLst>
                <a:path w="256200" h="67041" extrusionOk="0">
                  <a:moveTo>
                    <a:pt x="256200" y="33521"/>
                  </a:moveTo>
                  <a:cubicBezTo>
                    <a:pt x="256200" y="52034"/>
                    <a:pt x="198848" y="67042"/>
                    <a:pt x="128100" y="67042"/>
                  </a:cubicBezTo>
                  <a:cubicBezTo>
                    <a:pt x="57352" y="67042"/>
                    <a:pt x="0" y="52034"/>
                    <a:pt x="0" y="33521"/>
                  </a:cubicBezTo>
                  <a:cubicBezTo>
                    <a:pt x="0" y="15008"/>
                    <a:pt x="57352" y="0"/>
                    <a:pt x="128100" y="0"/>
                  </a:cubicBezTo>
                  <a:cubicBezTo>
                    <a:pt x="198848" y="0"/>
                    <a:pt x="256200" y="15008"/>
                    <a:pt x="25620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33" name="Google Shape;433;p32"/>
            <p:cNvSpPr/>
            <p:nvPr/>
          </p:nvSpPr>
          <p:spPr>
            <a:xfrm>
              <a:off x="5380715" y="1933954"/>
              <a:ext cx="236024" cy="123523"/>
            </a:xfrm>
            <a:custGeom>
              <a:avLst/>
              <a:gdLst/>
              <a:ahLst/>
              <a:cxnLst/>
              <a:rect l="l" t="t" r="r" b="b"/>
              <a:pathLst>
                <a:path w="128100" h="67041" extrusionOk="0">
                  <a:moveTo>
                    <a:pt x="0" y="33521"/>
                  </a:moveTo>
                  <a:cubicBezTo>
                    <a:pt x="0" y="52032"/>
                    <a:pt x="57351" y="67042"/>
                    <a:pt x="128100" y="67042"/>
                  </a:cubicBezTo>
                  <a:lnTo>
                    <a:pt x="128100" y="0"/>
                  </a:lnTo>
                  <a:cubicBezTo>
                    <a:pt x="57351" y="0"/>
                    <a:pt x="0" y="15010"/>
                    <a:pt x="0" y="3352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sp>
          <p:nvSpPr>
            <p:cNvPr id="434" name="Google Shape;434;p32"/>
            <p:cNvSpPr/>
            <p:nvPr/>
          </p:nvSpPr>
          <p:spPr>
            <a:xfrm>
              <a:off x="5407375" y="2080982"/>
              <a:ext cx="110198" cy="46134"/>
            </a:xfrm>
            <a:custGeom>
              <a:avLst/>
              <a:gdLst/>
              <a:ahLst/>
              <a:cxnLst/>
              <a:rect l="l" t="t" r="r" b="b"/>
              <a:pathLst>
                <a:path w="59809" h="25039" extrusionOk="0">
                  <a:moveTo>
                    <a:pt x="59810" y="18652"/>
                  </a:moveTo>
                  <a:cubicBezTo>
                    <a:pt x="59810" y="22189"/>
                    <a:pt x="56888" y="25040"/>
                    <a:pt x="53271" y="25040"/>
                  </a:cubicBezTo>
                  <a:cubicBezTo>
                    <a:pt x="49654" y="25040"/>
                    <a:pt x="46732" y="22171"/>
                    <a:pt x="46732" y="18652"/>
                  </a:cubicBezTo>
                  <a:cubicBezTo>
                    <a:pt x="46732" y="15133"/>
                    <a:pt x="49654" y="12265"/>
                    <a:pt x="53271" y="12265"/>
                  </a:cubicBezTo>
                  <a:cubicBezTo>
                    <a:pt x="56888" y="12265"/>
                    <a:pt x="59810" y="15133"/>
                    <a:pt x="59810" y="18652"/>
                  </a:cubicBezTo>
                  <a:close/>
                  <a:moveTo>
                    <a:pt x="29094" y="7514"/>
                  </a:moveTo>
                  <a:cubicBezTo>
                    <a:pt x="25477" y="7514"/>
                    <a:pt x="22556" y="10382"/>
                    <a:pt x="22556" y="13901"/>
                  </a:cubicBezTo>
                  <a:cubicBezTo>
                    <a:pt x="22556" y="17420"/>
                    <a:pt x="25477" y="20289"/>
                    <a:pt x="29094" y="20289"/>
                  </a:cubicBezTo>
                  <a:cubicBezTo>
                    <a:pt x="32711" y="20289"/>
                    <a:pt x="35633" y="17420"/>
                    <a:pt x="35633" y="13901"/>
                  </a:cubicBezTo>
                  <a:cubicBezTo>
                    <a:pt x="35633" y="10382"/>
                    <a:pt x="32711" y="7514"/>
                    <a:pt x="29094" y="7514"/>
                  </a:cubicBezTo>
                  <a:close/>
                  <a:moveTo>
                    <a:pt x="6539" y="0"/>
                  </a:moveTo>
                  <a:cubicBezTo>
                    <a:pt x="2922" y="0"/>
                    <a:pt x="0" y="2868"/>
                    <a:pt x="0" y="6387"/>
                  </a:cubicBezTo>
                  <a:cubicBezTo>
                    <a:pt x="0" y="9907"/>
                    <a:pt x="2922" y="12775"/>
                    <a:pt x="6539" y="12775"/>
                  </a:cubicBezTo>
                  <a:cubicBezTo>
                    <a:pt x="10155" y="12775"/>
                    <a:pt x="13077" y="9907"/>
                    <a:pt x="13077" y="6387"/>
                  </a:cubicBezTo>
                  <a:cubicBezTo>
                    <a:pt x="13077" y="2868"/>
                    <a:pt x="10155" y="0"/>
                    <a:pt x="65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800"/>
              </a:pPr>
              <a:endParaRPr sz="1067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</p:grpSp>
      <p:sp>
        <p:nvSpPr>
          <p:cNvPr id="435" name="Google Shape;435;p32"/>
          <p:cNvSpPr/>
          <p:nvPr/>
        </p:nvSpPr>
        <p:spPr>
          <a:xfrm>
            <a:off x="4398303" y="1594808"/>
            <a:ext cx="1936800" cy="215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algn="ctr" defTabSz="1219170">
              <a:buClr>
                <a:srgbClr val="4285F4"/>
              </a:buClr>
              <a:buSzPts val="1100"/>
            </a:pPr>
            <a:r>
              <a:rPr lang="en" sz="1467" b="1" kern="0">
                <a:solidFill>
                  <a:srgbClr val="FF7000"/>
                </a:solidFill>
                <a:latin typeface="Sora"/>
                <a:ea typeface="Sora"/>
                <a:cs typeface="Sora"/>
                <a:sym typeface="Sora"/>
              </a:rPr>
              <a:t>Mistral expertise</a:t>
            </a:r>
            <a:endParaRPr sz="1467" b="1" kern="0">
              <a:solidFill>
                <a:srgbClr val="FF7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36" name="Google Shape;436;p32"/>
          <p:cNvSpPr txBox="1"/>
          <p:nvPr/>
        </p:nvSpPr>
        <p:spPr>
          <a:xfrm>
            <a:off x="3452084" y="2582667"/>
            <a:ext cx="19368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algn="ctr" defTabSz="1219170">
              <a:buClr>
                <a:srgbClr val="000000"/>
              </a:buClr>
              <a:buSzPts val="900"/>
            </a:pPr>
            <a:r>
              <a:rPr lang="en" sz="1200" i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Several months on huge infra</a:t>
            </a:r>
            <a:endParaRPr sz="1200" i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37" name="Google Shape;437;p32"/>
          <p:cNvSpPr txBox="1"/>
          <p:nvPr/>
        </p:nvSpPr>
        <p:spPr>
          <a:xfrm>
            <a:off x="609600" y="609600"/>
            <a:ext cx="106680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000" b="1" kern="0">
                <a:solidFill>
                  <a:srgbClr val="323131"/>
                </a:solidFill>
                <a:latin typeface="Sora"/>
                <a:ea typeface="Sora"/>
                <a:cs typeface="Sora"/>
                <a:sym typeface="Sora"/>
              </a:rPr>
              <a:t>Mistral Small Fine-tuning</a:t>
            </a:r>
            <a:endParaRPr sz="2667" kern="0">
              <a:solidFill>
                <a:srgbClr val="FF2327"/>
              </a:solidFill>
              <a:latin typeface="Sora"/>
              <a:ea typeface="Sora"/>
              <a:cs typeface="Sora"/>
              <a:sym typeface="Sora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Google Shape;442;p33"/>
          <p:cNvSpPr/>
          <p:nvPr/>
        </p:nvSpPr>
        <p:spPr>
          <a:xfrm>
            <a:off x="2456867" y="1828800"/>
            <a:ext cx="1403200" cy="544400"/>
          </a:xfrm>
          <a:prstGeom prst="rect">
            <a:avLst/>
          </a:prstGeom>
          <a:noFill/>
          <a:ln w="9525" cap="flat" cmpd="sng">
            <a:solidFill>
              <a:srgbClr val="42424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Nunito Medium"/>
              <a:ea typeface="Nunito Medium"/>
              <a:cs typeface="Nunito Medium"/>
              <a:sym typeface="Nunito Medium"/>
            </a:endParaRPr>
          </a:p>
        </p:txBody>
      </p:sp>
      <p:sp>
        <p:nvSpPr>
          <p:cNvPr id="443" name="Google Shape;443;p33"/>
          <p:cNvSpPr/>
          <p:nvPr/>
        </p:nvSpPr>
        <p:spPr>
          <a:xfrm>
            <a:off x="1781567" y="3307433"/>
            <a:ext cx="164000" cy="1232800"/>
          </a:xfrm>
          <a:prstGeom prst="rect">
            <a:avLst/>
          </a:prstGeom>
          <a:solidFill>
            <a:srgbClr val="FCE5CD"/>
          </a:solidFill>
          <a:ln w="9525" cap="flat" cmpd="sng">
            <a:solidFill>
              <a:srgbClr val="42424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Nunito Medium"/>
              <a:ea typeface="Nunito Medium"/>
              <a:cs typeface="Nunito Medium"/>
              <a:sym typeface="Nunito Medium"/>
            </a:endParaRPr>
          </a:p>
        </p:txBody>
      </p:sp>
      <p:sp>
        <p:nvSpPr>
          <p:cNvPr id="444" name="Google Shape;444;p33"/>
          <p:cNvSpPr/>
          <p:nvPr/>
        </p:nvSpPr>
        <p:spPr>
          <a:xfrm>
            <a:off x="1781567" y="3005833"/>
            <a:ext cx="164000" cy="301600"/>
          </a:xfrm>
          <a:prstGeom prst="rect">
            <a:avLst/>
          </a:prstGeom>
          <a:solidFill>
            <a:srgbClr val="F4CCCC"/>
          </a:solidFill>
          <a:ln w="9525" cap="flat" cmpd="sng">
            <a:solidFill>
              <a:srgbClr val="42424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Nunito Medium"/>
              <a:ea typeface="Nunito Medium"/>
              <a:cs typeface="Nunito Medium"/>
              <a:sym typeface="Nunito Medium"/>
            </a:endParaRPr>
          </a:p>
        </p:txBody>
      </p:sp>
      <p:sp>
        <p:nvSpPr>
          <p:cNvPr id="445" name="Google Shape;445;p33"/>
          <p:cNvSpPr/>
          <p:nvPr/>
        </p:nvSpPr>
        <p:spPr>
          <a:xfrm>
            <a:off x="2692833" y="1950200"/>
            <a:ext cx="164000" cy="301600"/>
          </a:xfrm>
          <a:prstGeom prst="rect">
            <a:avLst/>
          </a:prstGeom>
          <a:solidFill>
            <a:srgbClr val="F4CCCC"/>
          </a:solidFill>
          <a:ln w="9525" cap="flat" cmpd="sng">
            <a:solidFill>
              <a:srgbClr val="42424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Nunito Medium"/>
              <a:ea typeface="Nunito Medium"/>
              <a:cs typeface="Nunito Medium"/>
              <a:sym typeface="Nunito Medium"/>
            </a:endParaRPr>
          </a:p>
        </p:txBody>
      </p:sp>
      <p:sp>
        <p:nvSpPr>
          <p:cNvPr id="446" name="Google Shape;446;p33"/>
          <p:cNvSpPr/>
          <p:nvPr/>
        </p:nvSpPr>
        <p:spPr>
          <a:xfrm>
            <a:off x="2948467" y="1950200"/>
            <a:ext cx="164000" cy="301600"/>
          </a:xfrm>
          <a:prstGeom prst="rect">
            <a:avLst/>
          </a:prstGeom>
          <a:solidFill>
            <a:srgbClr val="D9D2E9"/>
          </a:solidFill>
          <a:ln w="9525" cap="flat" cmpd="sng">
            <a:solidFill>
              <a:srgbClr val="42424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Nunito Medium"/>
              <a:ea typeface="Nunito Medium"/>
              <a:cs typeface="Nunito Medium"/>
              <a:sym typeface="Nunito Medium"/>
            </a:endParaRPr>
          </a:p>
        </p:txBody>
      </p:sp>
      <p:sp>
        <p:nvSpPr>
          <p:cNvPr id="447" name="Google Shape;447;p33"/>
          <p:cNvSpPr/>
          <p:nvPr/>
        </p:nvSpPr>
        <p:spPr>
          <a:xfrm>
            <a:off x="3204100" y="1950200"/>
            <a:ext cx="164000" cy="301600"/>
          </a:xfrm>
          <a:prstGeom prst="rect">
            <a:avLst/>
          </a:prstGeom>
          <a:solidFill>
            <a:srgbClr val="D9EAD3"/>
          </a:solidFill>
          <a:ln w="9525" cap="flat" cmpd="sng">
            <a:solidFill>
              <a:srgbClr val="42424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Nunito Medium"/>
              <a:ea typeface="Nunito Medium"/>
              <a:cs typeface="Nunito Medium"/>
              <a:sym typeface="Nunito Medium"/>
            </a:endParaRPr>
          </a:p>
        </p:txBody>
      </p:sp>
      <p:sp>
        <p:nvSpPr>
          <p:cNvPr id="448" name="Google Shape;448;p33"/>
          <p:cNvSpPr/>
          <p:nvPr/>
        </p:nvSpPr>
        <p:spPr>
          <a:xfrm>
            <a:off x="3459733" y="1950200"/>
            <a:ext cx="164000" cy="301600"/>
          </a:xfrm>
          <a:prstGeom prst="rect">
            <a:avLst/>
          </a:prstGeom>
          <a:solidFill>
            <a:srgbClr val="CFE2F3"/>
          </a:solidFill>
          <a:ln w="9525" cap="flat" cmpd="sng">
            <a:solidFill>
              <a:srgbClr val="42424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Nunito Medium"/>
              <a:ea typeface="Nunito Medium"/>
              <a:cs typeface="Nunito Medium"/>
              <a:sym typeface="Nunito Medium"/>
            </a:endParaRPr>
          </a:p>
        </p:txBody>
      </p:sp>
      <p:sp>
        <p:nvSpPr>
          <p:cNvPr id="449" name="Google Shape;449;p33"/>
          <p:cNvSpPr txBox="1"/>
          <p:nvPr/>
        </p:nvSpPr>
        <p:spPr>
          <a:xfrm>
            <a:off x="1201567" y="4467934"/>
            <a:ext cx="1324000" cy="389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700"/>
            </a:pPr>
            <a:r>
              <a:rPr lang="en" sz="933" kern="0">
                <a:solidFill>
                  <a:srgbClr val="BF9000"/>
                </a:solidFill>
                <a:latin typeface="Nunito Medium"/>
                <a:ea typeface="Nunito Medium"/>
                <a:cs typeface="Nunito Medium"/>
                <a:sym typeface="Nunito Medium"/>
              </a:rPr>
              <a:t>Base model</a:t>
            </a:r>
            <a:endParaRPr sz="933" kern="0">
              <a:solidFill>
                <a:srgbClr val="BF9000"/>
              </a:solidFill>
              <a:latin typeface="Nunito Medium"/>
              <a:ea typeface="Nunito Medium"/>
              <a:cs typeface="Nunito Medium"/>
              <a:sym typeface="Nunito Medium"/>
            </a:endParaRPr>
          </a:p>
        </p:txBody>
      </p:sp>
      <p:sp>
        <p:nvSpPr>
          <p:cNvPr id="450" name="Google Shape;450;p33"/>
          <p:cNvSpPr txBox="1"/>
          <p:nvPr/>
        </p:nvSpPr>
        <p:spPr>
          <a:xfrm>
            <a:off x="1201567" y="2684534"/>
            <a:ext cx="1324000" cy="389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700"/>
            </a:pPr>
            <a:r>
              <a:rPr lang="en" sz="933" kern="0">
                <a:solidFill>
                  <a:srgbClr val="CC4125"/>
                </a:solidFill>
                <a:latin typeface="Nunito Medium"/>
                <a:ea typeface="Nunito Medium"/>
                <a:cs typeface="Nunito Medium"/>
                <a:sym typeface="Nunito Medium"/>
              </a:rPr>
              <a:t>Adapter</a:t>
            </a:r>
            <a:endParaRPr sz="933" kern="0">
              <a:solidFill>
                <a:srgbClr val="CC4125"/>
              </a:solidFill>
              <a:latin typeface="Nunito Medium"/>
              <a:ea typeface="Nunito Medium"/>
              <a:cs typeface="Nunito Medium"/>
              <a:sym typeface="Nunito Medium"/>
            </a:endParaRPr>
          </a:p>
        </p:txBody>
      </p:sp>
      <p:cxnSp>
        <p:nvCxnSpPr>
          <p:cNvPr id="451" name="Google Shape;451;p33"/>
          <p:cNvCxnSpPr>
            <a:stCxn id="445" idx="2"/>
            <a:endCxn id="444" idx="3"/>
          </p:cNvCxnSpPr>
          <p:nvPr/>
        </p:nvCxnSpPr>
        <p:spPr>
          <a:xfrm rot="5400000">
            <a:off x="1907833" y="2289600"/>
            <a:ext cx="904800" cy="829200"/>
          </a:xfrm>
          <a:prstGeom prst="curvedConnector2">
            <a:avLst/>
          </a:prstGeom>
          <a:noFill/>
          <a:ln w="9525" cap="flat" cmpd="sng">
            <a:solidFill>
              <a:srgbClr val="424242"/>
            </a:solidFill>
            <a:prstDash val="dash"/>
            <a:round/>
            <a:headEnd type="none" w="sm" len="sm"/>
            <a:tailEnd type="stealth" w="med" len="med"/>
          </a:ln>
        </p:spPr>
      </p:cxnSp>
      <p:cxnSp>
        <p:nvCxnSpPr>
          <p:cNvPr id="452" name="Google Shape;452;p33"/>
          <p:cNvCxnSpPr>
            <a:endCxn id="443" idx="1"/>
          </p:cNvCxnSpPr>
          <p:nvPr/>
        </p:nvCxnSpPr>
        <p:spPr>
          <a:xfrm>
            <a:off x="1283167" y="3923433"/>
            <a:ext cx="498400" cy="400"/>
          </a:xfrm>
          <a:prstGeom prst="straightConnector1">
            <a:avLst/>
          </a:prstGeom>
          <a:noFill/>
          <a:ln w="9525" cap="flat" cmpd="sng">
            <a:solidFill>
              <a:srgbClr val="424242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453" name="Google Shape;453;p33"/>
          <p:cNvSpPr txBox="1"/>
          <p:nvPr/>
        </p:nvSpPr>
        <p:spPr>
          <a:xfrm>
            <a:off x="312900" y="3721301"/>
            <a:ext cx="1737600" cy="676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  <a:buSzPts val="700"/>
            </a:pPr>
            <a:r>
              <a:rPr lang="en" sz="933" kern="0">
                <a:solidFill>
                  <a:srgbClr val="999999"/>
                </a:solidFill>
                <a:latin typeface="Consolas"/>
                <a:ea typeface="Consolas"/>
                <a:cs typeface="Consolas"/>
                <a:sym typeface="Consolas"/>
              </a:rPr>
              <a:t>USER: Cheese</a:t>
            </a:r>
            <a:endParaRPr sz="933" kern="0">
              <a:solidFill>
                <a:srgbClr val="999999"/>
              </a:solidFill>
              <a:latin typeface="Consolas"/>
              <a:ea typeface="Consolas"/>
              <a:cs typeface="Consolas"/>
              <a:sym typeface="Consolas"/>
            </a:endParaRPr>
          </a:p>
          <a:p>
            <a:pPr defTabSz="1219170">
              <a:buClr>
                <a:srgbClr val="000000"/>
              </a:buClr>
              <a:buSzPts val="700"/>
            </a:pPr>
            <a:endParaRPr sz="933" kern="0">
              <a:solidFill>
                <a:srgbClr val="CCCCCC"/>
              </a:solidFill>
              <a:latin typeface="Consolas"/>
              <a:ea typeface="Consolas"/>
              <a:cs typeface="Consolas"/>
              <a:sym typeface="Consolas"/>
            </a:endParaRPr>
          </a:p>
          <a:p>
            <a:pPr defTabSz="1219170">
              <a:buClr>
                <a:srgbClr val="000000"/>
              </a:buClr>
              <a:buSzPts val="700"/>
            </a:pPr>
            <a:endParaRPr sz="933" b="1" kern="0">
              <a:solidFill>
                <a:srgbClr val="0F9D58"/>
              </a:solidFill>
              <a:latin typeface="Consolas"/>
              <a:ea typeface="Consolas"/>
              <a:cs typeface="Consolas"/>
              <a:sym typeface="Consolas"/>
            </a:endParaRPr>
          </a:p>
        </p:txBody>
      </p:sp>
      <p:sp>
        <p:nvSpPr>
          <p:cNvPr id="454" name="Google Shape;454;p33"/>
          <p:cNvSpPr txBox="1"/>
          <p:nvPr/>
        </p:nvSpPr>
        <p:spPr>
          <a:xfrm>
            <a:off x="2440667" y="3721301"/>
            <a:ext cx="3002800" cy="676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  <a:buSzPts val="700"/>
            </a:pPr>
            <a:r>
              <a:rPr lang="en" sz="933" b="1" kern="0">
                <a:solidFill>
                  <a:srgbClr val="E06666"/>
                </a:solidFill>
                <a:latin typeface="Consolas"/>
                <a:ea typeface="Consolas"/>
                <a:cs typeface="Consolas"/>
                <a:sym typeface="Consolas"/>
              </a:rPr>
              <a:t>ASSISTANT: Creamy delight, oh cheese.</a:t>
            </a:r>
            <a:endParaRPr sz="933" b="1" kern="0">
              <a:solidFill>
                <a:srgbClr val="E06666"/>
              </a:solidFill>
              <a:latin typeface="Consolas"/>
              <a:ea typeface="Consolas"/>
              <a:cs typeface="Consolas"/>
              <a:sym typeface="Consolas"/>
            </a:endParaRPr>
          </a:p>
          <a:p>
            <a:pPr defTabSz="1219170">
              <a:buClr>
                <a:srgbClr val="000000"/>
              </a:buClr>
              <a:buSzPts val="700"/>
            </a:pPr>
            <a:r>
              <a:rPr lang="en" sz="933" b="1" kern="0">
                <a:solidFill>
                  <a:srgbClr val="E06666"/>
                </a:solidFill>
                <a:latin typeface="Consolas"/>
                <a:ea typeface="Consolas"/>
                <a:cs typeface="Consolas"/>
                <a:sym typeface="Consolas"/>
              </a:rPr>
              <a:t>           Melting in warmth, you appease.</a:t>
            </a:r>
            <a:endParaRPr sz="933" b="1" kern="0">
              <a:solidFill>
                <a:srgbClr val="E06666"/>
              </a:solidFill>
              <a:latin typeface="Consolas"/>
              <a:ea typeface="Consolas"/>
              <a:cs typeface="Consolas"/>
              <a:sym typeface="Consolas"/>
            </a:endParaRPr>
          </a:p>
          <a:p>
            <a:pPr defTabSz="1219170">
              <a:buClr>
                <a:srgbClr val="000000"/>
              </a:buClr>
              <a:buSzPts val="700"/>
            </a:pPr>
            <a:r>
              <a:rPr lang="en" sz="933" b="1" kern="0">
                <a:solidFill>
                  <a:srgbClr val="E06666"/>
                </a:solidFill>
                <a:latin typeface="Consolas"/>
                <a:ea typeface="Consolas"/>
                <a:cs typeface="Consolas"/>
                <a:sym typeface="Consolas"/>
              </a:rPr>
              <a:t>           Flavors dancing with ease.</a:t>
            </a:r>
            <a:endParaRPr sz="933" b="1" kern="0">
              <a:solidFill>
                <a:srgbClr val="E06666"/>
              </a:solidFill>
              <a:latin typeface="Consolas"/>
              <a:ea typeface="Consolas"/>
              <a:cs typeface="Consolas"/>
              <a:sym typeface="Consolas"/>
            </a:endParaRPr>
          </a:p>
        </p:txBody>
      </p:sp>
      <p:cxnSp>
        <p:nvCxnSpPr>
          <p:cNvPr id="455" name="Google Shape;455;p33"/>
          <p:cNvCxnSpPr/>
          <p:nvPr/>
        </p:nvCxnSpPr>
        <p:spPr>
          <a:xfrm>
            <a:off x="1949067" y="3930300"/>
            <a:ext cx="390000" cy="0"/>
          </a:xfrm>
          <a:prstGeom prst="straightConnector1">
            <a:avLst/>
          </a:prstGeom>
          <a:noFill/>
          <a:ln w="9525" cap="flat" cmpd="sng">
            <a:solidFill>
              <a:srgbClr val="424242"/>
            </a:solidFill>
            <a:prstDash val="solid"/>
            <a:round/>
            <a:headEnd type="none" w="sm" len="sm"/>
            <a:tailEnd type="triangle" w="med" len="med"/>
          </a:ln>
        </p:spPr>
      </p:cxnSp>
      <p:pic>
        <p:nvPicPr>
          <p:cNvPr id="456" name="Google Shape;456;p3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28251" y="2411934"/>
            <a:ext cx="1953867" cy="2026233"/>
          </a:xfrm>
          <a:prstGeom prst="rect">
            <a:avLst/>
          </a:prstGeom>
          <a:noFill/>
          <a:ln w="9525" cap="flat" cmpd="sng">
            <a:solidFill>
              <a:srgbClr val="42424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457" name="Google Shape;457;p33"/>
          <p:cNvSpPr txBox="1"/>
          <p:nvPr/>
        </p:nvSpPr>
        <p:spPr>
          <a:xfrm>
            <a:off x="5785700" y="4328834"/>
            <a:ext cx="2130800" cy="389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 defTabSz="1219170">
              <a:buClr>
                <a:srgbClr val="000000"/>
              </a:buClr>
              <a:buSzPts val="700"/>
            </a:pPr>
            <a:r>
              <a:rPr lang="en" sz="933" i="1" kern="0">
                <a:solidFill>
                  <a:srgbClr val="434343"/>
                </a:solidFill>
                <a:latin typeface="Nunito Medium"/>
                <a:ea typeface="Nunito Medium"/>
                <a:cs typeface="Nunito Medium"/>
                <a:sym typeface="Nunito Medium"/>
              </a:rPr>
              <a:t>Hu et al., 2021</a:t>
            </a:r>
            <a:endParaRPr sz="933" i="1" kern="0">
              <a:solidFill>
                <a:srgbClr val="434343"/>
              </a:solidFill>
              <a:latin typeface="Nunito Medium"/>
              <a:ea typeface="Nunito Medium"/>
              <a:cs typeface="Nunito Medium"/>
              <a:sym typeface="Nunito Medium"/>
            </a:endParaRPr>
          </a:p>
        </p:txBody>
      </p:sp>
      <p:pic>
        <p:nvPicPr>
          <p:cNvPr id="458" name="Google Shape;458;p3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377317" y="2108083"/>
            <a:ext cx="2000767" cy="2771999"/>
          </a:xfrm>
          <a:prstGeom prst="rect">
            <a:avLst/>
          </a:prstGeom>
          <a:noFill/>
          <a:ln w="9525" cap="flat" cmpd="sng">
            <a:solidFill>
              <a:srgbClr val="42424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459" name="Google Shape;459;p33"/>
          <p:cNvSpPr txBox="1"/>
          <p:nvPr/>
        </p:nvSpPr>
        <p:spPr>
          <a:xfrm>
            <a:off x="598467" y="4868601"/>
            <a:ext cx="3418800" cy="861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  <a:buSzPts val="1000"/>
            </a:pPr>
            <a:r>
              <a:rPr lang="en" sz="1333" b="1" kern="0">
                <a:solidFill>
                  <a:srgbClr val="434343"/>
                </a:solidFill>
                <a:latin typeface="Nunito"/>
                <a:ea typeface="Nunito"/>
                <a:cs typeface="Nunito"/>
                <a:sym typeface="Nunito"/>
              </a:rPr>
              <a:t>Adapters</a:t>
            </a:r>
            <a:r>
              <a:rPr lang="en" sz="1333" kern="0">
                <a:solidFill>
                  <a:srgbClr val="434343"/>
                </a:solidFill>
                <a:latin typeface="Nunito Medium"/>
                <a:ea typeface="Nunito Medium"/>
                <a:cs typeface="Nunito Medium"/>
                <a:sym typeface="Nunito Medium"/>
              </a:rPr>
              <a:t>: small set of model weights created during fine-tuning to specialize a base model </a:t>
            </a:r>
            <a:endParaRPr sz="1333" kern="0">
              <a:solidFill>
                <a:srgbClr val="434343"/>
              </a:solidFill>
              <a:latin typeface="Nunito Medium"/>
              <a:ea typeface="Nunito Medium"/>
              <a:cs typeface="Nunito Medium"/>
              <a:sym typeface="Nunito Medium"/>
            </a:endParaRPr>
          </a:p>
        </p:txBody>
      </p:sp>
      <p:sp>
        <p:nvSpPr>
          <p:cNvPr id="460" name="Google Shape;460;p33"/>
          <p:cNvSpPr txBox="1"/>
          <p:nvPr/>
        </p:nvSpPr>
        <p:spPr>
          <a:xfrm>
            <a:off x="5319033" y="4851367"/>
            <a:ext cx="3418800" cy="861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  <a:buSzPts val="1000"/>
            </a:pPr>
            <a:r>
              <a:rPr lang="en" sz="1333" b="1" kern="0">
                <a:solidFill>
                  <a:srgbClr val="434343"/>
                </a:solidFill>
                <a:latin typeface="Nunito"/>
                <a:ea typeface="Nunito"/>
                <a:cs typeface="Nunito"/>
                <a:sym typeface="Nunito"/>
              </a:rPr>
              <a:t>Low-Rank Adaptation (LoRA)</a:t>
            </a:r>
            <a:r>
              <a:rPr lang="en" sz="1333" kern="0">
                <a:solidFill>
                  <a:srgbClr val="434343"/>
                </a:solidFill>
                <a:latin typeface="Nunito Medium"/>
                <a:ea typeface="Nunito Medium"/>
                <a:cs typeface="Nunito Medium"/>
                <a:sym typeface="Nunito Medium"/>
              </a:rPr>
              <a:t>: freeze base model weights + overlay with thin layer of trainable parameters.</a:t>
            </a:r>
            <a:endParaRPr sz="1333" kern="0">
              <a:solidFill>
                <a:srgbClr val="434343"/>
              </a:solidFill>
              <a:latin typeface="Nunito Medium"/>
              <a:ea typeface="Nunito Medium"/>
              <a:cs typeface="Nunito Medium"/>
              <a:sym typeface="Nunito Medium"/>
            </a:endParaRPr>
          </a:p>
        </p:txBody>
      </p:sp>
      <p:sp>
        <p:nvSpPr>
          <p:cNvPr id="461" name="Google Shape;461;p33"/>
          <p:cNvSpPr txBox="1"/>
          <p:nvPr/>
        </p:nvSpPr>
        <p:spPr>
          <a:xfrm>
            <a:off x="8876284" y="5033967"/>
            <a:ext cx="3002800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  <a:buSzPts val="1000"/>
            </a:pPr>
            <a:r>
              <a:rPr lang="en" sz="1333" b="1" kern="0">
                <a:solidFill>
                  <a:srgbClr val="FF7000"/>
                </a:solidFill>
                <a:latin typeface="Nunito"/>
                <a:ea typeface="Nunito"/>
                <a:cs typeface="Nunito"/>
                <a:sym typeface="Nunito"/>
              </a:rPr>
              <a:t>Identical performances, lower cost</a:t>
            </a:r>
            <a:endParaRPr sz="1333" kern="0">
              <a:solidFill>
                <a:srgbClr val="FF7000"/>
              </a:solidFill>
              <a:latin typeface="Nunito Medium"/>
              <a:ea typeface="Nunito Medium"/>
              <a:cs typeface="Nunito Medium"/>
              <a:sym typeface="Nunito Medium"/>
            </a:endParaRPr>
          </a:p>
        </p:txBody>
      </p:sp>
      <p:sp>
        <p:nvSpPr>
          <p:cNvPr id="462" name="Google Shape;462;p33"/>
          <p:cNvSpPr txBox="1"/>
          <p:nvPr/>
        </p:nvSpPr>
        <p:spPr>
          <a:xfrm>
            <a:off x="609600" y="609600"/>
            <a:ext cx="106680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000" b="1" kern="0">
                <a:solidFill>
                  <a:srgbClr val="323131"/>
                </a:solidFill>
                <a:latin typeface="Sora"/>
                <a:ea typeface="Sora"/>
                <a:cs typeface="Sora"/>
                <a:sym typeface="Sora"/>
              </a:rPr>
              <a:t>Fine-tuning: Under the hood</a:t>
            </a:r>
            <a:endParaRPr sz="2667" kern="0">
              <a:solidFill>
                <a:srgbClr val="FF2327"/>
              </a:solidFill>
              <a:latin typeface="Sora"/>
              <a:ea typeface="Sora"/>
              <a:cs typeface="Sora"/>
              <a:sym typeface="Sora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" name="Google Shape;467;p34"/>
          <p:cNvSpPr txBox="1"/>
          <p:nvPr/>
        </p:nvSpPr>
        <p:spPr>
          <a:xfrm>
            <a:off x="477200" y="1304567"/>
            <a:ext cx="11664400" cy="41638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609585" indent="-423323" defTabSz="1219170">
              <a:lnSpc>
                <a:spcPct val="115000"/>
              </a:lnSpc>
              <a:buClr>
                <a:srgbClr val="434343"/>
              </a:buClr>
              <a:buSzPts val="1400"/>
              <a:buFont typeface="Sora"/>
              <a:buChar char="●"/>
            </a:pPr>
            <a:r>
              <a:rPr lang="en" sz="1867" b="1" kern="0">
                <a:solidFill>
                  <a:srgbClr val="434343"/>
                </a:solidFill>
                <a:latin typeface="Sora"/>
                <a:ea typeface="Sora"/>
                <a:cs typeface="Sora"/>
                <a:sym typeface="Sora"/>
              </a:rPr>
              <a:t>Performance</a:t>
            </a:r>
            <a:endParaRPr sz="1867" b="1" kern="0">
              <a:solidFill>
                <a:srgbClr val="434343"/>
              </a:solidFill>
              <a:latin typeface="Sora"/>
              <a:ea typeface="Sora"/>
              <a:cs typeface="Sora"/>
              <a:sym typeface="Sora"/>
            </a:endParaRPr>
          </a:p>
          <a:p>
            <a:pPr marL="1219170" lvl="1" indent="-423323" defTabSz="1219170">
              <a:lnSpc>
                <a:spcPct val="115000"/>
              </a:lnSpc>
              <a:buClr>
                <a:srgbClr val="434343"/>
              </a:buClr>
              <a:buSzPts val="1400"/>
              <a:buFont typeface="Sora"/>
              <a:buChar char="○"/>
            </a:pPr>
            <a:r>
              <a:rPr lang="en" sz="1867" kern="0">
                <a:solidFill>
                  <a:srgbClr val="434343"/>
                </a:solidFill>
                <a:latin typeface="Sora"/>
                <a:ea typeface="Sora"/>
                <a:cs typeface="Sora"/>
                <a:sym typeface="Sora"/>
              </a:rPr>
              <a:t>Fine-tuned smaller models can outperform larger ones</a:t>
            </a:r>
            <a:endParaRPr sz="1600" kern="0">
              <a:solidFill>
                <a:srgbClr val="434343"/>
              </a:solidFill>
              <a:latin typeface="Sora Medium"/>
              <a:ea typeface="Sora Medium"/>
              <a:cs typeface="Sora Medium"/>
              <a:sym typeface="Sora Medium"/>
            </a:endParaRPr>
          </a:p>
          <a:p>
            <a:pPr defTabSz="1219170">
              <a:lnSpc>
                <a:spcPct val="115000"/>
              </a:lnSpc>
              <a:buClr>
                <a:srgbClr val="000000"/>
              </a:buClr>
              <a:buSzPts val="1400"/>
            </a:pPr>
            <a:endParaRPr sz="1600" kern="0">
              <a:solidFill>
                <a:srgbClr val="434343"/>
              </a:solidFill>
              <a:latin typeface="Sora Medium"/>
              <a:ea typeface="Sora Medium"/>
              <a:cs typeface="Sora Medium"/>
              <a:sym typeface="Sora Medium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434343"/>
              </a:buClr>
              <a:buSzPts val="1400"/>
              <a:buFont typeface="Sora"/>
              <a:buChar char="●"/>
            </a:pPr>
            <a:r>
              <a:rPr lang="en" sz="1867" b="1" kern="0">
                <a:solidFill>
                  <a:srgbClr val="434343"/>
                </a:solidFill>
                <a:latin typeface="Sora"/>
                <a:ea typeface="Sora"/>
                <a:cs typeface="Sora"/>
                <a:sym typeface="Sora"/>
              </a:rPr>
              <a:t>Speed and Cost</a:t>
            </a:r>
            <a:endParaRPr sz="1867" b="1" kern="0">
              <a:solidFill>
                <a:srgbClr val="434343"/>
              </a:solidFill>
              <a:latin typeface="Sora"/>
              <a:ea typeface="Sora"/>
              <a:cs typeface="Sora"/>
              <a:sym typeface="Sora"/>
            </a:endParaRPr>
          </a:p>
          <a:p>
            <a:pPr marL="1219170" lvl="1" indent="-423323" defTabSz="1219170">
              <a:lnSpc>
                <a:spcPct val="115000"/>
              </a:lnSpc>
              <a:buClr>
                <a:srgbClr val="434343"/>
              </a:buClr>
              <a:buSzPts val="1400"/>
              <a:buFont typeface="Sora"/>
              <a:buChar char="○"/>
            </a:pPr>
            <a:r>
              <a:rPr lang="en" sz="1867" kern="0">
                <a:solidFill>
                  <a:srgbClr val="434343"/>
                </a:solidFill>
                <a:latin typeface="Sora"/>
                <a:ea typeface="Sora"/>
                <a:cs typeface="Sora"/>
                <a:sym typeface="Sora"/>
              </a:rPr>
              <a:t>Small models provide faster inference</a:t>
            </a:r>
            <a:endParaRPr sz="1867" kern="0">
              <a:solidFill>
                <a:srgbClr val="434343"/>
              </a:solidFill>
              <a:latin typeface="Sora"/>
              <a:ea typeface="Sora"/>
              <a:cs typeface="Sora"/>
              <a:sym typeface="Sora"/>
            </a:endParaRPr>
          </a:p>
          <a:p>
            <a:pPr marL="1219170" lvl="1" indent="-423323" defTabSz="1219170">
              <a:lnSpc>
                <a:spcPct val="115000"/>
              </a:lnSpc>
              <a:buClr>
                <a:srgbClr val="434343"/>
              </a:buClr>
              <a:buSzPts val="1400"/>
              <a:buFont typeface="Sora"/>
              <a:buChar char="○"/>
            </a:pPr>
            <a:r>
              <a:rPr lang="en" sz="1867" kern="0">
                <a:solidFill>
                  <a:srgbClr val="434343"/>
                </a:solidFill>
                <a:latin typeface="Sora"/>
                <a:ea typeface="Sora"/>
                <a:cs typeface="Sora"/>
                <a:sym typeface="Sora"/>
              </a:rPr>
              <a:t>Easier to deploy</a:t>
            </a:r>
            <a:endParaRPr sz="1867" kern="0">
              <a:solidFill>
                <a:srgbClr val="434343"/>
              </a:solidFill>
              <a:latin typeface="Sora"/>
              <a:ea typeface="Sora"/>
              <a:cs typeface="Sora"/>
              <a:sym typeface="Sora"/>
            </a:endParaRPr>
          </a:p>
          <a:p>
            <a:pPr marL="1219170" lvl="1" indent="-423323" defTabSz="1219170">
              <a:lnSpc>
                <a:spcPct val="115000"/>
              </a:lnSpc>
              <a:buClr>
                <a:srgbClr val="434343"/>
              </a:buClr>
              <a:buSzPts val="1400"/>
              <a:buFont typeface="Sora"/>
              <a:buChar char="○"/>
            </a:pPr>
            <a:r>
              <a:rPr lang="en" sz="1867" kern="0">
                <a:solidFill>
                  <a:srgbClr val="434343"/>
                </a:solidFill>
                <a:latin typeface="Sora"/>
                <a:ea typeface="Sora"/>
                <a:cs typeface="Sora"/>
                <a:sym typeface="Sora"/>
              </a:rPr>
              <a:t>Reduce token consumption at inference time</a:t>
            </a:r>
            <a:endParaRPr sz="1867" kern="0">
              <a:solidFill>
                <a:srgbClr val="434343"/>
              </a:solidFill>
              <a:latin typeface="Sora"/>
              <a:ea typeface="Sora"/>
              <a:cs typeface="Sora"/>
              <a:sym typeface="Sora"/>
            </a:endParaRPr>
          </a:p>
          <a:p>
            <a:pPr defTabSz="1219170">
              <a:lnSpc>
                <a:spcPct val="115000"/>
              </a:lnSpc>
              <a:buClr>
                <a:srgbClr val="000000"/>
              </a:buClr>
            </a:pPr>
            <a:r>
              <a:rPr lang="en" sz="1867" b="1" kern="0">
                <a:solidFill>
                  <a:srgbClr val="434343"/>
                </a:solidFill>
                <a:latin typeface="Sora"/>
                <a:ea typeface="Sora"/>
                <a:cs typeface="Sora"/>
                <a:sym typeface="Sora"/>
              </a:rPr>
              <a:t>	</a:t>
            </a:r>
            <a:endParaRPr sz="1600" kern="0">
              <a:solidFill>
                <a:srgbClr val="434343"/>
              </a:solidFill>
              <a:latin typeface="Sora Medium"/>
              <a:ea typeface="Sora Medium"/>
              <a:cs typeface="Sora Medium"/>
              <a:sym typeface="Sora Medium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434343"/>
              </a:buClr>
              <a:buSzPts val="1400"/>
              <a:buFont typeface="Sora"/>
              <a:buChar char="●"/>
            </a:pPr>
            <a:r>
              <a:rPr lang="en" sz="1867" b="1" kern="0">
                <a:solidFill>
                  <a:srgbClr val="434343"/>
                </a:solidFill>
                <a:latin typeface="Sora"/>
                <a:ea typeface="Sora"/>
                <a:cs typeface="Sora"/>
                <a:sym typeface="Sora"/>
              </a:rPr>
              <a:t>Flexibility</a:t>
            </a:r>
            <a:endParaRPr sz="1867" b="1" kern="0">
              <a:solidFill>
                <a:srgbClr val="434343"/>
              </a:solidFill>
              <a:latin typeface="Sora"/>
              <a:ea typeface="Sora"/>
              <a:cs typeface="Sora"/>
              <a:sym typeface="Sora"/>
            </a:endParaRPr>
          </a:p>
          <a:p>
            <a:pPr marL="1219170" lvl="1" indent="-423323" defTabSz="1219170">
              <a:lnSpc>
                <a:spcPct val="115000"/>
              </a:lnSpc>
              <a:buClr>
                <a:srgbClr val="434343"/>
              </a:buClr>
              <a:buSzPts val="1400"/>
              <a:buFont typeface="Sora"/>
              <a:buChar char="○"/>
            </a:pPr>
            <a:r>
              <a:rPr lang="en" sz="1867" kern="0">
                <a:solidFill>
                  <a:srgbClr val="434343"/>
                </a:solidFill>
                <a:latin typeface="Sora"/>
                <a:ea typeface="Sora"/>
                <a:cs typeface="Sora"/>
                <a:sym typeface="Sora"/>
              </a:rPr>
              <a:t>Different fine-tuned models for different use-cases</a:t>
            </a:r>
            <a:endParaRPr sz="1867" kern="0">
              <a:solidFill>
                <a:srgbClr val="434343"/>
              </a:solidFill>
              <a:latin typeface="Sora"/>
              <a:ea typeface="Sora"/>
              <a:cs typeface="Sora"/>
              <a:sym typeface="Sora"/>
            </a:endParaRPr>
          </a:p>
          <a:p>
            <a:pPr marL="1219170" lvl="1" indent="-423323" defTabSz="1219170">
              <a:lnSpc>
                <a:spcPct val="115000"/>
              </a:lnSpc>
              <a:buClr>
                <a:srgbClr val="434343"/>
              </a:buClr>
              <a:buSzPts val="1400"/>
              <a:buFont typeface="Sora"/>
              <a:buChar char="○"/>
            </a:pPr>
            <a:r>
              <a:rPr lang="en" sz="1867" kern="0">
                <a:solidFill>
                  <a:srgbClr val="434343"/>
                </a:solidFill>
                <a:latin typeface="Sora"/>
                <a:ea typeface="Sora"/>
                <a:cs typeface="Sora"/>
                <a:sym typeface="Sora"/>
              </a:rPr>
              <a:t>Mistral-finetune codebase</a:t>
            </a:r>
            <a:endParaRPr sz="1867" kern="0">
              <a:solidFill>
                <a:srgbClr val="434343"/>
              </a:solidFill>
              <a:latin typeface="Sora"/>
              <a:ea typeface="Sora"/>
              <a:cs typeface="Sora"/>
              <a:sym typeface="Sora"/>
            </a:endParaRPr>
          </a:p>
          <a:p>
            <a:pPr marL="1219170" lvl="1" indent="-423323" defTabSz="1219170">
              <a:lnSpc>
                <a:spcPct val="115000"/>
              </a:lnSpc>
              <a:buClr>
                <a:srgbClr val="434343"/>
              </a:buClr>
              <a:buSzPts val="1400"/>
              <a:buFont typeface="Sora"/>
              <a:buChar char="○"/>
            </a:pPr>
            <a:r>
              <a:rPr lang="en" sz="1867" kern="0">
                <a:solidFill>
                  <a:srgbClr val="434343"/>
                </a:solidFill>
                <a:latin typeface="Sora"/>
                <a:ea typeface="Sora"/>
                <a:cs typeface="Sora"/>
                <a:sym typeface="Sora"/>
              </a:rPr>
              <a:t>La Plateforme’s fine-tuning API</a:t>
            </a:r>
            <a:endParaRPr sz="1867" kern="0">
              <a:solidFill>
                <a:srgbClr val="434343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68" name="Google Shape;468;p34"/>
          <p:cNvSpPr txBox="1"/>
          <p:nvPr/>
        </p:nvSpPr>
        <p:spPr>
          <a:xfrm>
            <a:off x="609600" y="609600"/>
            <a:ext cx="106680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000" b="1" kern="0">
                <a:solidFill>
                  <a:srgbClr val="323131"/>
                </a:solidFill>
                <a:latin typeface="Sora"/>
                <a:ea typeface="Sora"/>
                <a:cs typeface="Sora"/>
                <a:sym typeface="Sora"/>
              </a:rPr>
              <a:t>Benefits of Fine-tuning</a:t>
            </a:r>
            <a:endParaRPr sz="2667" kern="0">
              <a:solidFill>
                <a:srgbClr val="FF2327"/>
              </a:solidFill>
              <a:latin typeface="Sora"/>
              <a:ea typeface="Sora"/>
              <a:cs typeface="Sora"/>
              <a:sym typeface="Sora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p35"/>
          <p:cNvSpPr txBox="1"/>
          <p:nvPr/>
        </p:nvSpPr>
        <p:spPr>
          <a:xfrm>
            <a:off x="609600" y="609600"/>
            <a:ext cx="106680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000" b="1" kern="0">
                <a:solidFill>
                  <a:srgbClr val="323131"/>
                </a:solidFill>
                <a:latin typeface="Sora"/>
                <a:ea typeface="Sora"/>
                <a:cs typeface="Sora"/>
                <a:sym typeface="Sora"/>
              </a:rPr>
              <a:t>Fine-tuning</a:t>
            </a:r>
            <a:endParaRPr sz="2667" kern="0">
              <a:solidFill>
                <a:srgbClr val="FF2327"/>
              </a:solidFill>
              <a:latin typeface="Sora"/>
              <a:ea typeface="Sora"/>
              <a:cs typeface="Sora"/>
              <a:sym typeface="Sora"/>
            </a:endParaRPr>
          </a:p>
        </p:txBody>
      </p:sp>
      <p:pic>
        <p:nvPicPr>
          <p:cNvPr id="474" name="Google Shape;474;p35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75634" y="1802201"/>
            <a:ext cx="4378268" cy="2189167"/>
          </a:xfrm>
          <a:prstGeom prst="rect">
            <a:avLst/>
          </a:prstGeom>
          <a:noFill/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475" name="Google Shape;475;p35"/>
          <p:cNvSpPr/>
          <p:nvPr/>
        </p:nvSpPr>
        <p:spPr>
          <a:xfrm>
            <a:off x="7709291" y="1645072"/>
            <a:ext cx="2260400" cy="2253200"/>
          </a:xfrm>
          <a:prstGeom prst="ellipse">
            <a:avLst/>
          </a:prstGeom>
          <a:solidFill>
            <a:schemeClr val="lt1"/>
          </a:solidFill>
          <a:ln w="38100" cap="sq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200"/>
            </a:pPr>
            <a:endParaRPr sz="1600" kern="0">
              <a:solidFill>
                <a:srgbClr val="FFFFFF"/>
              </a:solidFill>
              <a:latin typeface="Sora"/>
              <a:ea typeface="Sora"/>
              <a:cs typeface="Sora"/>
              <a:sym typeface="Sora"/>
            </a:endParaRPr>
          </a:p>
        </p:txBody>
      </p:sp>
      <p:pic>
        <p:nvPicPr>
          <p:cNvPr id="476" name="Google Shape;476;p3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875961" y="1811207"/>
            <a:ext cx="1927340" cy="1921175"/>
          </a:xfrm>
          <a:prstGeom prst="rect">
            <a:avLst/>
          </a:prstGeom>
          <a:noFill/>
          <a:ln>
            <a:noFill/>
          </a:ln>
        </p:spPr>
      </p:pic>
      <p:sp>
        <p:nvSpPr>
          <p:cNvPr id="477" name="Google Shape;477;p35"/>
          <p:cNvSpPr txBox="1"/>
          <p:nvPr/>
        </p:nvSpPr>
        <p:spPr>
          <a:xfrm>
            <a:off x="2541280" y="4166819"/>
            <a:ext cx="2204400" cy="225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indent="-93131" algn="ctr" defTabSz="1219170">
              <a:buClr>
                <a:srgbClr val="000000"/>
              </a:buClr>
              <a:buSzPts val="1100"/>
              <a:buFont typeface="Sora"/>
              <a:buChar char="​"/>
            </a:pPr>
            <a:r>
              <a:rPr lang="en" sz="1467" b="1" kern="0" dirty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Open-source Library</a:t>
            </a:r>
            <a:endParaRPr sz="1467" b="1" kern="0" dirty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78" name="Google Shape;478;p35"/>
          <p:cNvSpPr txBox="1"/>
          <p:nvPr/>
        </p:nvSpPr>
        <p:spPr>
          <a:xfrm>
            <a:off x="7737313" y="4053819"/>
            <a:ext cx="2204400" cy="451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indent="-93131" algn="ctr" defTabSz="1219170">
              <a:buClr>
                <a:srgbClr val="000000"/>
              </a:buClr>
              <a:buSzPts val="1100"/>
              <a:buFont typeface="Sora"/>
              <a:buChar char="​"/>
            </a:pP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Fine-tuning API</a:t>
            </a:r>
            <a:b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on La Plateforme</a:t>
            </a:r>
            <a:endParaRPr sz="1467" b="1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79" name="Google Shape;479;p35"/>
          <p:cNvSpPr txBox="1"/>
          <p:nvPr/>
        </p:nvSpPr>
        <p:spPr>
          <a:xfrm>
            <a:off x="1273367" y="4530167"/>
            <a:ext cx="4982800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600" i="1" u="sng" kern="0">
                <a:solidFill>
                  <a:srgbClr val="FF7000"/>
                </a:solidFill>
                <a:latin typeface="Sora"/>
                <a:ea typeface="Sora"/>
                <a:cs typeface="Sora"/>
                <a:sym typeface="Sora"/>
              </a:rPr>
              <a:t>https://github.com/mistralai/mistral-finetune</a:t>
            </a:r>
            <a:endParaRPr sz="1600" i="1" u="sng" kern="0">
              <a:solidFill>
                <a:srgbClr val="FF7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80" name="Google Shape;480;p35"/>
          <p:cNvSpPr txBox="1"/>
          <p:nvPr/>
        </p:nvSpPr>
        <p:spPr>
          <a:xfrm>
            <a:off x="6400800" y="4530167"/>
            <a:ext cx="4982800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600" i="1" u="sng" kern="0">
                <a:solidFill>
                  <a:srgbClr val="FF7000"/>
                </a:solidFill>
                <a:latin typeface="Sora"/>
                <a:ea typeface="Sora"/>
                <a:cs typeface="Sora"/>
                <a:sym typeface="Sora"/>
              </a:rPr>
              <a:t>https://console.mistral.ai/</a:t>
            </a:r>
            <a:endParaRPr sz="1600" i="1" u="sng" kern="0">
              <a:solidFill>
                <a:srgbClr val="FF7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81" name="Google Shape;481;p35"/>
          <p:cNvSpPr txBox="1"/>
          <p:nvPr/>
        </p:nvSpPr>
        <p:spPr>
          <a:xfrm>
            <a:off x="437600" y="5808134"/>
            <a:ext cx="11316800" cy="574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2133" b="1" kern="0">
                <a:solidFill>
                  <a:srgbClr val="595959"/>
                </a:solidFill>
                <a:latin typeface="Arial"/>
                <a:cs typeface="Arial"/>
                <a:sym typeface="Arial"/>
              </a:rPr>
              <a:t>Mistral Large 2 can be fine-tuned with our mistral-finetune library or on La Plateforme</a:t>
            </a:r>
            <a:endParaRPr sz="2133" b="1" kern="0">
              <a:solidFill>
                <a:srgbClr val="595959"/>
              </a:solidFill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9D4ABE-A69C-4588-BB1A-495F3294E3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01" y="1672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95" imgH="394" progId="TCLayout.ActiveDocument.1">
                  <p:embed/>
                </p:oleObj>
              </mc:Choice>
              <mc:Fallback>
                <p:oleObj name="think-cell Slide" r:id="rId2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49D4ABE-A69C-4588-BB1A-495F3294E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801" y="1672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6" name="Arc 205">
            <a:extLst>
              <a:ext uri="{FF2B5EF4-FFF2-40B4-BE49-F238E27FC236}">
                <a16:creationId xmlns:a16="http://schemas.microsoft.com/office/drawing/2014/main" id="{88F7CEC4-0F0C-415A-AA8B-9772CAFA03DC}"/>
              </a:ext>
            </a:extLst>
          </p:cNvPr>
          <p:cNvSpPr/>
          <p:nvPr/>
        </p:nvSpPr>
        <p:spPr>
          <a:xfrm flipV="1">
            <a:off x="3707010" y="3349303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0505B001-F3F8-4765-A1B4-5D3A22D1011D}"/>
              </a:ext>
            </a:extLst>
          </p:cNvPr>
          <p:cNvCxnSpPr>
            <a:cxnSpLocks/>
          </p:cNvCxnSpPr>
          <p:nvPr/>
        </p:nvCxnSpPr>
        <p:spPr>
          <a:xfrm>
            <a:off x="4395416" y="3685464"/>
            <a:ext cx="674265" cy="0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208" name="Arc 207">
            <a:extLst>
              <a:ext uri="{FF2B5EF4-FFF2-40B4-BE49-F238E27FC236}">
                <a16:creationId xmlns:a16="http://schemas.microsoft.com/office/drawing/2014/main" id="{78212E6C-3265-40F0-83B5-12789AE48233}"/>
              </a:ext>
            </a:extLst>
          </p:cNvPr>
          <p:cNvSpPr/>
          <p:nvPr/>
        </p:nvSpPr>
        <p:spPr>
          <a:xfrm flipH="1" flipV="1">
            <a:off x="5061367" y="3349303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DF018D38-8FEE-41E1-8DC3-F2B735B69908}"/>
              </a:ext>
            </a:extLst>
          </p:cNvPr>
          <p:cNvCxnSpPr>
            <a:cxnSpLocks/>
          </p:cNvCxnSpPr>
          <p:nvPr/>
        </p:nvCxnSpPr>
        <p:spPr>
          <a:xfrm>
            <a:off x="5464473" y="4018554"/>
            <a:ext cx="0" cy="1592688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210" name="Oval 209">
            <a:extLst>
              <a:ext uri="{FF2B5EF4-FFF2-40B4-BE49-F238E27FC236}">
                <a16:creationId xmlns:a16="http://schemas.microsoft.com/office/drawing/2014/main" id="{F0F2AADC-1032-4C6B-A1F8-B97F1327F6E4}"/>
              </a:ext>
            </a:extLst>
          </p:cNvPr>
          <p:cNvSpPr>
            <a:spLocks/>
          </p:cNvSpPr>
          <p:nvPr/>
        </p:nvSpPr>
        <p:spPr>
          <a:xfrm>
            <a:off x="5429744" y="5578567"/>
            <a:ext cx="78050" cy="78050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76DE98A-871B-1C3B-B12A-1623C33E495A}"/>
              </a:ext>
            </a:extLst>
          </p:cNvPr>
          <p:cNvSpPr/>
          <p:nvPr/>
        </p:nvSpPr>
        <p:spPr>
          <a:xfrm>
            <a:off x="10932370" y="3394365"/>
            <a:ext cx="1259629" cy="57600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" hidden="1">
            <a:extLst>
              <a:ext uri="{FF2B5EF4-FFF2-40B4-BE49-F238E27FC236}">
                <a16:creationId xmlns:a16="http://schemas.microsoft.com/office/drawing/2014/main" id="{96F62B55-867F-4C39-BA4F-DD35CAB493C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81" y="52"/>
            <a:ext cx="161971" cy="16197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53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D5B630-0D7F-4471-8807-34DE4A8AD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556102"/>
            <a:ext cx="11082528" cy="35779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 err="1"/>
              <a:t>QuantumBlack</a:t>
            </a:r>
            <a:r>
              <a:rPr lang="en-US" dirty="0"/>
              <a:t>, AI by McKinsey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C5B6CF4B-26FA-4AC6-B465-09C58836B9F2}"/>
              </a:ext>
            </a:extLst>
          </p:cNvPr>
          <p:cNvSpPr txBox="1"/>
          <p:nvPr/>
        </p:nvSpPr>
        <p:spPr>
          <a:xfrm>
            <a:off x="1446756" y="2031323"/>
            <a:ext cx="2541523" cy="21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NZ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Born in Formula 1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8B3784CA-A62F-40FE-9E18-22A377BC56B2}"/>
              </a:ext>
            </a:extLst>
          </p:cNvPr>
          <p:cNvSpPr txBox="1"/>
          <p:nvPr/>
        </p:nvSpPr>
        <p:spPr>
          <a:xfrm>
            <a:off x="6962692" y="1811549"/>
            <a:ext cx="2524176" cy="439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QB/Labs: the AI center of learning &amp; innovation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C2641D80-1168-46F8-828C-6227F34E945D}"/>
              </a:ext>
            </a:extLst>
          </p:cNvPr>
          <p:cNvSpPr txBox="1"/>
          <p:nvPr/>
        </p:nvSpPr>
        <p:spPr>
          <a:xfrm>
            <a:off x="5586761" y="4256374"/>
            <a:ext cx="2647040" cy="21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NZ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Accelerated growth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F65A8AEA-A5CB-406B-9A7F-15E55B52F824}"/>
              </a:ext>
            </a:extLst>
          </p:cNvPr>
          <p:cNvSpPr txBox="1">
            <a:spLocks/>
          </p:cNvSpPr>
          <p:nvPr/>
        </p:nvSpPr>
        <p:spPr>
          <a:xfrm>
            <a:off x="2821528" y="4256374"/>
            <a:ext cx="1414877" cy="21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NZ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Start-up mode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88C0DAB2-DF97-4D42-A5ED-935F3188D3F8}"/>
              </a:ext>
            </a:extLst>
          </p:cNvPr>
          <p:cNvSpPr txBox="1"/>
          <p:nvPr/>
        </p:nvSpPr>
        <p:spPr>
          <a:xfrm>
            <a:off x="8342027" y="4256374"/>
            <a:ext cx="2214837" cy="21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NZ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McKinsey’s unified AI arm</a:t>
            </a:r>
          </a:p>
        </p:txBody>
      </p:sp>
      <p:pic>
        <p:nvPicPr>
          <p:cNvPr id="277" name="Picture Placeholder 5">
            <a:extLst>
              <a:ext uri="{FF2B5EF4-FFF2-40B4-BE49-F238E27FC236}">
                <a16:creationId xmlns:a16="http://schemas.microsoft.com/office/drawing/2014/main" id="{B1A633AC-35FA-45D4-9DED-94430E46B6FB}"/>
              </a:ext>
            </a:extLst>
          </p:cNvPr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46756" y="2340895"/>
            <a:ext cx="1210633" cy="708111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E0EE7D24-15B3-43A3-B60D-690643C11815}"/>
              </a:ext>
            </a:extLst>
          </p:cNvPr>
          <p:cNvGrpSpPr/>
          <p:nvPr/>
        </p:nvGrpSpPr>
        <p:grpSpPr>
          <a:xfrm>
            <a:off x="2945303" y="2720847"/>
            <a:ext cx="883836" cy="586489"/>
            <a:chOff x="3051590" y="2487320"/>
            <a:chExt cx="866421" cy="574933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5B9070E-F1BD-414E-A240-AAB42C740303}"/>
                </a:ext>
              </a:extLst>
            </p:cNvPr>
            <p:cNvGrpSpPr/>
            <p:nvPr/>
          </p:nvGrpSpPr>
          <p:grpSpPr>
            <a:xfrm>
              <a:off x="3692828" y="2487321"/>
              <a:ext cx="225183" cy="574929"/>
              <a:chOff x="3765704" y="2487321"/>
              <a:chExt cx="225183" cy="574929"/>
            </a:xfrm>
          </p:grpSpPr>
          <p:sp>
            <p:nvSpPr>
              <p:cNvPr id="280" name="TextBox 279">
                <a:extLst>
                  <a:ext uri="{FF2B5EF4-FFF2-40B4-BE49-F238E27FC236}">
                    <a16:creationId xmlns:a16="http://schemas.microsoft.com/office/drawing/2014/main" id="{E25152E9-6D6E-443D-900C-0908EA482E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827801" y="2487321"/>
                <a:ext cx="100989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ctr" defTabSz="1242817" rtl="0" eaLnBrk="1" fontAlgn="base" latinLnBrk="0" hangingPunct="1">
                  <a:lnSpc>
                    <a:spcPct val="100000"/>
                  </a:lnSpc>
                  <a:spcBef>
                    <a:spcPts val="624"/>
                  </a:spcBef>
                  <a:spcAft>
                    <a:spcPts val="624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A9F4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rPr>
                  <a:t>1</a:t>
                </a:r>
              </a:p>
            </p:txBody>
          </p:sp>
          <p:pic>
            <p:nvPicPr>
              <p:cNvPr id="281" name="CustomIcon">
                <a:extLst>
                  <a:ext uri="{FF2B5EF4-FFF2-40B4-BE49-F238E27FC236}">
                    <a16:creationId xmlns:a16="http://schemas.microsoft.com/office/drawing/2014/main" id="{BCC33AA8-692F-4AF0-A2F5-AA3DB5BFD757}"/>
                  </a:ext>
                </a:extLst>
              </p:cNvPr>
              <p:cNvPicPr>
                <a:picLocks/>
              </p:cNvPicPr>
              <p:nvPr>
                <p:custDataLst>
                  <p:tags r:id="rId25"/>
                </p:custDataLst>
              </p:nvPr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2"/>
                  </a:ext>
                </a:extLst>
              </a:blip>
              <a:stretch>
                <a:fillRect/>
              </a:stretch>
            </p:blipFill>
            <p:spPr>
              <a:xfrm>
                <a:off x="3765704" y="2837066"/>
                <a:ext cx="225183" cy="225184"/>
              </a:xfrm>
              <a:prstGeom prst="rect">
                <a:avLst/>
              </a:prstGeom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84ED07D-4A47-4FBB-82CC-715F6EEF2106}"/>
                </a:ext>
              </a:extLst>
            </p:cNvPr>
            <p:cNvGrpSpPr/>
            <p:nvPr/>
          </p:nvGrpSpPr>
          <p:grpSpPr>
            <a:xfrm>
              <a:off x="3051590" y="2487320"/>
              <a:ext cx="225183" cy="574932"/>
              <a:chOff x="3124466" y="2487320"/>
              <a:chExt cx="225183" cy="574932"/>
            </a:xfrm>
          </p:grpSpPr>
          <p:sp>
            <p:nvSpPr>
              <p:cNvPr id="279" name="TextBox 278">
                <a:extLst>
                  <a:ext uri="{FF2B5EF4-FFF2-40B4-BE49-F238E27FC236}">
                    <a16:creationId xmlns:a16="http://schemas.microsoft.com/office/drawing/2014/main" id="{ACEE8974-3AF7-4D3C-A9D0-233F5049557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172937" y="2487320"/>
                <a:ext cx="128240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ctr" defTabSz="1242817" rtl="0" eaLnBrk="1" fontAlgn="base" latinLnBrk="0" hangingPunct="1">
                  <a:lnSpc>
                    <a:spcPct val="100000"/>
                  </a:lnSpc>
                  <a:spcBef>
                    <a:spcPts val="624"/>
                  </a:spcBef>
                  <a:spcAft>
                    <a:spcPts val="624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A9F4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rPr>
                  <a:t>3</a:t>
                </a:r>
              </a:p>
            </p:txBody>
          </p:sp>
          <p:grpSp>
            <p:nvGrpSpPr>
              <p:cNvPr id="282" name="Group 281">
                <a:extLst>
                  <a:ext uri="{FF2B5EF4-FFF2-40B4-BE49-F238E27FC236}">
                    <a16:creationId xmlns:a16="http://schemas.microsoft.com/office/drawing/2014/main" id="{4927CEE9-35D9-48C1-A8F7-DB38B3AE2F9B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124466" y="2837068"/>
                <a:ext cx="225183" cy="225184"/>
                <a:chOff x="4228670" y="5695503"/>
                <a:chExt cx="173048" cy="173048"/>
              </a:xfrm>
              <a:noFill/>
            </p:grpSpPr>
            <p:pic>
              <p:nvPicPr>
                <p:cNvPr id="284" name="CustomIcon">
                  <a:extLst>
                    <a:ext uri="{FF2B5EF4-FFF2-40B4-BE49-F238E27FC236}">
                      <a16:creationId xmlns:a16="http://schemas.microsoft.com/office/drawing/2014/main" id="{471DDE3F-8BCB-45ED-BCBC-DEFBA127B24A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24"/>
                  </p:custDataLst>
                </p:nvPr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28670" y="5695503"/>
                  <a:ext cx="173048" cy="173048"/>
                </a:xfrm>
                <a:prstGeom prst="rect">
                  <a:avLst/>
                </a:prstGeom>
              </p:spPr>
            </p:pic>
            <p:sp>
              <p:nvSpPr>
                <p:cNvPr id="285" name="Freeform: Shape 76">
                  <a:extLst>
                    <a:ext uri="{FF2B5EF4-FFF2-40B4-BE49-F238E27FC236}">
                      <a16:creationId xmlns:a16="http://schemas.microsoft.com/office/drawing/2014/main" id="{AC253093-62D4-49D6-B884-1F151FF3C7F5}"/>
                    </a:ext>
                  </a:extLst>
                </p:cNvPr>
                <p:cNvSpPr/>
                <p:nvPr/>
              </p:nvSpPr>
              <p:spPr>
                <a:xfrm>
                  <a:off x="4232490" y="5853632"/>
                  <a:ext cx="167640" cy="2703"/>
                </a:xfrm>
                <a:custGeom>
                  <a:avLst/>
                  <a:gdLst>
                    <a:gd name="connsiteX0" fmla="*/ 0 w 167640"/>
                    <a:gd name="connsiteY0" fmla="*/ 0 h 2703"/>
                    <a:gd name="connsiteX1" fmla="*/ 167640 w 167640"/>
                    <a:gd name="connsiteY1" fmla="*/ 0 h 2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7640" h="2703">
                      <a:moveTo>
                        <a:pt x="0" y="0"/>
                      </a:moveTo>
                      <a:lnTo>
                        <a:pt x="167640" y="0"/>
                      </a:lnTo>
                    </a:path>
                  </a:pathLst>
                </a:custGeom>
                <a:grpFill/>
                <a:ln w="9525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5189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2F325376-50B5-4058-A7AA-483D9DE0CE1C}"/>
                </a:ext>
              </a:extLst>
            </p:cNvPr>
            <p:cNvCxnSpPr>
              <a:cxnSpLocks/>
            </p:cNvCxnSpPr>
            <p:nvPr/>
          </p:nvCxnSpPr>
          <p:spPr>
            <a:xfrm>
              <a:off x="3484801" y="2837069"/>
              <a:ext cx="0" cy="225184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5" name="Picture 9">
            <a:extLst>
              <a:ext uri="{FF2B5EF4-FFF2-40B4-BE49-F238E27FC236}">
                <a16:creationId xmlns:a16="http://schemas.microsoft.com/office/drawing/2014/main" id="{07C084AC-B4B7-4112-80FD-5F224BEC7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81067" y="4555766"/>
            <a:ext cx="922974" cy="765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6" name="Freeform 75">
            <a:extLst>
              <a:ext uri="{FF2B5EF4-FFF2-40B4-BE49-F238E27FC236}">
                <a16:creationId xmlns:a16="http://schemas.microsoft.com/office/drawing/2014/main" id="{B682A341-410C-4578-AA71-F8C8D97C6C81}"/>
              </a:ext>
            </a:extLst>
          </p:cNvPr>
          <p:cNvSpPr>
            <a:spLocks noChangeAspect="1"/>
          </p:cNvSpPr>
          <p:nvPr/>
        </p:nvSpPr>
        <p:spPr bwMode="auto">
          <a:xfrm>
            <a:off x="2821528" y="4555766"/>
            <a:ext cx="1210633" cy="708110"/>
          </a:xfrm>
          <a:prstGeom prst="rect">
            <a:avLst/>
          </a:prstGeom>
          <a:blipFill>
            <a:blip r:embed="rId3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95189" tIns="47597" rIns="95189" bIns="47597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18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ADB1ECA8-D98C-444C-A0C1-FC0174109A2D}"/>
              </a:ext>
            </a:extLst>
          </p:cNvPr>
          <p:cNvSpPr txBox="1"/>
          <p:nvPr/>
        </p:nvSpPr>
        <p:spPr>
          <a:xfrm>
            <a:off x="4211407" y="1811549"/>
            <a:ext cx="2486919" cy="439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NZ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McKinsey acquires QuantumBlack</a:t>
            </a:r>
          </a:p>
        </p:txBody>
      </p:sp>
      <p:pic>
        <p:nvPicPr>
          <p:cNvPr id="307" name="Picture 306">
            <a:extLst>
              <a:ext uri="{FF2B5EF4-FFF2-40B4-BE49-F238E27FC236}">
                <a16:creationId xmlns:a16="http://schemas.microsoft.com/office/drawing/2014/main" id="{029EC1DA-3364-4C05-947E-161D90D31086}"/>
              </a:ext>
            </a:extLst>
          </p:cNvPr>
          <p:cNvPicPr>
            <a:picLocks/>
          </p:cNvPicPr>
          <p:nvPr/>
        </p:nvPicPr>
        <p:blipFill rotWithShape="1">
          <a:blip r:embed="rId3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8">
                    <a14:imgEffect>
                      <a14:brightnessContrast contrast="-10000"/>
                    </a14:imgEffect>
                    <a14:imgEffect>
                      <a14:saturation sat="75000"/>
                    </a14:imgEffect>
                    <a14:imgEffect>
                      <a14:colorTemperature colorTemp="625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11407" y="2340895"/>
            <a:ext cx="1311769" cy="318963"/>
          </a:xfrm>
          <a:prstGeom prst="rect">
            <a:avLst/>
          </a:prstGeom>
        </p:spPr>
      </p:pic>
      <p:sp>
        <p:nvSpPr>
          <p:cNvPr id="324" name="Freeform 75">
            <a:extLst>
              <a:ext uri="{FF2B5EF4-FFF2-40B4-BE49-F238E27FC236}">
                <a16:creationId xmlns:a16="http://schemas.microsoft.com/office/drawing/2014/main" id="{BFC2A866-7C97-4047-8C3D-633B9EC832BA}"/>
              </a:ext>
            </a:extLst>
          </p:cNvPr>
          <p:cNvSpPr>
            <a:spLocks noChangeAspect="1"/>
          </p:cNvSpPr>
          <p:nvPr/>
        </p:nvSpPr>
        <p:spPr bwMode="auto">
          <a:xfrm>
            <a:off x="5586761" y="4555766"/>
            <a:ext cx="1210633" cy="708110"/>
          </a:xfrm>
          <a:prstGeom prst="rect">
            <a:avLst/>
          </a:prstGeom>
          <a:blipFill>
            <a:blip r:embed="rId3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95189" tIns="47597" rIns="95189" bIns="47597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18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EC00F98E-6FA2-447A-9700-49C53E14D95D}"/>
              </a:ext>
            </a:extLst>
          </p:cNvPr>
          <p:cNvSpPr txBox="1"/>
          <p:nvPr/>
        </p:nvSpPr>
        <p:spPr>
          <a:xfrm>
            <a:off x="9728757" y="1811549"/>
            <a:ext cx="1217039" cy="439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QB Quantum AI</a:t>
            </a:r>
          </a:p>
        </p:txBody>
      </p:sp>
      <p:pic>
        <p:nvPicPr>
          <p:cNvPr id="123932" name="Picture 28">
            <a:extLst>
              <a:ext uri="{FF2B5EF4-FFF2-40B4-BE49-F238E27FC236}">
                <a16:creationId xmlns:a16="http://schemas.microsoft.com/office/drawing/2014/main" id="{160F0F87-6933-41C2-B106-C0553071B3E6}"/>
              </a:ext>
            </a:extLst>
          </p:cNvPr>
          <p:cNvPicPr>
            <a:picLocks noChangeArrowheads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728757" y="2340895"/>
            <a:ext cx="1210633" cy="708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8" name="Group 137">
            <a:extLst>
              <a:ext uri="{FF2B5EF4-FFF2-40B4-BE49-F238E27FC236}">
                <a16:creationId xmlns:a16="http://schemas.microsoft.com/office/drawing/2014/main" id="{F6D71F80-D293-40E1-B672-3A63DDD9593E}"/>
              </a:ext>
            </a:extLst>
          </p:cNvPr>
          <p:cNvGrpSpPr/>
          <p:nvPr/>
        </p:nvGrpSpPr>
        <p:grpSpPr>
          <a:xfrm>
            <a:off x="4380583" y="4796583"/>
            <a:ext cx="897347" cy="586489"/>
            <a:chOff x="3038345" y="2487320"/>
            <a:chExt cx="879666" cy="574933"/>
          </a:xfrm>
        </p:grpSpPr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EDB7E43C-0A89-4896-AF73-737D1F0ECC6B}"/>
                </a:ext>
              </a:extLst>
            </p:cNvPr>
            <p:cNvGrpSpPr/>
            <p:nvPr/>
          </p:nvGrpSpPr>
          <p:grpSpPr>
            <a:xfrm>
              <a:off x="3692828" y="2487321"/>
              <a:ext cx="225183" cy="574929"/>
              <a:chOff x="3765704" y="2487321"/>
              <a:chExt cx="225183" cy="574929"/>
            </a:xfrm>
          </p:grpSpPr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08C0AB0D-3F4D-4A9B-90EF-C032F584EA6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827801" y="2487321"/>
                <a:ext cx="100989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ctr" defTabSz="1242817" rtl="0" eaLnBrk="1" fontAlgn="base" latinLnBrk="0" hangingPunct="1">
                  <a:lnSpc>
                    <a:spcPct val="100000"/>
                  </a:lnSpc>
                  <a:spcBef>
                    <a:spcPts val="624"/>
                  </a:spcBef>
                  <a:spcAft>
                    <a:spcPts val="624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A9F4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rPr>
                  <a:t>1</a:t>
                </a:r>
              </a:p>
            </p:txBody>
          </p:sp>
          <p:pic>
            <p:nvPicPr>
              <p:cNvPr id="152" name="CustomIcon">
                <a:extLst>
                  <a:ext uri="{FF2B5EF4-FFF2-40B4-BE49-F238E27FC236}">
                    <a16:creationId xmlns:a16="http://schemas.microsoft.com/office/drawing/2014/main" id="{3B3E92BB-8611-4DBB-9CF8-07E47A3E15BF}"/>
                  </a:ext>
                </a:extLst>
              </p:cNvPr>
              <p:cNvPicPr>
                <a:picLocks/>
              </p:cNvPicPr>
              <p:nvPr>
                <p:custDataLst>
                  <p:tags r:id="rId23"/>
                </p:custDataLst>
              </p:nvPr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2"/>
                  </a:ext>
                </a:extLst>
              </a:blip>
              <a:stretch>
                <a:fillRect/>
              </a:stretch>
            </p:blipFill>
            <p:spPr>
              <a:xfrm>
                <a:off x="3765704" y="2837066"/>
                <a:ext cx="225183" cy="225184"/>
              </a:xfrm>
              <a:prstGeom prst="rect">
                <a:avLst/>
              </a:prstGeom>
            </p:spPr>
          </p:pic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E4EC2DC5-3C6D-40A2-8848-5DC941BD8C3E}"/>
                </a:ext>
              </a:extLst>
            </p:cNvPr>
            <p:cNvGrpSpPr/>
            <p:nvPr/>
          </p:nvGrpSpPr>
          <p:grpSpPr>
            <a:xfrm>
              <a:off x="3038345" y="2487320"/>
              <a:ext cx="251672" cy="574932"/>
              <a:chOff x="3111221" y="2487320"/>
              <a:chExt cx="251672" cy="574932"/>
            </a:xfrm>
          </p:grpSpPr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BA0BD77D-70A9-4237-ADEB-E91C652BB03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111221" y="2487320"/>
                <a:ext cx="251672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ctr" defTabSz="1242817" rtl="0" eaLnBrk="1" fontAlgn="base" latinLnBrk="0" hangingPunct="1">
                  <a:lnSpc>
                    <a:spcPct val="100000"/>
                  </a:lnSpc>
                  <a:spcBef>
                    <a:spcPts val="624"/>
                  </a:spcBef>
                  <a:spcAft>
                    <a:spcPts val="624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A9F4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rPr>
                  <a:t>35</a:t>
                </a:r>
              </a:p>
            </p:txBody>
          </p: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5CC4EFE1-B358-4E59-9EB8-B3EF548F1541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124466" y="2837068"/>
                <a:ext cx="225183" cy="225184"/>
                <a:chOff x="4228670" y="5695503"/>
                <a:chExt cx="173048" cy="173048"/>
              </a:xfrm>
              <a:noFill/>
            </p:grpSpPr>
            <p:pic>
              <p:nvPicPr>
                <p:cNvPr id="144" name="CustomIcon">
                  <a:extLst>
                    <a:ext uri="{FF2B5EF4-FFF2-40B4-BE49-F238E27FC236}">
                      <a16:creationId xmlns:a16="http://schemas.microsoft.com/office/drawing/2014/main" id="{AE5FD90F-3A7E-42CA-A35B-065924124FA4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22"/>
                  </p:custDataLst>
                </p:nvPr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28670" y="5695503"/>
                  <a:ext cx="173048" cy="173048"/>
                </a:xfrm>
                <a:prstGeom prst="rect">
                  <a:avLst/>
                </a:prstGeom>
              </p:spPr>
            </p:pic>
            <p:sp>
              <p:nvSpPr>
                <p:cNvPr id="145" name="Freeform: Shape 76">
                  <a:extLst>
                    <a:ext uri="{FF2B5EF4-FFF2-40B4-BE49-F238E27FC236}">
                      <a16:creationId xmlns:a16="http://schemas.microsoft.com/office/drawing/2014/main" id="{4104D608-3172-4528-8368-688CD2B31D14}"/>
                    </a:ext>
                  </a:extLst>
                </p:cNvPr>
                <p:cNvSpPr/>
                <p:nvPr/>
              </p:nvSpPr>
              <p:spPr>
                <a:xfrm>
                  <a:off x="4232490" y="5853632"/>
                  <a:ext cx="167640" cy="2703"/>
                </a:xfrm>
                <a:custGeom>
                  <a:avLst/>
                  <a:gdLst>
                    <a:gd name="connsiteX0" fmla="*/ 0 w 167640"/>
                    <a:gd name="connsiteY0" fmla="*/ 0 h 2703"/>
                    <a:gd name="connsiteX1" fmla="*/ 167640 w 167640"/>
                    <a:gd name="connsiteY1" fmla="*/ 0 h 2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7640" h="2703">
                      <a:moveTo>
                        <a:pt x="0" y="0"/>
                      </a:moveTo>
                      <a:lnTo>
                        <a:pt x="167640" y="0"/>
                      </a:lnTo>
                    </a:path>
                  </a:pathLst>
                </a:custGeom>
                <a:grpFill/>
                <a:ln w="9525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5189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CCA98C96-A37F-4ECF-84C3-04100A493BE9}"/>
                </a:ext>
              </a:extLst>
            </p:cNvPr>
            <p:cNvCxnSpPr>
              <a:cxnSpLocks/>
            </p:cNvCxnSpPr>
            <p:nvPr/>
          </p:nvCxnSpPr>
          <p:spPr>
            <a:xfrm>
              <a:off x="3484801" y="2837069"/>
              <a:ext cx="0" cy="225184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F4839FA7-98EC-4909-9AD3-5A59AF69A6B1}"/>
              </a:ext>
            </a:extLst>
          </p:cNvPr>
          <p:cNvGrpSpPr/>
          <p:nvPr/>
        </p:nvGrpSpPr>
        <p:grpSpPr>
          <a:xfrm>
            <a:off x="5700057" y="2720847"/>
            <a:ext cx="899800" cy="586489"/>
            <a:chOff x="3035941" y="2487320"/>
            <a:chExt cx="882070" cy="574933"/>
          </a:xfrm>
        </p:grpSpPr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94531550-5968-49A2-9446-B55B329385C5}"/>
                </a:ext>
              </a:extLst>
            </p:cNvPr>
            <p:cNvGrpSpPr/>
            <p:nvPr/>
          </p:nvGrpSpPr>
          <p:grpSpPr>
            <a:xfrm>
              <a:off x="3692828" y="2487321"/>
              <a:ext cx="225183" cy="574929"/>
              <a:chOff x="3765704" y="2487321"/>
              <a:chExt cx="225183" cy="574929"/>
            </a:xfrm>
          </p:grpSpPr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BA86047F-590D-48DF-A6D4-38D1B7F096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827801" y="2487321"/>
                <a:ext cx="100989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ctr" defTabSz="1242817" rtl="0" eaLnBrk="1" fontAlgn="base" latinLnBrk="0" hangingPunct="1">
                  <a:lnSpc>
                    <a:spcPct val="100000"/>
                  </a:lnSpc>
                  <a:spcBef>
                    <a:spcPts val="624"/>
                  </a:spcBef>
                  <a:spcAft>
                    <a:spcPts val="624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A9F4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rPr>
                  <a:t>1</a:t>
                </a:r>
              </a:p>
            </p:txBody>
          </p:sp>
          <p:pic>
            <p:nvPicPr>
              <p:cNvPr id="162" name="CustomIcon">
                <a:extLst>
                  <a:ext uri="{FF2B5EF4-FFF2-40B4-BE49-F238E27FC236}">
                    <a16:creationId xmlns:a16="http://schemas.microsoft.com/office/drawing/2014/main" id="{E2AE6FBC-B2B0-4C43-9C0B-3048940A618E}"/>
                  </a:ext>
                </a:extLst>
              </p:cNvPr>
              <p:cNvPicPr>
                <a:picLocks/>
              </p:cNvPicPr>
              <p:nvPr>
                <p:custDataLst>
                  <p:tags r:id="rId21"/>
                </p:custDataLst>
              </p:nvPr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2"/>
                  </a:ext>
                </a:extLst>
              </a:blip>
              <a:stretch>
                <a:fillRect/>
              </a:stretch>
            </p:blipFill>
            <p:spPr>
              <a:xfrm>
                <a:off x="3765704" y="2837066"/>
                <a:ext cx="225183" cy="225184"/>
              </a:xfrm>
              <a:prstGeom prst="rect">
                <a:avLst/>
              </a:prstGeom>
            </p:spPr>
          </p:pic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C348C938-26A6-493B-8C45-A9864FFE9C87}"/>
                </a:ext>
              </a:extLst>
            </p:cNvPr>
            <p:cNvGrpSpPr/>
            <p:nvPr/>
          </p:nvGrpSpPr>
          <p:grpSpPr>
            <a:xfrm>
              <a:off x="3035941" y="2487320"/>
              <a:ext cx="256481" cy="574932"/>
              <a:chOff x="3108817" y="2487320"/>
              <a:chExt cx="256481" cy="574932"/>
            </a:xfrm>
          </p:grpSpPr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A4E875A3-2F62-4FC5-A42F-B9FD3BA6771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108817" y="2487320"/>
                <a:ext cx="256481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ctr" defTabSz="1242817" rtl="0" eaLnBrk="1" fontAlgn="base" latinLnBrk="0" hangingPunct="1">
                  <a:lnSpc>
                    <a:spcPct val="100000"/>
                  </a:lnSpc>
                  <a:spcBef>
                    <a:spcPts val="624"/>
                  </a:spcBef>
                  <a:spcAft>
                    <a:spcPts val="624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A9F4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rPr>
                  <a:t>45</a:t>
                </a:r>
              </a:p>
            </p:txBody>
          </p:sp>
          <p:grpSp>
            <p:nvGrpSpPr>
              <p:cNvPr id="158" name="Group 157">
                <a:extLst>
                  <a:ext uri="{FF2B5EF4-FFF2-40B4-BE49-F238E27FC236}">
                    <a16:creationId xmlns:a16="http://schemas.microsoft.com/office/drawing/2014/main" id="{75799F30-9D4F-4DE7-B5A0-7ABAF1FC665A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124466" y="2837068"/>
                <a:ext cx="225183" cy="225184"/>
                <a:chOff x="4228670" y="5695503"/>
                <a:chExt cx="173048" cy="173048"/>
              </a:xfrm>
              <a:noFill/>
            </p:grpSpPr>
            <p:pic>
              <p:nvPicPr>
                <p:cNvPr id="159" name="CustomIcon">
                  <a:extLst>
                    <a:ext uri="{FF2B5EF4-FFF2-40B4-BE49-F238E27FC236}">
                      <a16:creationId xmlns:a16="http://schemas.microsoft.com/office/drawing/2014/main" id="{1AEF9D25-8373-4886-9F6B-45EEE0E554B8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20"/>
                  </p:custDataLst>
                </p:nvPr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28670" y="5695503"/>
                  <a:ext cx="173048" cy="173048"/>
                </a:xfrm>
                <a:prstGeom prst="rect">
                  <a:avLst/>
                </a:prstGeom>
              </p:spPr>
            </p:pic>
            <p:sp>
              <p:nvSpPr>
                <p:cNvPr id="160" name="Freeform: Shape 76">
                  <a:extLst>
                    <a:ext uri="{FF2B5EF4-FFF2-40B4-BE49-F238E27FC236}">
                      <a16:creationId xmlns:a16="http://schemas.microsoft.com/office/drawing/2014/main" id="{CA47D774-EC82-40E9-8AD1-50CE70776A6D}"/>
                    </a:ext>
                  </a:extLst>
                </p:cNvPr>
                <p:cNvSpPr/>
                <p:nvPr/>
              </p:nvSpPr>
              <p:spPr>
                <a:xfrm>
                  <a:off x="4232490" y="5853632"/>
                  <a:ext cx="167640" cy="2703"/>
                </a:xfrm>
                <a:custGeom>
                  <a:avLst/>
                  <a:gdLst>
                    <a:gd name="connsiteX0" fmla="*/ 0 w 167640"/>
                    <a:gd name="connsiteY0" fmla="*/ 0 h 2703"/>
                    <a:gd name="connsiteX1" fmla="*/ 167640 w 167640"/>
                    <a:gd name="connsiteY1" fmla="*/ 0 h 2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7640" h="2703">
                      <a:moveTo>
                        <a:pt x="0" y="0"/>
                      </a:moveTo>
                      <a:lnTo>
                        <a:pt x="167640" y="0"/>
                      </a:lnTo>
                    </a:path>
                  </a:pathLst>
                </a:custGeom>
                <a:grpFill/>
                <a:ln w="9525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5189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7D95C531-91A6-49D6-83CB-828293F9BC67}"/>
                </a:ext>
              </a:extLst>
            </p:cNvPr>
            <p:cNvCxnSpPr>
              <a:cxnSpLocks/>
            </p:cNvCxnSpPr>
            <p:nvPr/>
          </p:nvCxnSpPr>
          <p:spPr>
            <a:xfrm>
              <a:off x="3484801" y="2837069"/>
              <a:ext cx="0" cy="225184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DF776F05-ED1B-4050-A3E5-5ED931812FB3}"/>
              </a:ext>
            </a:extLst>
          </p:cNvPr>
          <p:cNvGrpSpPr/>
          <p:nvPr/>
        </p:nvGrpSpPr>
        <p:grpSpPr>
          <a:xfrm>
            <a:off x="8318966" y="2720847"/>
            <a:ext cx="1161047" cy="586489"/>
            <a:chOff x="2878045" y="2487320"/>
            <a:chExt cx="1138170" cy="574933"/>
          </a:xfrm>
        </p:grpSpPr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D6B9275F-903D-4619-AA3B-297BCD58AA78}"/>
                </a:ext>
              </a:extLst>
            </p:cNvPr>
            <p:cNvGrpSpPr/>
            <p:nvPr/>
          </p:nvGrpSpPr>
          <p:grpSpPr>
            <a:xfrm>
              <a:off x="3594625" y="2487321"/>
              <a:ext cx="421590" cy="574929"/>
              <a:chOff x="3667501" y="2487321"/>
              <a:chExt cx="421590" cy="574929"/>
            </a:xfrm>
          </p:grpSpPr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48677721-8489-4D0C-AA6E-CFF74E2EC5A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667501" y="2487321"/>
                <a:ext cx="421590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ctr" defTabSz="1242817" rtl="0" eaLnBrk="1" fontAlgn="base" latinLnBrk="0" hangingPunct="1">
                  <a:lnSpc>
                    <a:spcPct val="100000"/>
                  </a:lnSpc>
                  <a:spcBef>
                    <a:spcPts val="624"/>
                  </a:spcBef>
                  <a:spcAft>
                    <a:spcPts val="624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A9F4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rPr>
                  <a:t>&gt;40</a:t>
                </a:r>
              </a:p>
            </p:txBody>
          </p:sp>
          <p:pic>
            <p:nvPicPr>
              <p:cNvPr id="172" name="CustomIcon">
                <a:extLst>
                  <a:ext uri="{FF2B5EF4-FFF2-40B4-BE49-F238E27FC236}">
                    <a16:creationId xmlns:a16="http://schemas.microsoft.com/office/drawing/2014/main" id="{5E85ECAE-2E06-4719-861C-25280D9C78CF}"/>
                  </a:ext>
                </a:extLst>
              </p:cNvPr>
              <p:cNvPicPr>
                <a:picLocks/>
              </p:cNvPicPr>
              <p:nvPr>
                <p:custDataLst>
                  <p:tags r:id="rId19"/>
                </p:custDataLst>
              </p:nvPr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2"/>
                  </a:ext>
                </a:extLst>
              </a:blip>
              <a:stretch>
                <a:fillRect/>
              </a:stretch>
            </p:blipFill>
            <p:spPr>
              <a:xfrm>
                <a:off x="3765704" y="2837066"/>
                <a:ext cx="225183" cy="225184"/>
              </a:xfrm>
              <a:prstGeom prst="rect">
                <a:avLst/>
              </a:prstGeom>
            </p:spPr>
          </p:pic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C1682467-45B3-4939-84D4-C208DDB6E80B}"/>
                </a:ext>
              </a:extLst>
            </p:cNvPr>
            <p:cNvGrpSpPr/>
            <p:nvPr/>
          </p:nvGrpSpPr>
          <p:grpSpPr>
            <a:xfrm>
              <a:off x="2878045" y="2487320"/>
              <a:ext cx="572273" cy="574932"/>
              <a:chOff x="2950921" y="2487320"/>
              <a:chExt cx="572273" cy="574932"/>
            </a:xfrm>
          </p:grpSpPr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07AA494D-CB62-4053-8D61-BD143519C8D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950921" y="2487320"/>
                <a:ext cx="572273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ctr" defTabSz="1242817" rtl="0" eaLnBrk="1" fontAlgn="base" latinLnBrk="0" hangingPunct="1">
                  <a:lnSpc>
                    <a:spcPct val="100000"/>
                  </a:lnSpc>
                  <a:spcBef>
                    <a:spcPts val="624"/>
                  </a:spcBef>
                  <a:spcAft>
                    <a:spcPts val="624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A9F4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rPr>
                  <a:t>~800</a:t>
                </a:r>
              </a:p>
            </p:txBody>
          </p: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3CE43E52-C5B7-4C06-AD61-13BC85AFB8BF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124466" y="2837068"/>
                <a:ext cx="225183" cy="225184"/>
                <a:chOff x="4228670" y="5695503"/>
                <a:chExt cx="173048" cy="173048"/>
              </a:xfrm>
              <a:noFill/>
            </p:grpSpPr>
            <p:pic>
              <p:nvPicPr>
                <p:cNvPr id="169" name="CustomIcon">
                  <a:extLst>
                    <a:ext uri="{FF2B5EF4-FFF2-40B4-BE49-F238E27FC236}">
                      <a16:creationId xmlns:a16="http://schemas.microsoft.com/office/drawing/2014/main" id="{54C03D6D-03D1-49E1-A0B7-F75242AEFF35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18"/>
                  </p:custDataLst>
                </p:nvPr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28670" y="5695503"/>
                  <a:ext cx="173048" cy="173048"/>
                </a:xfrm>
                <a:prstGeom prst="rect">
                  <a:avLst/>
                </a:prstGeom>
              </p:spPr>
            </p:pic>
            <p:sp>
              <p:nvSpPr>
                <p:cNvPr id="170" name="Freeform: Shape 76">
                  <a:extLst>
                    <a:ext uri="{FF2B5EF4-FFF2-40B4-BE49-F238E27FC236}">
                      <a16:creationId xmlns:a16="http://schemas.microsoft.com/office/drawing/2014/main" id="{4B336D80-AF37-4236-8864-83D187F95E1B}"/>
                    </a:ext>
                  </a:extLst>
                </p:cNvPr>
                <p:cNvSpPr/>
                <p:nvPr/>
              </p:nvSpPr>
              <p:spPr>
                <a:xfrm>
                  <a:off x="4232490" y="5853632"/>
                  <a:ext cx="167640" cy="2703"/>
                </a:xfrm>
                <a:custGeom>
                  <a:avLst/>
                  <a:gdLst>
                    <a:gd name="connsiteX0" fmla="*/ 0 w 167640"/>
                    <a:gd name="connsiteY0" fmla="*/ 0 h 2703"/>
                    <a:gd name="connsiteX1" fmla="*/ 167640 w 167640"/>
                    <a:gd name="connsiteY1" fmla="*/ 0 h 2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7640" h="2703">
                      <a:moveTo>
                        <a:pt x="0" y="0"/>
                      </a:moveTo>
                      <a:lnTo>
                        <a:pt x="167640" y="0"/>
                      </a:lnTo>
                    </a:path>
                  </a:pathLst>
                </a:custGeom>
                <a:grpFill/>
                <a:ln w="9525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5189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84FE9D65-3473-4594-BBBD-4FBF5EA01541}"/>
                </a:ext>
              </a:extLst>
            </p:cNvPr>
            <p:cNvCxnSpPr>
              <a:cxnSpLocks/>
            </p:cNvCxnSpPr>
            <p:nvPr/>
          </p:nvCxnSpPr>
          <p:spPr>
            <a:xfrm>
              <a:off x="3484801" y="2837069"/>
              <a:ext cx="0" cy="225184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4E8A6DB0-57F3-4288-94D5-7F9A1AA95685}"/>
              </a:ext>
            </a:extLst>
          </p:cNvPr>
          <p:cNvGrpSpPr/>
          <p:nvPr/>
        </p:nvGrpSpPr>
        <p:grpSpPr>
          <a:xfrm>
            <a:off x="6998525" y="4796583"/>
            <a:ext cx="1051486" cy="586489"/>
            <a:chOff x="2891671" y="2487320"/>
            <a:chExt cx="1030768" cy="574933"/>
          </a:xfrm>
        </p:grpSpPr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A23B72C5-F6F6-459C-97FF-980B6D34A0A7}"/>
                </a:ext>
              </a:extLst>
            </p:cNvPr>
            <p:cNvGrpSpPr/>
            <p:nvPr/>
          </p:nvGrpSpPr>
          <p:grpSpPr>
            <a:xfrm>
              <a:off x="3688401" y="2487321"/>
              <a:ext cx="234038" cy="574929"/>
              <a:chOff x="3761277" y="2487321"/>
              <a:chExt cx="234038" cy="574929"/>
            </a:xfrm>
          </p:grpSpPr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70085B97-DBFB-41B3-BE07-5A09C29ABF6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61277" y="2487321"/>
                <a:ext cx="234038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242817" rtl="0" eaLnBrk="1" fontAlgn="base" latinLnBrk="0" hangingPunct="1">
                  <a:lnSpc>
                    <a:spcPct val="100000"/>
                  </a:lnSpc>
                  <a:spcBef>
                    <a:spcPts val="624"/>
                  </a:spcBef>
                  <a:spcAft>
                    <a:spcPts val="624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A9F4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rPr>
                  <a:t>16</a:t>
                </a:r>
              </a:p>
            </p:txBody>
          </p:sp>
          <p:pic>
            <p:nvPicPr>
              <p:cNvPr id="182" name="CustomIcon">
                <a:extLst>
                  <a:ext uri="{FF2B5EF4-FFF2-40B4-BE49-F238E27FC236}">
                    <a16:creationId xmlns:a16="http://schemas.microsoft.com/office/drawing/2014/main" id="{2966A883-D83C-49CE-9F9F-EAFDF051A068}"/>
                  </a:ext>
                </a:extLst>
              </p:cNvPr>
              <p:cNvPicPr>
                <a:picLocks/>
              </p:cNvPicPr>
              <p:nvPr>
                <p:custDataLst>
                  <p:tags r:id="rId17"/>
                </p:custDataLst>
              </p:nvPr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2"/>
                  </a:ext>
                </a:extLst>
              </a:blip>
              <a:stretch>
                <a:fillRect/>
              </a:stretch>
            </p:blipFill>
            <p:spPr>
              <a:xfrm>
                <a:off x="3765704" y="2837066"/>
                <a:ext cx="225183" cy="225184"/>
              </a:xfrm>
              <a:prstGeom prst="rect">
                <a:avLst/>
              </a:prstGeom>
            </p:spPr>
          </p:pic>
        </p:grp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ABE744BB-F85D-4A86-9B3E-21B0CA429D8A}"/>
                </a:ext>
              </a:extLst>
            </p:cNvPr>
            <p:cNvGrpSpPr/>
            <p:nvPr/>
          </p:nvGrpSpPr>
          <p:grpSpPr>
            <a:xfrm>
              <a:off x="2891671" y="2487320"/>
              <a:ext cx="545021" cy="574932"/>
              <a:chOff x="2964547" y="2487320"/>
              <a:chExt cx="545021" cy="574932"/>
            </a:xfrm>
          </p:grpSpPr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F95E8690-82BA-4467-9E97-99DD42D404F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964547" y="2487320"/>
                <a:ext cx="545021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242817" rtl="0" eaLnBrk="1" fontAlgn="base" latinLnBrk="0" hangingPunct="1">
                  <a:lnSpc>
                    <a:spcPct val="100000"/>
                  </a:lnSpc>
                  <a:spcBef>
                    <a:spcPts val="624"/>
                  </a:spcBef>
                  <a:spcAft>
                    <a:spcPts val="624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A9F4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rPr>
                  <a:t>~450</a:t>
                </a:r>
              </a:p>
            </p:txBody>
          </p:sp>
          <p:grpSp>
            <p:nvGrpSpPr>
              <p:cNvPr id="178" name="Group 177">
                <a:extLst>
                  <a:ext uri="{FF2B5EF4-FFF2-40B4-BE49-F238E27FC236}">
                    <a16:creationId xmlns:a16="http://schemas.microsoft.com/office/drawing/2014/main" id="{3FC82658-8D73-4D59-AEDE-8B9FD37EF234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124466" y="2837068"/>
                <a:ext cx="225183" cy="225184"/>
                <a:chOff x="4228670" y="5695503"/>
                <a:chExt cx="173048" cy="173048"/>
              </a:xfrm>
              <a:noFill/>
            </p:grpSpPr>
            <p:pic>
              <p:nvPicPr>
                <p:cNvPr id="179" name="CustomIcon">
                  <a:extLst>
                    <a:ext uri="{FF2B5EF4-FFF2-40B4-BE49-F238E27FC236}">
                      <a16:creationId xmlns:a16="http://schemas.microsoft.com/office/drawing/2014/main" id="{80FE8642-6186-4018-9C4E-71000679F043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16"/>
                  </p:custDataLst>
                </p:nvPr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28670" y="5695503"/>
                  <a:ext cx="173048" cy="173048"/>
                </a:xfrm>
                <a:prstGeom prst="rect">
                  <a:avLst/>
                </a:prstGeom>
              </p:spPr>
            </p:pic>
            <p:sp>
              <p:nvSpPr>
                <p:cNvPr id="180" name="Freeform: Shape 76">
                  <a:extLst>
                    <a:ext uri="{FF2B5EF4-FFF2-40B4-BE49-F238E27FC236}">
                      <a16:creationId xmlns:a16="http://schemas.microsoft.com/office/drawing/2014/main" id="{1C152223-629D-4452-B801-5CB0CB8DB287}"/>
                    </a:ext>
                  </a:extLst>
                </p:cNvPr>
                <p:cNvSpPr/>
                <p:nvPr/>
              </p:nvSpPr>
              <p:spPr>
                <a:xfrm>
                  <a:off x="4232490" y="5853632"/>
                  <a:ext cx="167640" cy="2703"/>
                </a:xfrm>
                <a:custGeom>
                  <a:avLst/>
                  <a:gdLst>
                    <a:gd name="connsiteX0" fmla="*/ 0 w 167640"/>
                    <a:gd name="connsiteY0" fmla="*/ 0 h 2703"/>
                    <a:gd name="connsiteX1" fmla="*/ 167640 w 167640"/>
                    <a:gd name="connsiteY1" fmla="*/ 0 h 2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7640" h="2703">
                      <a:moveTo>
                        <a:pt x="0" y="0"/>
                      </a:moveTo>
                      <a:lnTo>
                        <a:pt x="167640" y="0"/>
                      </a:lnTo>
                    </a:path>
                  </a:pathLst>
                </a:custGeom>
                <a:grpFill/>
                <a:ln w="9525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5189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3F4643DA-4D0B-4BF5-B45B-576244AD8886}"/>
                </a:ext>
              </a:extLst>
            </p:cNvPr>
            <p:cNvCxnSpPr>
              <a:cxnSpLocks/>
            </p:cNvCxnSpPr>
            <p:nvPr/>
          </p:nvCxnSpPr>
          <p:spPr>
            <a:xfrm>
              <a:off x="3484801" y="2837069"/>
              <a:ext cx="0" cy="225184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3B66C8F9-156B-4E6F-B843-A54258BB6C50}"/>
              </a:ext>
            </a:extLst>
          </p:cNvPr>
          <p:cNvGrpSpPr/>
          <p:nvPr/>
        </p:nvGrpSpPr>
        <p:grpSpPr>
          <a:xfrm>
            <a:off x="9338644" y="4764267"/>
            <a:ext cx="1227273" cy="586488"/>
            <a:chOff x="2813124" y="2487321"/>
            <a:chExt cx="1203091" cy="574932"/>
          </a:xfrm>
        </p:grpSpPr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1134A2A9-5633-4C41-A6D5-24AD77F265BD}"/>
                </a:ext>
              </a:extLst>
            </p:cNvPr>
            <p:cNvGrpSpPr/>
            <p:nvPr/>
          </p:nvGrpSpPr>
          <p:grpSpPr>
            <a:xfrm>
              <a:off x="3594625" y="2487321"/>
              <a:ext cx="421590" cy="574929"/>
              <a:chOff x="3667501" y="2487321"/>
              <a:chExt cx="421590" cy="574929"/>
            </a:xfrm>
          </p:grpSpPr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12026B18-CCD6-4B11-94D2-E908A470C0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667501" y="2487321"/>
                <a:ext cx="421590" cy="246221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242817" rtl="0" eaLnBrk="1" fontAlgn="base" latinLnBrk="0" hangingPunct="1">
                  <a:lnSpc>
                    <a:spcPct val="100000"/>
                  </a:lnSpc>
                  <a:spcBef>
                    <a:spcPts val="624"/>
                  </a:spcBef>
                  <a:spcAft>
                    <a:spcPts val="624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A9F4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rPr>
                  <a:t>&gt;40</a:t>
                </a:r>
              </a:p>
            </p:txBody>
          </p:sp>
          <p:pic>
            <p:nvPicPr>
              <p:cNvPr id="192" name="CustomIcon">
                <a:extLst>
                  <a:ext uri="{FF2B5EF4-FFF2-40B4-BE49-F238E27FC236}">
                    <a16:creationId xmlns:a16="http://schemas.microsoft.com/office/drawing/2014/main" id="{F275E619-50CC-4F50-BF0B-F64F5D4241FB}"/>
                  </a:ext>
                </a:extLst>
              </p:cNvPr>
              <p:cNvPicPr>
                <a:picLocks/>
              </p:cNvPicPr>
              <p:nvPr>
                <p:custDataLst>
                  <p:tags r:id="rId15"/>
                </p:custDataLst>
              </p:nvPr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2"/>
                  </a:ext>
                </a:extLst>
              </a:blip>
              <a:stretch>
                <a:fillRect/>
              </a:stretch>
            </p:blipFill>
            <p:spPr>
              <a:xfrm>
                <a:off x="3765704" y="2837066"/>
                <a:ext cx="225183" cy="225184"/>
              </a:xfrm>
              <a:prstGeom prst="rect">
                <a:avLst/>
              </a:prstGeom>
            </p:spPr>
          </p:pic>
        </p:grpSp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AEDA3C0D-DAD6-40C8-B41A-0765B9707285}"/>
                </a:ext>
              </a:extLst>
            </p:cNvPr>
            <p:cNvGrpSpPr/>
            <p:nvPr/>
          </p:nvGrpSpPr>
          <p:grpSpPr>
            <a:xfrm>
              <a:off x="2813124" y="2489745"/>
              <a:ext cx="714995" cy="572507"/>
              <a:chOff x="2886000" y="2489745"/>
              <a:chExt cx="714995" cy="572507"/>
            </a:xfrm>
          </p:grpSpPr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5EE1F454-689F-4757-9883-233FE53BCF9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886000" y="2489745"/>
                <a:ext cx="714995" cy="241370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00000"/>
                  <a:defRPr lang="x-none" b="1" baseline="0">
                    <a:latin typeface="+mn-lt"/>
                  </a:defRPr>
                </a:lvl1pPr>
                <a:lvl2pPr marL="2116" lvl="1" indent="0" defTabSz="1193860" eaLnBrk="1" latinLnBrk="0" hangingPunct="1">
                  <a:spcBef>
                    <a:spcPts val="600"/>
                  </a:spcBef>
                  <a:spcAft>
                    <a:spcPts val="60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68275" lvl="2" indent="-168275" defTabSz="1193860" eaLnBrk="1" latinLnBrk="0" hangingPunct="1">
                  <a:spcAft>
                    <a:spcPts val="60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3pPr>
                <a:lvl4pPr marL="350838" lvl="3" indent="-182563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4pPr>
                <a:lvl5pPr marL="579438" lvl="4" indent="-228600" defTabSz="1193860" eaLnBrk="1" latinLnBrk="0" hangingPunct="1">
                  <a:spcAft>
                    <a:spcPts val="60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marR="0" lvl="0" indent="0" algn="l" defTabSz="1242817" rtl="0" eaLnBrk="1" fontAlgn="base" latinLnBrk="0" hangingPunct="1">
                  <a:lnSpc>
                    <a:spcPct val="100000"/>
                  </a:lnSpc>
                  <a:spcBef>
                    <a:spcPts val="624"/>
                  </a:spcBef>
                  <a:spcAft>
                    <a:spcPts val="624"/>
                  </a:spcAft>
                  <a:buClr>
                    <a:srgbClr val="0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A9F4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rPr>
                  <a:t>~1,300</a:t>
                </a:r>
              </a:p>
            </p:txBody>
          </p:sp>
          <p:grpSp>
            <p:nvGrpSpPr>
              <p:cNvPr id="188" name="Group 187">
                <a:extLst>
                  <a:ext uri="{FF2B5EF4-FFF2-40B4-BE49-F238E27FC236}">
                    <a16:creationId xmlns:a16="http://schemas.microsoft.com/office/drawing/2014/main" id="{39A4D67F-DDDE-4CDC-859D-58A75D6702F9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124466" y="2837068"/>
                <a:ext cx="225183" cy="225184"/>
                <a:chOff x="4228670" y="5695503"/>
                <a:chExt cx="173048" cy="173048"/>
              </a:xfrm>
              <a:noFill/>
            </p:grpSpPr>
            <p:pic>
              <p:nvPicPr>
                <p:cNvPr id="189" name="CustomIcon">
                  <a:extLst>
                    <a:ext uri="{FF2B5EF4-FFF2-40B4-BE49-F238E27FC236}">
                      <a16:creationId xmlns:a16="http://schemas.microsoft.com/office/drawing/2014/main" id="{1F09EA8A-6A66-41E3-B644-E90A326B5779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14"/>
                  </p:custDataLst>
                </p:nvPr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28670" y="5695503"/>
                  <a:ext cx="173048" cy="173048"/>
                </a:xfrm>
                <a:prstGeom prst="rect">
                  <a:avLst/>
                </a:prstGeom>
              </p:spPr>
            </p:pic>
            <p:sp>
              <p:nvSpPr>
                <p:cNvPr id="190" name="Freeform: Shape 76">
                  <a:extLst>
                    <a:ext uri="{FF2B5EF4-FFF2-40B4-BE49-F238E27FC236}">
                      <a16:creationId xmlns:a16="http://schemas.microsoft.com/office/drawing/2014/main" id="{6CD3F6EB-15F2-4EFC-9622-AB66870CD0D0}"/>
                    </a:ext>
                  </a:extLst>
                </p:cNvPr>
                <p:cNvSpPr/>
                <p:nvPr/>
              </p:nvSpPr>
              <p:spPr>
                <a:xfrm>
                  <a:off x="4232490" y="5853632"/>
                  <a:ext cx="167640" cy="2703"/>
                </a:xfrm>
                <a:custGeom>
                  <a:avLst/>
                  <a:gdLst>
                    <a:gd name="connsiteX0" fmla="*/ 0 w 167640"/>
                    <a:gd name="connsiteY0" fmla="*/ 0 h 2703"/>
                    <a:gd name="connsiteX1" fmla="*/ 167640 w 167640"/>
                    <a:gd name="connsiteY1" fmla="*/ 0 h 2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7640" h="2703">
                      <a:moveTo>
                        <a:pt x="0" y="0"/>
                      </a:moveTo>
                      <a:lnTo>
                        <a:pt x="167640" y="0"/>
                      </a:lnTo>
                    </a:path>
                  </a:pathLst>
                </a:custGeom>
                <a:grpFill/>
                <a:ln w="9525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5189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333D8ED3-1C0D-4EBB-A57C-A7CEC12A7D65}"/>
                </a:ext>
              </a:extLst>
            </p:cNvPr>
            <p:cNvCxnSpPr>
              <a:cxnSpLocks/>
            </p:cNvCxnSpPr>
            <p:nvPr/>
          </p:nvCxnSpPr>
          <p:spPr>
            <a:xfrm>
              <a:off x="3484801" y="2837069"/>
              <a:ext cx="0" cy="225184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222" name="Picture 6" descr="MongoDB For Data Science | MongoDB">
            <a:extLst>
              <a:ext uri="{FF2B5EF4-FFF2-40B4-BE49-F238E27FC236}">
                <a16:creationId xmlns:a16="http://schemas.microsoft.com/office/drawing/2014/main" id="{EF2C8CC1-C344-4BB2-B62E-2B680E840C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38451" y="5998730"/>
            <a:ext cx="973486" cy="259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0" name="Oval 229">
            <a:extLst>
              <a:ext uri="{FF2B5EF4-FFF2-40B4-BE49-F238E27FC236}">
                <a16:creationId xmlns:a16="http://schemas.microsoft.com/office/drawing/2014/main" id="{B6FF0244-9FA4-40D5-B0D8-93060A320C8C}"/>
              </a:ext>
            </a:extLst>
          </p:cNvPr>
          <p:cNvSpPr>
            <a:spLocks/>
          </p:cNvSpPr>
          <p:nvPr/>
        </p:nvSpPr>
        <p:spPr>
          <a:xfrm>
            <a:off x="2368560" y="3398830"/>
            <a:ext cx="576154" cy="57600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0" name="2. Slide Title">
            <a:extLst>
              <a:ext uri="{FF2B5EF4-FFF2-40B4-BE49-F238E27FC236}">
                <a16:creationId xmlns:a16="http://schemas.microsoft.com/office/drawing/2014/main" id="{1AACEEC0-8DF6-4A1A-97C6-4A410FF6FEB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471408" y="3532942"/>
            <a:ext cx="37045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2010-14</a:t>
            </a:r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2491C361-3329-440E-9988-730F61CF752E}"/>
              </a:ext>
            </a:extLst>
          </p:cNvPr>
          <p:cNvSpPr>
            <a:spLocks/>
          </p:cNvSpPr>
          <p:nvPr/>
        </p:nvSpPr>
        <p:spPr>
          <a:xfrm>
            <a:off x="3750694" y="3398830"/>
            <a:ext cx="576154" cy="57600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1" name="2. Slide Title">
            <a:extLst>
              <a:ext uri="{FF2B5EF4-FFF2-40B4-BE49-F238E27FC236}">
                <a16:creationId xmlns:a16="http://schemas.microsoft.com/office/drawing/2014/main" id="{D634A9B6-794C-4717-9BA1-B384C75E875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878626" y="3606823"/>
            <a:ext cx="320290" cy="161837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2015</a:t>
            </a:r>
          </a:p>
        </p:txBody>
      </p:sp>
      <p:sp>
        <p:nvSpPr>
          <p:cNvPr id="269" name="Oval 268">
            <a:extLst>
              <a:ext uri="{FF2B5EF4-FFF2-40B4-BE49-F238E27FC236}">
                <a16:creationId xmlns:a16="http://schemas.microsoft.com/office/drawing/2014/main" id="{1D3DAE4E-A68A-474E-BAF0-4225A6BE7DF5}"/>
              </a:ext>
            </a:extLst>
          </p:cNvPr>
          <p:cNvSpPr>
            <a:spLocks/>
          </p:cNvSpPr>
          <p:nvPr/>
        </p:nvSpPr>
        <p:spPr>
          <a:xfrm>
            <a:off x="2588673" y="3297495"/>
            <a:ext cx="78050" cy="78050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6" name="Oval 265">
            <a:extLst>
              <a:ext uri="{FF2B5EF4-FFF2-40B4-BE49-F238E27FC236}">
                <a16:creationId xmlns:a16="http://schemas.microsoft.com/office/drawing/2014/main" id="{1DDA993A-EBB5-49ED-8CF6-82D2A2E9AB91}"/>
              </a:ext>
            </a:extLst>
          </p:cNvPr>
          <p:cNvSpPr>
            <a:spLocks/>
          </p:cNvSpPr>
          <p:nvPr/>
        </p:nvSpPr>
        <p:spPr>
          <a:xfrm>
            <a:off x="3972103" y="3999943"/>
            <a:ext cx="78050" cy="78050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3" name="Oval 262">
            <a:extLst>
              <a:ext uri="{FF2B5EF4-FFF2-40B4-BE49-F238E27FC236}">
                <a16:creationId xmlns:a16="http://schemas.microsoft.com/office/drawing/2014/main" id="{0B35238A-D52C-41A5-AA2C-2456151FBD6F}"/>
              </a:ext>
            </a:extLst>
          </p:cNvPr>
          <p:cNvSpPr>
            <a:spLocks/>
          </p:cNvSpPr>
          <p:nvPr/>
        </p:nvSpPr>
        <p:spPr>
          <a:xfrm>
            <a:off x="5343693" y="3297495"/>
            <a:ext cx="78050" cy="78050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449C96F-EF9A-47F0-9FF3-2F23EF76A809}"/>
              </a:ext>
            </a:extLst>
          </p:cNvPr>
          <p:cNvGrpSpPr/>
          <p:nvPr/>
        </p:nvGrpSpPr>
        <p:grpSpPr>
          <a:xfrm>
            <a:off x="987510" y="3398830"/>
            <a:ext cx="576154" cy="576000"/>
            <a:chOff x="1227308" y="3503914"/>
            <a:chExt cx="611317" cy="613089"/>
          </a:xfrm>
        </p:grpSpPr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FABE99F4-88EE-4CD6-B154-9E45DD708F68}"/>
                </a:ext>
              </a:extLst>
            </p:cNvPr>
            <p:cNvSpPr>
              <a:spLocks/>
            </p:cNvSpPr>
            <p:nvPr/>
          </p:nvSpPr>
          <p:spPr>
            <a:xfrm>
              <a:off x="1227308" y="3503914"/>
              <a:ext cx="611317" cy="613089"/>
            </a:xfrm>
            <a:prstGeom prst="ellipse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NZ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9" name="2. Slide Title">
              <a:extLst>
                <a:ext uri="{FF2B5EF4-FFF2-40B4-BE49-F238E27FC236}">
                  <a16:creationId xmlns:a16="http://schemas.microsoft.com/office/drawing/2014/main" id="{BC6B7B96-0A88-423C-9447-7429B833D583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1363049" y="3724601"/>
              <a:ext cx="339837" cy="171714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algn="l" defTabSz="914400" rtl="0" eaLnBrk="1" latinLnBrk="0" hangingPunct="1">
                <a:lnSpc>
                  <a:spcPct val="93000"/>
                </a:lnSpc>
                <a:spcBef>
                  <a:spcPct val="0"/>
                </a:spcBef>
                <a:buNone/>
                <a:defRPr sz="2500" b="1" kern="1200" spc="0" baseline="0">
                  <a:ln w="6350" cap="flat">
                    <a:noFill/>
                    <a:miter lim="800000"/>
                  </a:ln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3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 w="6350" cap="flat">
                    <a:noFill/>
                    <a:miter lim="800000"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2009</a:t>
              </a:r>
            </a:p>
          </p:txBody>
        </p:sp>
      </p:grpSp>
      <p:sp>
        <p:nvSpPr>
          <p:cNvPr id="232" name="Oval 231">
            <a:extLst>
              <a:ext uri="{FF2B5EF4-FFF2-40B4-BE49-F238E27FC236}">
                <a16:creationId xmlns:a16="http://schemas.microsoft.com/office/drawing/2014/main" id="{5EDDF87B-65E5-4344-A308-911C4AF72F36}"/>
              </a:ext>
            </a:extLst>
          </p:cNvPr>
          <p:cNvSpPr>
            <a:spLocks/>
          </p:cNvSpPr>
          <p:nvPr/>
        </p:nvSpPr>
        <p:spPr>
          <a:xfrm>
            <a:off x="5131744" y="3398830"/>
            <a:ext cx="576154" cy="57600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2" name="2. Slide Title">
            <a:extLst>
              <a:ext uri="{FF2B5EF4-FFF2-40B4-BE49-F238E27FC236}">
                <a16:creationId xmlns:a16="http://schemas.microsoft.com/office/drawing/2014/main" id="{ECD77352-1450-4F9E-BC35-6D6CAB4BF5D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249903" y="3532942"/>
            <a:ext cx="339837" cy="307777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2016</a:t>
            </a:r>
            <a:br>
              <a:rPr kumimoji="0" lang="en-US" sz="1200" b="1" i="0" u="none" strike="noStrike" kern="1200" cap="none" spc="0" normalizeH="0" baseline="0" noProof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en-US" sz="1200" b="1" i="0" u="none" strike="noStrike" kern="1200" cap="none" spc="0" normalizeH="0" baseline="0" noProof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-20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1A7DA61-BC9F-4640-8707-2C183CB9C97F}"/>
              </a:ext>
            </a:extLst>
          </p:cNvPr>
          <p:cNvGrpSpPr/>
          <p:nvPr/>
        </p:nvGrpSpPr>
        <p:grpSpPr>
          <a:xfrm>
            <a:off x="6514962" y="3398830"/>
            <a:ext cx="576154" cy="576000"/>
            <a:chOff x="7092097" y="3503914"/>
            <a:chExt cx="611317" cy="613089"/>
          </a:xfrm>
        </p:grpSpPr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3E741793-1458-4890-8EB9-E08371B23189}"/>
                </a:ext>
              </a:extLst>
            </p:cNvPr>
            <p:cNvSpPr>
              <a:spLocks/>
            </p:cNvSpPr>
            <p:nvPr/>
          </p:nvSpPr>
          <p:spPr>
            <a:xfrm>
              <a:off x="7092097" y="3503914"/>
              <a:ext cx="611317" cy="613089"/>
            </a:xfrm>
            <a:prstGeom prst="ellipse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NZ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3" name="2. Slide Title">
              <a:extLst>
                <a:ext uri="{FF2B5EF4-FFF2-40B4-BE49-F238E27FC236}">
                  <a16:creationId xmlns:a16="http://schemas.microsoft.com/office/drawing/2014/main" id="{6E5DA877-F421-41CA-9B19-812F132578F8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7227839" y="3724601"/>
              <a:ext cx="339837" cy="171714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algn="l" defTabSz="914400" rtl="0" eaLnBrk="1" latinLnBrk="0" hangingPunct="1">
                <a:lnSpc>
                  <a:spcPct val="93000"/>
                </a:lnSpc>
                <a:spcBef>
                  <a:spcPct val="0"/>
                </a:spcBef>
                <a:buNone/>
                <a:defRPr sz="2500" b="1" kern="1200" spc="0" baseline="0">
                  <a:ln w="6350" cap="flat">
                    <a:noFill/>
                    <a:miter lim="800000"/>
                  </a:ln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3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 w="6350" cap="flat">
                    <a:noFill/>
                    <a:miter lim="800000"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2021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34F81DE-B2E2-42D4-B443-63B961223D3E}"/>
              </a:ext>
            </a:extLst>
          </p:cNvPr>
          <p:cNvGrpSpPr/>
          <p:nvPr/>
        </p:nvGrpSpPr>
        <p:grpSpPr>
          <a:xfrm>
            <a:off x="7881050" y="3398830"/>
            <a:ext cx="576154" cy="576000"/>
            <a:chOff x="9349170" y="3460110"/>
            <a:chExt cx="708072" cy="710124"/>
          </a:xfrm>
        </p:grpSpPr>
        <p:sp>
          <p:nvSpPr>
            <p:cNvPr id="257" name="Oval 256">
              <a:extLst>
                <a:ext uri="{FF2B5EF4-FFF2-40B4-BE49-F238E27FC236}">
                  <a16:creationId xmlns:a16="http://schemas.microsoft.com/office/drawing/2014/main" id="{4C54D8CE-3579-4FDE-98BB-A570208CCA24}"/>
                </a:ext>
              </a:extLst>
            </p:cNvPr>
            <p:cNvSpPr>
              <a:spLocks/>
            </p:cNvSpPr>
            <p:nvPr/>
          </p:nvSpPr>
          <p:spPr>
            <a:xfrm>
              <a:off x="9349170" y="3460110"/>
              <a:ext cx="708072" cy="710124"/>
            </a:xfrm>
            <a:prstGeom prst="ellipse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NZ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8" name="2. Slide Title">
              <a:extLst>
                <a:ext uri="{FF2B5EF4-FFF2-40B4-BE49-F238E27FC236}">
                  <a16:creationId xmlns:a16="http://schemas.microsoft.com/office/drawing/2014/main" id="{12F3879D-CA74-4336-BBB1-C12517AD906A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9506397" y="3715726"/>
              <a:ext cx="393624" cy="198892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algn="l" defTabSz="914400" rtl="0" eaLnBrk="1" latinLnBrk="0" hangingPunct="1">
                <a:lnSpc>
                  <a:spcPct val="93000"/>
                </a:lnSpc>
                <a:spcBef>
                  <a:spcPct val="0"/>
                </a:spcBef>
                <a:buNone/>
                <a:defRPr sz="2500" b="1" kern="1200" spc="0" baseline="0">
                  <a:ln w="6350" cap="flat">
                    <a:noFill/>
                    <a:miter lim="800000"/>
                  </a:ln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3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 w="6350" cap="flat">
                    <a:noFill/>
                    <a:miter lim="800000"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2022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852A5BA1-16D2-4667-B6E2-0B0BF90DBC15}"/>
              </a:ext>
            </a:extLst>
          </p:cNvPr>
          <p:cNvGrpSpPr/>
          <p:nvPr/>
        </p:nvGrpSpPr>
        <p:grpSpPr>
          <a:xfrm>
            <a:off x="9262297" y="3394365"/>
            <a:ext cx="576154" cy="576000"/>
            <a:chOff x="9349170" y="3460110"/>
            <a:chExt cx="708072" cy="710124"/>
          </a:xfrm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7F6AAE18-E86D-42B4-A3D1-662858EB6152}"/>
                </a:ext>
              </a:extLst>
            </p:cNvPr>
            <p:cNvSpPr>
              <a:spLocks/>
            </p:cNvSpPr>
            <p:nvPr/>
          </p:nvSpPr>
          <p:spPr>
            <a:xfrm>
              <a:off x="9349170" y="3460110"/>
              <a:ext cx="708072" cy="710124"/>
            </a:xfrm>
            <a:prstGeom prst="ellipse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NZ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2. Slide Title">
              <a:extLst>
                <a:ext uri="{FF2B5EF4-FFF2-40B4-BE49-F238E27FC236}">
                  <a16:creationId xmlns:a16="http://schemas.microsoft.com/office/drawing/2014/main" id="{B4986C4B-16B1-4A9F-8AF0-E3A07BF9BD70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9494386" y="3709323"/>
              <a:ext cx="417647" cy="211698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algn="l" defTabSz="914400" rtl="0" eaLnBrk="1" latinLnBrk="0" hangingPunct="1">
                <a:lnSpc>
                  <a:spcPct val="93000"/>
                </a:lnSpc>
                <a:spcBef>
                  <a:spcPct val="0"/>
                </a:spcBef>
                <a:buNone/>
                <a:defRPr sz="2500" b="1" kern="1200" spc="0" baseline="0">
                  <a:ln w="6350" cap="flat">
                    <a:noFill/>
                    <a:miter lim="800000"/>
                  </a:ln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3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 w="6350" cap="flat">
                    <a:noFill/>
                    <a:miter lim="800000"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2023</a:t>
              </a:r>
            </a:p>
          </p:txBody>
        </p:sp>
      </p:grpSp>
      <p:sp>
        <p:nvSpPr>
          <p:cNvPr id="146" name="Oval 145">
            <a:extLst>
              <a:ext uri="{FF2B5EF4-FFF2-40B4-BE49-F238E27FC236}">
                <a16:creationId xmlns:a16="http://schemas.microsoft.com/office/drawing/2014/main" id="{8EF8B862-0488-4FBC-B044-899EC74CB715}"/>
              </a:ext>
            </a:extLst>
          </p:cNvPr>
          <p:cNvSpPr>
            <a:spLocks/>
          </p:cNvSpPr>
          <p:nvPr/>
        </p:nvSpPr>
        <p:spPr>
          <a:xfrm>
            <a:off x="-6809" y="3640039"/>
            <a:ext cx="95394" cy="95394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8A84559-2436-BAF6-CA8D-96CDE2FAEF2D}"/>
              </a:ext>
            </a:extLst>
          </p:cNvPr>
          <p:cNvSpPr>
            <a:spLocks/>
          </p:cNvSpPr>
          <p:nvPr/>
        </p:nvSpPr>
        <p:spPr>
          <a:xfrm>
            <a:off x="10641452" y="3394365"/>
            <a:ext cx="576154" cy="57600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2. Slide Title">
            <a:extLst>
              <a:ext uri="{FF2B5EF4-FFF2-40B4-BE49-F238E27FC236}">
                <a16:creationId xmlns:a16="http://schemas.microsoft.com/office/drawing/2014/main" id="{D2CA377D-F452-2FEF-D0CF-FF653EB8E45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0783959" y="3596508"/>
            <a:ext cx="339837" cy="171714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2024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EB6CB09-77CC-699D-4A0F-A26D3CC188FE}"/>
              </a:ext>
            </a:extLst>
          </p:cNvPr>
          <p:cNvSpPr txBox="1"/>
          <p:nvPr/>
        </p:nvSpPr>
        <p:spPr>
          <a:xfrm>
            <a:off x="9871789" y="5687930"/>
            <a:ext cx="887778" cy="21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NZ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Joined by</a:t>
            </a:r>
          </a:p>
        </p:txBody>
      </p:sp>
      <p:pic>
        <p:nvPicPr>
          <p:cNvPr id="194" name="Picture 193">
            <a:extLst>
              <a:ext uri="{FF2B5EF4-FFF2-40B4-BE49-F238E27FC236}">
                <a16:creationId xmlns:a16="http://schemas.microsoft.com/office/drawing/2014/main" id="{1CCE5AAF-B06F-405F-B4CA-D0787B3151BE}"/>
              </a:ext>
            </a:extLst>
          </p:cNvPr>
          <p:cNvPicPr>
            <a:picLocks noChangeAspect="1"/>
          </p:cNvPicPr>
          <p:nvPr/>
        </p:nvPicPr>
        <p:blipFill rotWithShape="1"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62692" y="2340895"/>
            <a:ext cx="1210633" cy="70778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520E4C-2D50-4F3A-913A-8A077CF336F0}"/>
              </a:ext>
            </a:extLst>
          </p:cNvPr>
          <p:cNvCxnSpPr>
            <a:cxnSpLocks/>
          </p:cNvCxnSpPr>
          <p:nvPr/>
        </p:nvCxnSpPr>
        <p:spPr>
          <a:xfrm>
            <a:off x="55617" y="3690227"/>
            <a:ext cx="875227" cy="0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16" name="Arc 15">
            <a:extLst>
              <a:ext uri="{FF2B5EF4-FFF2-40B4-BE49-F238E27FC236}">
                <a16:creationId xmlns:a16="http://schemas.microsoft.com/office/drawing/2014/main" id="{BF5D2174-B63F-4B5F-90BB-7C6C955A177E}"/>
              </a:ext>
            </a:extLst>
          </p:cNvPr>
          <p:cNvSpPr/>
          <p:nvPr/>
        </p:nvSpPr>
        <p:spPr>
          <a:xfrm flipH="1">
            <a:off x="930844" y="3336499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FF8C4CEB-1510-4D87-A14F-33EE40EB15A6}"/>
              </a:ext>
            </a:extLst>
          </p:cNvPr>
          <p:cNvCxnSpPr>
            <a:cxnSpLocks/>
          </p:cNvCxnSpPr>
          <p:nvPr/>
        </p:nvCxnSpPr>
        <p:spPr>
          <a:xfrm>
            <a:off x="1331316" y="1763996"/>
            <a:ext cx="0" cy="1592688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137" name="Oval 136">
            <a:extLst>
              <a:ext uri="{FF2B5EF4-FFF2-40B4-BE49-F238E27FC236}">
                <a16:creationId xmlns:a16="http://schemas.microsoft.com/office/drawing/2014/main" id="{064A6ACD-ECA0-469C-B187-49E33B959FF2}"/>
              </a:ext>
            </a:extLst>
          </p:cNvPr>
          <p:cNvSpPr>
            <a:spLocks/>
          </p:cNvSpPr>
          <p:nvPr/>
        </p:nvSpPr>
        <p:spPr>
          <a:xfrm>
            <a:off x="1282110" y="1716299"/>
            <a:ext cx="95394" cy="95394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6" name="Arc 195">
            <a:extLst>
              <a:ext uri="{FF2B5EF4-FFF2-40B4-BE49-F238E27FC236}">
                <a16:creationId xmlns:a16="http://schemas.microsoft.com/office/drawing/2014/main" id="{1B07CBBC-4AC4-4A93-9E03-373F9E7220D2}"/>
              </a:ext>
            </a:extLst>
          </p:cNvPr>
          <p:cNvSpPr/>
          <p:nvPr/>
        </p:nvSpPr>
        <p:spPr>
          <a:xfrm flipV="1">
            <a:off x="930844" y="3349303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1CCB6869-B078-4F0C-B59B-DA3B0B3BF32C}"/>
              </a:ext>
            </a:extLst>
          </p:cNvPr>
          <p:cNvCxnSpPr>
            <a:cxnSpLocks/>
          </p:cNvCxnSpPr>
          <p:nvPr/>
        </p:nvCxnSpPr>
        <p:spPr>
          <a:xfrm>
            <a:off x="1619250" y="3685464"/>
            <a:ext cx="695325" cy="0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198" name="Arc 197">
            <a:extLst>
              <a:ext uri="{FF2B5EF4-FFF2-40B4-BE49-F238E27FC236}">
                <a16:creationId xmlns:a16="http://schemas.microsoft.com/office/drawing/2014/main" id="{4A5538D9-C2E5-4177-B7C2-3864743E5381}"/>
              </a:ext>
            </a:extLst>
          </p:cNvPr>
          <p:cNvSpPr/>
          <p:nvPr/>
        </p:nvSpPr>
        <p:spPr>
          <a:xfrm flipH="1" flipV="1">
            <a:off x="2308061" y="3349303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E6C7BCC9-AECB-4BE5-8907-3A2F29BFE4BE}"/>
              </a:ext>
            </a:extLst>
          </p:cNvPr>
          <p:cNvSpPr>
            <a:spLocks/>
          </p:cNvSpPr>
          <p:nvPr/>
        </p:nvSpPr>
        <p:spPr>
          <a:xfrm>
            <a:off x="1190697" y="3999943"/>
            <a:ext cx="78050" cy="78050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1C5A9211-7A08-4000-BE77-C62EB8C66E73}"/>
              </a:ext>
            </a:extLst>
          </p:cNvPr>
          <p:cNvCxnSpPr>
            <a:cxnSpLocks/>
          </p:cNvCxnSpPr>
          <p:nvPr/>
        </p:nvCxnSpPr>
        <p:spPr>
          <a:xfrm>
            <a:off x="2717517" y="4024904"/>
            <a:ext cx="0" cy="1592688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201" name="Oval 200">
            <a:extLst>
              <a:ext uri="{FF2B5EF4-FFF2-40B4-BE49-F238E27FC236}">
                <a16:creationId xmlns:a16="http://schemas.microsoft.com/office/drawing/2014/main" id="{993C9C74-1A9A-4F7A-ACAD-32FF00AF58ED}"/>
              </a:ext>
            </a:extLst>
          </p:cNvPr>
          <p:cNvSpPr>
            <a:spLocks/>
          </p:cNvSpPr>
          <p:nvPr/>
        </p:nvSpPr>
        <p:spPr>
          <a:xfrm>
            <a:off x="2676438" y="5578567"/>
            <a:ext cx="78050" cy="78050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2" name="Arc 201">
            <a:extLst>
              <a:ext uri="{FF2B5EF4-FFF2-40B4-BE49-F238E27FC236}">
                <a16:creationId xmlns:a16="http://schemas.microsoft.com/office/drawing/2014/main" id="{A0561900-D448-4050-915B-58DCC5913000}"/>
              </a:ext>
            </a:extLst>
          </p:cNvPr>
          <p:cNvSpPr/>
          <p:nvPr/>
        </p:nvSpPr>
        <p:spPr>
          <a:xfrm flipH="1">
            <a:off x="3672415" y="3334118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619E3DF2-DDF4-48D4-9234-0A01381623EB}"/>
              </a:ext>
            </a:extLst>
          </p:cNvPr>
          <p:cNvCxnSpPr>
            <a:cxnSpLocks/>
          </p:cNvCxnSpPr>
          <p:nvPr/>
        </p:nvCxnSpPr>
        <p:spPr>
          <a:xfrm>
            <a:off x="4072887" y="1766377"/>
            <a:ext cx="0" cy="1581660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204" name="Oval 203">
            <a:extLst>
              <a:ext uri="{FF2B5EF4-FFF2-40B4-BE49-F238E27FC236}">
                <a16:creationId xmlns:a16="http://schemas.microsoft.com/office/drawing/2014/main" id="{76339218-D8A5-4613-B4BE-E2486EB0A1A9}"/>
              </a:ext>
            </a:extLst>
          </p:cNvPr>
          <p:cNvSpPr>
            <a:spLocks/>
          </p:cNvSpPr>
          <p:nvPr/>
        </p:nvSpPr>
        <p:spPr>
          <a:xfrm>
            <a:off x="4023681" y="1716299"/>
            <a:ext cx="95394" cy="95394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5" name="Arc 204">
            <a:extLst>
              <a:ext uri="{FF2B5EF4-FFF2-40B4-BE49-F238E27FC236}">
                <a16:creationId xmlns:a16="http://schemas.microsoft.com/office/drawing/2014/main" id="{F5CBB6CD-11D7-4A93-AECC-7FE9DE739777}"/>
              </a:ext>
            </a:extLst>
          </p:cNvPr>
          <p:cNvSpPr/>
          <p:nvPr/>
        </p:nvSpPr>
        <p:spPr>
          <a:xfrm>
            <a:off x="2323931" y="3334118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63FB9466-61A5-4737-B3D2-7D25D813C49D}"/>
              </a:ext>
            </a:extLst>
          </p:cNvPr>
          <p:cNvCxnSpPr>
            <a:cxnSpLocks/>
          </p:cNvCxnSpPr>
          <p:nvPr/>
        </p:nvCxnSpPr>
        <p:spPr>
          <a:xfrm>
            <a:off x="2998150" y="3685464"/>
            <a:ext cx="674265" cy="0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212" name="Arc 211">
            <a:extLst>
              <a:ext uri="{FF2B5EF4-FFF2-40B4-BE49-F238E27FC236}">
                <a16:creationId xmlns:a16="http://schemas.microsoft.com/office/drawing/2014/main" id="{AD270F4F-962E-4011-9CDE-6886D47328ED}"/>
              </a:ext>
            </a:extLst>
          </p:cNvPr>
          <p:cNvSpPr/>
          <p:nvPr/>
        </p:nvSpPr>
        <p:spPr>
          <a:xfrm flipH="1">
            <a:off x="6431002" y="3334118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66662A48-B603-43FA-86E4-94C5F6D0E553}"/>
              </a:ext>
            </a:extLst>
          </p:cNvPr>
          <p:cNvCxnSpPr>
            <a:cxnSpLocks/>
          </p:cNvCxnSpPr>
          <p:nvPr/>
        </p:nvCxnSpPr>
        <p:spPr>
          <a:xfrm>
            <a:off x="6831474" y="1766377"/>
            <a:ext cx="0" cy="1581660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214" name="Arc 213">
            <a:extLst>
              <a:ext uri="{FF2B5EF4-FFF2-40B4-BE49-F238E27FC236}">
                <a16:creationId xmlns:a16="http://schemas.microsoft.com/office/drawing/2014/main" id="{B298107E-A3B4-4D42-A213-61113F10EF7C}"/>
              </a:ext>
            </a:extLst>
          </p:cNvPr>
          <p:cNvSpPr/>
          <p:nvPr/>
        </p:nvSpPr>
        <p:spPr>
          <a:xfrm>
            <a:off x="5082518" y="3334118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9E2647E4-DEFF-46C5-B3BF-8C09C296D365}"/>
              </a:ext>
            </a:extLst>
          </p:cNvPr>
          <p:cNvCxnSpPr>
            <a:cxnSpLocks/>
          </p:cNvCxnSpPr>
          <p:nvPr/>
        </p:nvCxnSpPr>
        <p:spPr>
          <a:xfrm>
            <a:off x="5756737" y="3685464"/>
            <a:ext cx="674265" cy="0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216" name="Arc 215">
            <a:extLst>
              <a:ext uri="{FF2B5EF4-FFF2-40B4-BE49-F238E27FC236}">
                <a16:creationId xmlns:a16="http://schemas.microsoft.com/office/drawing/2014/main" id="{127B8DB7-E83F-4C10-B729-4D53E8B80B12}"/>
              </a:ext>
            </a:extLst>
          </p:cNvPr>
          <p:cNvSpPr/>
          <p:nvPr/>
        </p:nvSpPr>
        <p:spPr>
          <a:xfrm flipV="1">
            <a:off x="6469641" y="3349303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31CA1CF9-DE2D-415E-927C-951C338D403D}"/>
              </a:ext>
            </a:extLst>
          </p:cNvPr>
          <p:cNvCxnSpPr>
            <a:cxnSpLocks/>
          </p:cNvCxnSpPr>
          <p:nvPr/>
        </p:nvCxnSpPr>
        <p:spPr>
          <a:xfrm>
            <a:off x="7158047" y="3685464"/>
            <a:ext cx="674265" cy="0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218" name="Arc 217">
            <a:extLst>
              <a:ext uri="{FF2B5EF4-FFF2-40B4-BE49-F238E27FC236}">
                <a16:creationId xmlns:a16="http://schemas.microsoft.com/office/drawing/2014/main" id="{EA914AE5-6B31-442B-8AD3-74AC061FA71C}"/>
              </a:ext>
            </a:extLst>
          </p:cNvPr>
          <p:cNvSpPr/>
          <p:nvPr/>
        </p:nvSpPr>
        <p:spPr>
          <a:xfrm flipH="1" flipV="1">
            <a:off x="7823998" y="3349303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D9503749-424E-4EE6-8280-A02A8DEDB408}"/>
              </a:ext>
            </a:extLst>
          </p:cNvPr>
          <p:cNvCxnSpPr>
            <a:cxnSpLocks/>
          </p:cNvCxnSpPr>
          <p:nvPr/>
        </p:nvCxnSpPr>
        <p:spPr>
          <a:xfrm>
            <a:off x="8227104" y="4018554"/>
            <a:ext cx="0" cy="1592688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220" name="Oval 219">
            <a:extLst>
              <a:ext uri="{FF2B5EF4-FFF2-40B4-BE49-F238E27FC236}">
                <a16:creationId xmlns:a16="http://schemas.microsoft.com/office/drawing/2014/main" id="{6D857D2E-E29D-49CD-A435-AAF9F8D97E35}"/>
              </a:ext>
            </a:extLst>
          </p:cNvPr>
          <p:cNvSpPr>
            <a:spLocks/>
          </p:cNvSpPr>
          <p:nvPr/>
        </p:nvSpPr>
        <p:spPr>
          <a:xfrm>
            <a:off x="8192375" y="5578567"/>
            <a:ext cx="78050" cy="78050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id="{071004BE-095C-4934-AA9F-68B241CEBAAE}"/>
              </a:ext>
            </a:extLst>
          </p:cNvPr>
          <p:cNvSpPr>
            <a:spLocks/>
          </p:cNvSpPr>
          <p:nvPr/>
        </p:nvSpPr>
        <p:spPr>
          <a:xfrm>
            <a:off x="6734734" y="3999943"/>
            <a:ext cx="78050" cy="78050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3" name="Arc 222">
            <a:extLst>
              <a:ext uri="{FF2B5EF4-FFF2-40B4-BE49-F238E27FC236}">
                <a16:creationId xmlns:a16="http://schemas.microsoft.com/office/drawing/2014/main" id="{83F587F0-482D-4D9F-888D-0F8D7EBC46CB}"/>
              </a:ext>
            </a:extLst>
          </p:cNvPr>
          <p:cNvSpPr/>
          <p:nvPr/>
        </p:nvSpPr>
        <p:spPr>
          <a:xfrm flipV="1">
            <a:off x="9221775" y="3349303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5DB89B00-EFA8-4729-B451-3CD6FDEB9A56}"/>
              </a:ext>
            </a:extLst>
          </p:cNvPr>
          <p:cNvCxnSpPr>
            <a:cxnSpLocks/>
          </p:cNvCxnSpPr>
          <p:nvPr/>
        </p:nvCxnSpPr>
        <p:spPr>
          <a:xfrm>
            <a:off x="9910181" y="3685464"/>
            <a:ext cx="674265" cy="0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225" name="Arc 224">
            <a:extLst>
              <a:ext uri="{FF2B5EF4-FFF2-40B4-BE49-F238E27FC236}">
                <a16:creationId xmlns:a16="http://schemas.microsoft.com/office/drawing/2014/main" id="{CDBD9EBE-187D-42ED-AB33-0D762ADE8D20}"/>
              </a:ext>
            </a:extLst>
          </p:cNvPr>
          <p:cNvSpPr/>
          <p:nvPr/>
        </p:nvSpPr>
        <p:spPr>
          <a:xfrm flipH="1" flipV="1">
            <a:off x="10576132" y="3349303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E82768A7-4D44-4691-927B-B23C0916CB09}"/>
              </a:ext>
            </a:extLst>
          </p:cNvPr>
          <p:cNvCxnSpPr>
            <a:cxnSpLocks/>
          </p:cNvCxnSpPr>
          <p:nvPr/>
        </p:nvCxnSpPr>
        <p:spPr>
          <a:xfrm>
            <a:off x="10979238" y="4018554"/>
            <a:ext cx="0" cy="1592688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227" name="Oval 226">
            <a:extLst>
              <a:ext uri="{FF2B5EF4-FFF2-40B4-BE49-F238E27FC236}">
                <a16:creationId xmlns:a16="http://schemas.microsoft.com/office/drawing/2014/main" id="{958E0B79-A7B1-49E9-A51C-3D4041DC3F1B}"/>
              </a:ext>
            </a:extLst>
          </p:cNvPr>
          <p:cNvSpPr>
            <a:spLocks/>
          </p:cNvSpPr>
          <p:nvPr/>
        </p:nvSpPr>
        <p:spPr>
          <a:xfrm>
            <a:off x="10944509" y="5578567"/>
            <a:ext cx="78050" cy="78050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10C21497-EDAF-4815-B7AA-BDFBC8414638}"/>
              </a:ext>
            </a:extLst>
          </p:cNvPr>
          <p:cNvSpPr>
            <a:spLocks/>
          </p:cNvSpPr>
          <p:nvPr/>
        </p:nvSpPr>
        <p:spPr>
          <a:xfrm>
            <a:off x="9486868" y="3999943"/>
            <a:ext cx="78050" cy="78050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4" name="Oval 233">
            <a:extLst>
              <a:ext uri="{FF2B5EF4-FFF2-40B4-BE49-F238E27FC236}">
                <a16:creationId xmlns:a16="http://schemas.microsoft.com/office/drawing/2014/main" id="{25DC6509-ED37-4A9A-B798-9EF6B3BD4794}"/>
              </a:ext>
            </a:extLst>
          </p:cNvPr>
          <p:cNvSpPr>
            <a:spLocks/>
          </p:cNvSpPr>
          <p:nvPr/>
        </p:nvSpPr>
        <p:spPr>
          <a:xfrm>
            <a:off x="6782812" y="1716299"/>
            <a:ext cx="95394" cy="95394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E4C99570-4758-4F40-A34E-F02CFA627048}"/>
              </a:ext>
            </a:extLst>
          </p:cNvPr>
          <p:cNvSpPr>
            <a:spLocks/>
          </p:cNvSpPr>
          <p:nvPr/>
        </p:nvSpPr>
        <p:spPr>
          <a:xfrm>
            <a:off x="8095103" y="3297495"/>
            <a:ext cx="78050" cy="78050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7" name="Arc 246">
            <a:extLst>
              <a:ext uri="{FF2B5EF4-FFF2-40B4-BE49-F238E27FC236}">
                <a16:creationId xmlns:a16="http://schemas.microsoft.com/office/drawing/2014/main" id="{1D78B42C-93A1-4658-99AE-B5976215B527}"/>
              </a:ext>
            </a:extLst>
          </p:cNvPr>
          <p:cNvSpPr/>
          <p:nvPr/>
        </p:nvSpPr>
        <p:spPr>
          <a:xfrm flipH="1">
            <a:off x="9182412" y="3334118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F3F6B918-9563-4818-B4E3-0C4D33EE334D}"/>
              </a:ext>
            </a:extLst>
          </p:cNvPr>
          <p:cNvCxnSpPr>
            <a:cxnSpLocks/>
          </p:cNvCxnSpPr>
          <p:nvPr/>
        </p:nvCxnSpPr>
        <p:spPr>
          <a:xfrm>
            <a:off x="9582884" y="1766377"/>
            <a:ext cx="0" cy="1581660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251" name="Arc 250">
            <a:extLst>
              <a:ext uri="{FF2B5EF4-FFF2-40B4-BE49-F238E27FC236}">
                <a16:creationId xmlns:a16="http://schemas.microsoft.com/office/drawing/2014/main" id="{7F4CB861-FBB4-469B-9680-F1E243672801}"/>
              </a:ext>
            </a:extLst>
          </p:cNvPr>
          <p:cNvSpPr/>
          <p:nvPr/>
        </p:nvSpPr>
        <p:spPr>
          <a:xfrm>
            <a:off x="7833928" y="3334118"/>
            <a:ext cx="688406" cy="688406"/>
          </a:xfrm>
          <a:prstGeom prst="arc">
            <a:avLst>
              <a:gd name="adj1" fmla="val 15527821"/>
              <a:gd name="adj2" fmla="val 230293"/>
            </a:avLst>
          </a:prstGeom>
          <a:noFill/>
          <a:ln w="28575">
            <a:solidFill>
              <a:schemeClr val="accent1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39260F76-6760-45FA-BB20-06B33E4E4EDB}"/>
              </a:ext>
            </a:extLst>
          </p:cNvPr>
          <p:cNvCxnSpPr>
            <a:cxnSpLocks/>
          </p:cNvCxnSpPr>
          <p:nvPr/>
        </p:nvCxnSpPr>
        <p:spPr>
          <a:xfrm>
            <a:off x="8508147" y="3685464"/>
            <a:ext cx="674265" cy="0"/>
          </a:xfrm>
          <a:prstGeom prst="lin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</p:cxnSp>
      <p:sp>
        <p:nvSpPr>
          <p:cNvPr id="256" name="Oval 255">
            <a:extLst>
              <a:ext uri="{FF2B5EF4-FFF2-40B4-BE49-F238E27FC236}">
                <a16:creationId xmlns:a16="http://schemas.microsoft.com/office/drawing/2014/main" id="{3E2E5D03-F99C-443B-9766-73075090ABC0}"/>
              </a:ext>
            </a:extLst>
          </p:cNvPr>
          <p:cNvSpPr>
            <a:spLocks/>
          </p:cNvSpPr>
          <p:nvPr/>
        </p:nvSpPr>
        <p:spPr>
          <a:xfrm>
            <a:off x="9534222" y="1716299"/>
            <a:ext cx="95394" cy="95394"/>
          </a:xfrm>
          <a:prstGeom prst="ellipse">
            <a:avLst/>
          </a:prstGeom>
          <a:solidFill>
            <a:schemeClr val="accent1"/>
          </a:solidFill>
          <a:ln w="6350" cap="sq">
            <a:solidFill>
              <a:srgbClr val="051C2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Z" sz="1600" b="0" i="0" u="none" strike="noStrike" kern="1200" cap="none" spc="0" normalizeH="0" baseline="0" noProof="0" err="1">
              <a:ln>
                <a:noFill/>
              </a:ln>
              <a:solidFill>
                <a:srgbClr val="0311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C24F31D-C33B-699E-A81C-DE1CCE056198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4D61D05B-D608-C167-4DD0-9DB24C0E4ADE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4" name="Sticky">
            <a:extLst>
              <a:ext uri="{FF2B5EF4-FFF2-40B4-BE49-F238E27FC236}">
                <a16:creationId xmlns:a16="http://schemas.microsoft.com/office/drawing/2014/main" id="{94E3E8E9-F917-966F-90F9-289357FA4B5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2265218" y="0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sz="1600" dirty="0">
                <a:solidFill>
                  <a:srgbClr val="000000"/>
                </a:solidFill>
              </a:rPr>
              <a:t>Lancelot</a:t>
            </a:r>
          </a:p>
        </p:txBody>
      </p:sp>
    </p:spTree>
    <p:extLst>
      <p:ext uri="{BB962C8B-B14F-4D97-AF65-F5344CB8AC3E}">
        <p14:creationId xmlns:p14="http://schemas.microsoft.com/office/powerpoint/2010/main" val="12355094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6" name="Google Shape;486;p3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286" y="-1"/>
            <a:ext cx="12181429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487" name="Google Shape;487;p36"/>
          <p:cNvSpPr/>
          <p:nvPr/>
        </p:nvSpPr>
        <p:spPr>
          <a:xfrm>
            <a:off x="1517575" y="3620105"/>
            <a:ext cx="10091600" cy="700000"/>
          </a:xfrm>
          <a:prstGeom prst="roundRect">
            <a:avLst>
              <a:gd name="adj" fmla="val 25473"/>
            </a:avLst>
          </a:prstGeom>
          <a:solidFill>
            <a:schemeClr val="lt1"/>
          </a:solidFill>
          <a:ln w="9525" cap="sq" cmpd="sng">
            <a:solidFill>
              <a:srgbClr val="FEC5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FFFFFF"/>
              </a:buClr>
              <a:buSzPts val="1200"/>
            </a:pPr>
            <a:endParaRPr sz="1600" kern="0">
              <a:solidFill>
                <a:srgbClr val="FFFFFF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88" name="Google Shape;488;p36"/>
          <p:cNvSpPr txBox="1">
            <a:spLocks noGrp="1"/>
          </p:cNvSpPr>
          <p:nvPr>
            <p:ph type="title"/>
          </p:nvPr>
        </p:nvSpPr>
        <p:spPr>
          <a:xfrm>
            <a:off x="416052" y="114939"/>
            <a:ext cx="75992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buClr>
                <a:srgbClr val="000000"/>
              </a:buClr>
            </a:pPr>
            <a:r>
              <a:rPr lang="en">
                <a:solidFill>
                  <a:srgbClr val="000000"/>
                </a:solidFill>
              </a:rPr>
              <a:t>How to use our models</a:t>
            </a:r>
            <a:endParaRPr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89" name="Google Shape;489;p36"/>
          <p:cNvSpPr/>
          <p:nvPr/>
        </p:nvSpPr>
        <p:spPr>
          <a:xfrm>
            <a:off x="1517575" y="1481800"/>
            <a:ext cx="10091600" cy="700000"/>
          </a:xfrm>
          <a:prstGeom prst="roundRect">
            <a:avLst>
              <a:gd name="adj" fmla="val 25473"/>
            </a:avLst>
          </a:prstGeom>
          <a:solidFill>
            <a:schemeClr val="lt1"/>
          </a:solidFill>
          <a:ln w="9525" cap="sq" cmpd="sng">
            <a:solidFill>
              <a:srgbClr val="FEC5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FFFFFF"/>
              </a:buClr>
              <a:buSzPts val="1200"/>
            </a:pPr>
            <a:endParaRPr sz="1600" kern="0">
              <a:solidFill>
                <a:srgbClr val="FFFFFF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90" name="Google Shape;490;p36"/>
          <p:cNvSpPr/>
          <p:nvPr/>
        </p:nvSpPr>
        <p:spPr>
          <a:xfrm>
            <a:off x="1523441" y="2544308"/>
            <a:ext cx="10091600" cy="700000"/>
          </a:xfrm>
          <a:prstGeom prst="roundRect">
            <a:avLst>
              <a:gd name="adj" fmla="val 25473"/>
            </a:avLst>
          </a:prstGeom>
          <a:solidFill>
            <a:schemeClr val="lt1"/>
          </a:solidFill>
          <a:ln w="9525" cap="sq" cmpd="sng">
            <a:solidFill>
              <a:srgbClr val="FEC5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FFFFFF"/>
              </a:buClr>
              <a:buSzPts val="1200"/>
            </a:pPr>
            <a:endParaRPr sz="1600" kern="0">
              <a:solidFill>
                <a:srgbClr val="FFFFFF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91" name="Google Shape;491;p36"/>
          <p:cNvSpPr/>
          <p:nvPr/>
        </p:nvSpPr>
        <p:spPr>
          <a:xfrm>
            <a:off x="1517575" y="4600029"/>
            <a:ext cx="10091600" cy="700000"/>
          </a:xfrm>
          <a:prstGeom prst="roundRect">
            <a:avLst>
              <a:gd name="adj" fmla="val 25473"/>
            </a:avLst>
          </a:prstGeom>
          <a:solidFill>
            <a:schemeClr val="lt1"/>
          </a:solidFill>
          <a:ln w="9525" cap="sq" cmpd="sng">
            <a:solidFill>
              <a:srgbClr val="FEC5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FFFFFF"/>
              </a:buClr>
              <a:buSzPts val="1200"/>
            </a:pPr>
            <a:endParaRPr sz="1600" kern="0">
              <a:solidFill>
                <a:srgbClr val="FFFFFF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92" name="Google Shape;492;p36"/>
          <p:cNvSpPr/>
          <p:nvPr/>
        </p:nvSpPr>
        <p:spPr>
          <a:xfrm>
            <a:off x="1517575" y="5379587"/>
            <a:ext cx="10091600" cy="700000"/>
          </a:xfrm>
          <a:prstGeom prst="roundRect">
            <a:avLst>
              <a:gd name="adj" fmla="val 25473"/>
            </a:avLst>
          </a:prstGeom>
          <a:solidFill>
            <a:schemeClr val="lt1"/>
          </a:solidFill>
          <a:ln w="9525" cap="sq" cmpd="sng">
            <a:solidFill>
              <a:srgbClr val="FEC5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FFFFFF"/>
              </a:buClr>
              <a:buSzPts val="1200"/>
            </a:pPr>
            <a:endParaRPr sz="1600" kern="0">
              <a:solidFill>
                <a:srgbClr val="FFFFFF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93" name="Google Shape;493;p36"/>
          <p:cNvSpPr txBox="1"/>
          <p:nvPr/>
        </p:nvSpPr>
        <p:spPr>
          <a:xfrm>
            <a:off x="1270700" y="1019200"/>
            <a:ext cx="2100800" cy="225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What our models do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4" name="Google Shape;494;p36"/>
          <p:cNvSpPr txBox="1"/>
          <p:nvPr/>
        </p:nvSpPr>
        <p:spPr>
          <a:xfrm>
            <a:off x="4148625" y="1019212"/>
            <a:ext cx="74604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What it could mean for you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5" name="Google Shape;495;p36"/>
          <p:cNvSpPr txBox="1"/>
          <p:nvPr/>
        </p:nvSpPr>
        <p:spPr>
          <a:xfrm>
            <a:off x="10600675" y="1065401"/>
            <a:ext cx="100840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600"/>
            </a:pPr>
            <a:r>
              <a:rPr lang="en" sz="800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NOT EXHAUSTIVE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6" name="Google Shape;496;p36"/>
          <p:cNvSpPr txBox="1"/>
          <p:nvPr/>
        </p:nvSpPr>
        <p:spPr>
          <a:xfrm>
            <a:off x="554736" y="5940169"/>
            <a:ext cx="942400" cy="1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  <a:buSzPts val="600"/>
            </a:pPr>
            <a:r>
              <a:rPr lang="en" sz="1067" b="1" kern="0">
                <a:solidFill>
                  <a:srgbClr val="FF7000"/>
                </a:solidFill>
                <a:latin typeface="Sora"/>
                <a:ea typeface="Sora"/>
                <a:cs typeface="Sora"/>
                <a:sym typeface="Sora"/>
              </a:rPr>
              <a:t>COMPLEXITY</a:t>
            </a:r>
            <a:endParaRPr sz="2400" kern="0" baseline="30000">
              <a:solidFill>
                <a:srgbClr val="FF7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497" name="Google Shape;497;p36"/>
          <p:cNvSpPr/>
          <p:nvPr/>
        </p:nvSpPr>
        <p:spPr>
          <a:xfrm flipH="1">
            <a:off x="834800" y="1565800"/>
            <a:ext cx="566800" cy="4319600"/>
          </a:xfrm>
          <a:prstGeom prst="rtTriangle">
            <a:avLst/>
          </a:prstGeom>
          <a:solidFill>
            <a:srgbClr val="FFE2CC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FFFFFF"/>
              </a:buClr>
              <a:buSzPts val="1200"/>
            </a:pPr>
            <a:endParaRPr sz="1600" kern="0">
              <a:solidFill>
                <a:srgbClr val="FFFFFF"/>
              </a:solidFill>
              <a:latin typeface="Sora"/>
              <a:ea typeface="Sora"/>
              <a:cs typeface="Sora"/>
              <a:sym typeface="Sora"/>
            </a:endParaRPr>
          </a:p>
        </p:txBody>
      </p:sp>
      <p:pic>
        <p:nvPicPr>
          <p:cNvPr id="498" name="Google Shape;498;p3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707507" y="1583143"/>
            <a:ext cx="518444" cy="518444"/>
          </a:xfrm>
          <a:prstGeom prst="rect">
            <a:avLst/>
          </a:prstGeom>
          <a:noFill/>
          <a:ln>
            <a:noFill/>
          </a:ln>
        </p:spPr>
      </p:pic>
      <p:pic>
        <p:nvPicPr>
          <p:cNvPr id="499" name="Google Shape;499;p36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713374" y="2630194"/>
            <a:ext cx="518444" cy="518444"/>
          </a:xfrm>
          <a:prstGeom prst="rect">
            <a:avLst/>
          </a:prstGeom>
          <a:noFill/>
          <a:ln>
            <a:noFill/>
          </a:ln>
        </p:spPr>
      </p:pic>
      <p:pic>
        <p:nvPicPr>
          <p:cNvPr id="500" name="Google Shape;500;p3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707507" y="3711778"/>
            <a:ext cx="518444" cy="518444"/>
          </a:xfrm>
          <a:prstGeom prst="rect">
            <a:avLst/>
          </a:prstGeom>
          <a:noFill/>
          <a:ln>
            <a:noFill/>
          </a:ln>
        </p:spPr>
      </p:pic>
      <p:pic>
        <p:nvPicPr>
          <p:cNvPr id="501" name="Google Shape;501;p36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707507" y="4688095"/>
            <a:ext cx="518444" cy="518444"/>
          </a:xfrm>
          <a:prstGeom prst="rect">
            <a:avLst/>
          </a:prstGeom>
          <a:noFill/>
          <a:ln>
            <a:noFill/>
          </a:ln>
        </p:spPr>
      </p:pic>
      <p:pic>
        <p:nvPicPr>
          <p:cNvPr id="502" name="Google Shape;502;p36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707507" y="5473105"/>
            <a:ext cx="518444" cy="518444"/>
          </a:xfrm>
          <a:prstGeom prst="rect">
            <a:avLst/>
          </a:prstGeom>
          <a:noFill/>
          <a:ln>
            <a:noFill/>
          </a:ln>
        </p:spPr>
      </p:pic>
      <p:sp>
        <p:nvSpPr>
          <p:cNvPr id="503" name="Google Shape;503;p36"/>
          <p:cNvSpPr/>
          <p:nvPr/>
        </p:nvSpPr>
        <p:spPr>
          <a:xfrm>
            <a:off x="4041907" y="1565792"/>
            <a:ext cx="1383200" cy="5532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Personalized </a:t>
            </a:r>
            <a:b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marketing generation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4" name="Google Shape;504;p36"/>
          <p:cNvSpPr/>
          <p:nvPr/>
        </p:nvSpPr>
        <p:spPr>
          <a:xfrm>
            <a:off x="5561217" y="1565792"/>
            <a:ext cx="1383200" cy="5532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Summarization &amp; insights generation (e.g., feedbacks)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5" name="Google Shape;505;p36"/>
          <p:cNvSpPr/>
          <p:nvPr/>
        </p:nvSpPr>
        <p:spPr>
          <a:xfrm>
            <a:off x="7080528" y="1565792"/>
            <a:ext cx="1383200" cy="5532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Meeting minutes and follow-up email generation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6" name="Google Shape;506;p36"/>
          <p:cNvSpPr/>
          <p:nvPr/>
        </p:nvSpPr>
        <p:spPr>
          <a:xfrm>
            <a:off x="8599839" y="1565792"/>
            <a:ext cx="1383200" cy="5532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24/7 customer chatbot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7" name="Google Shape;507;p36"/>
          <p:cNvSpPr/>
          <p:nvPr/>
        </p:nvSpPr>
        <p:spPr>
          <a:xfrm>
            <a:off x="10119149" y="1565792"/>
            <a:ext cx="1383200" cy="5532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Intent recognition in call centers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8" name="Google Shape;508;p36"/>
          <p:cNvSpPr/>
          <p:nvPr/>
        </p:nvSpPr>
        <p:spPr>
          <a:xfrm>
            <a:off x="4047773" y="2637988"/>
            <a:ext cx="13832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Multi-lingual</a:t>
            </a:r>
            <a:b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virtual assistant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9" name="Google Shape;509;p36"/>
          <p:cNvSpPr/>
          <p:nvPr/>
        </p:nvSpPr>
        <p:spPr>
          <a:xfrm>
            <a:off x="5567084" y="2637988"/>
            <a:ext cx="13832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Document translation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0" name="Google Shape;510;p36"/>
          <p:cNvSpPr/>
          <p:nvPr/>
        </p:nvSpPr>
        <p:spPr>
          <a:xfrm>
            <a:off x="7086395" y="2637988"/>
            <a:ext cx="13832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Multi-lingual customer chatbot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1" name="Google Shape;511;p36"/>
          <p:cNvSpPr/>
          <p:nvPr/>
        </p:nvSpPr>
        <p:spPr>
          <a:xfrm>
            <a:off x="4041907" y="3719571"/>
            <a:ext cx="13832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Coding copilot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2" name="Google Shape;512;p36"/>
          <p:cNvSpPr/>
          <p:nvPr/>
        </p:nvSpPr>
        <p:spPr>
          <a:xfrm>
            <a:off x="5561217" y="3719571"/>
            <a:ext cx="13832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Code documentation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3" name="Google Shape;513;p36"/>
          <p:cNvSpPr/>
          <p:nvPr/>
        </p:nvSpPr>
        <p:spPr>
          <a:xfrm>
            <a:off x="7080528" y="3719571"/>
            <a:ext cx="13832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Legacy IT modernization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4" name="Google Shape;514;p36"/>
          <p:cNvSpPr/>
          <p:nvPr/>
        </p:nvSpPr>
        <p:spPr>
          <a:xfrm>
            <a:off x="4041907" y="4695887"/>
            <a:ext cx="13832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Sales copilot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5" name="Google Shape;515;p36"/>
          <p:cNvSpPr/>
          <p:nvPr/>
        </p:nvSpPr>
        <p:spPr>
          <a:xfrm>
            <a:off x="5561217" y="4695887"/>
            <a:ext cx="13832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Customer agent support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6" name="Google Shape;516;p36"/>
          <p:cNvSpPr/>
          <p:nvPr/>
        </p:nvSpPr>
        <p:spPr>
          <a:xfrm>
            <a:off x="7080528" y="4695887"/>
            <a:ext cx="13832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Internal knowledge assistant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7" name="Google Shape;517;p36"/>
          <p:cNvSpPr/>
          <p:nvPr/>
        </p:nvSpPr>
        <p:spPr>
          <a:xfrm>
            <a:off x="8599839" y="4695887"/>
            <a:ext cx="13832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Advanced customer chatbot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8" name="Google Shape;518;p36"/>
          <p:cNvSpPr/>
          <p:nvPr/>
        </p:nvSpPr>
        <p:spPr>
          <a:xfrm>
            <a:off x="10119149" y="4695887"/>
            <a:ext cx="13832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On-field agent support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9" name="Google Shape;519;p36"/>
          <p:cNvSpPr/>
          <p:nvPr/>
        </p:nvSpPr>
        <p:spPr>
          <a:xfrm>
            <a:off x="8599839" y="3719571"/>
            <a:ext cx="16652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Application development co-pilot (JSON mode)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0" name="Google Shape;520;p36"/>
          <p:cNvSpPr/>
          <p:nvPr/>
        </p:nvSpPr>
        <p:spPr>
          <a:xfrm>
            <a:off x="4041907" y="5480897"/>
            <a:ext cx="29024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Virtual expert with API calls to the ecosystem (live data or enterprise apps)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1" name="Google Shape;521;p36"/>
          <p:cNvSpPr/>
          <p:nvPr/>
        </p:nvSpPr>
        <p:spPr>
          <a:xfrm>
            <a:off x="7080528" y="5480897"/>
            <a:ext cx="2902400" cy="502800"/>
          </a:xfrm>
          <a:prstGeom prst="roundRect">
            <a:avLst>
              <a:gd name="adj" fmla="val 16667"/>
            </a:avLst>
          </a:prstGeom>
          <a:solidFill>
            <a:srgbClr val="FFE2CC">
              <a:alpha val="26270"/>
            </a:srgbClr>
          </a:solidFill>
          <a:ln>
            <a:noFill/>
          </a:ln>
        </p:spPr>
        <p:txBody>
          <a:bodyPr spcFirstLastPara="1" wrap="square" lIns="15233" tIns="0" rIns="15233" bIns="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800"/>
            </a:pPr>
            <a:r>
              <a:rPr lang="en" sz="1067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Automate complex workflows (e.g., credit risk assessment, claims processing)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2" name="Google Shape;522;p36"/>
          <p:cNvSpPr txBox="1"/>
          <p:nvPr/>
        </p:nvSpPr>
        <p:spPr>
          <a:xfrm>
            <a:off x="2523100" y="1626920"/>
            <a:ext cx="14292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Text generation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3" name="Google Shape;523;p36"/>
          <p:cNvSpPr txBox="1"/>
          <p:nvPr/>
        </p:nvSpPr>
        <p:spPr>
          <a:xfrm>
            <a:off x="2523100" y="3863277"/>
            <a:ext cx="142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Coding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4" name="Google Shape;524;p36"/>
          <p:cNvSpPr txBox="1"/>
          <p:nvPr/>
        </p:nvSpPr>
        <p:spPr>
          <a:xfrm>
            <a:off x="2523100" y="4839593"/>
            <a:ext cx="142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RAG</a:t>
            </a:r>
            <a:endParaRPr sz="1467" kern="0">
              <a:solidFill>
                <a:srgbClr val="000000"/>
              </a:solidFill>
              <a:latin typeface="Sora"/>
              <a:ea typeface="Sora"/>
              <a:cs typeface="Sora"/>
              <a:sym typeface="Sora"/>
            </a:endParaRPr>
          </a:p>
        </p:txBody>
      </p:sp>
      <p:sp>
        <p:nvSpPr>
          <p:cNvPr id="525" name="Google Shape;525;p36"/>
          <p:cNvSpPr txBox="1"/>
          <p:nvPr/>
        </p:nvSpPr>
        <p:spPr>
          <a:xfrm>
            <a:off x="2523100" y="5516882"/>
            <a:ext cx="1429200" cy="451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Function</a:t>
            </a:r>
            <a:b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</a:b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calling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6" name="Google Shape;526;p36"/>
          <p:cNvSpPr txBox="1"/>
          <p:nvPr/>
        </p:nvSpPr>
        <p:spPr>
          <a:xfrm>
            <a:off x="2528967" y="2781693"/>
            <a:ext cx="142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1467" b="1" kern="0">
                <a:solidFill>
                  <a:srgbClr val="000000"/>
                </a:solidFill>
                <a:latin typeface="Sora"/>
                <a:ea typeface="Sora"/>
                <a:cs typeface="Sora"/>
                <a:sym typeface="Sora"/>
              </a:rPr>
              <a:t>Multi-lingual</a:t>
            </a:r>
            <a:endParaRPr sz="1467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27" name="Google Shape;527;p36"/>
          <p:cNvGrpSpPr/>
          <p:nvPr/>
        </p:nvGrpSpPr>
        <p:grpSpPr>
          <a:xfrm>
            <a:off x="757570" y="6183235"/>
            <a:ext cx="266525" cy="266525"/>
            <a:chOff x="1016000" y="1016000"/>
            <a:chExt cx="396300" cy="396300"/>
          </a:xfrm>
        </p:grpSpPr>
        <p:sp>
          <p:nvSpPr>
            <p:cNvPr id="528" name="Google Shape;528;p36"/>
            <p:cNvSpPr/>
            <p:nvPr/>
          </p:nvSpPr>
          <p:spPr>
            <a:xfrm>
              <a:off x="1016000" y="1016000"/>
              <a:ext cx="396300" cy="3963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pic>
          <p:nvPicPr>
            <p:cNvPr id="529" name="Google Shape;529;p36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530" name="Google Shape;530;p36"/>
          <p:cNvCxnSpPr/>
          <p:nvPr/>
        </p:nvCxnSpPr>
        <p:spPr>
          <a:xfrm>
            <a:off x="1540043" y="1304279"/>
            <a:ext cx="10058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31" name="Google Shape;531;p36"/>
          <p:cNvGrpSpPr/>
          <p:nvPr/>
        </p:nvGrpSpPr>
        <p:grpSpPr>
          <a:xfrm>
            <a:off x="3776228" y="1159185"/>
            <a:ext cx="285600" cy="285600"/>
            <a:chOff x="1016000" y="1016000"/>
            <a:chExt cx="396300" cy="396300"/>
          </a:xfrm>
        </p:grpSpPr>
        <p:sp>
          <p:nvSpPr>
            <p:cNvPr id="532" name="Google Shape;532;p36"/>
            <p:cNvSpPr/>
            <p:nvPr/>
          </p:nvSpPr>
          <p:spPr>
            <a:xfrm>
              <a:off x="1016000" y="1016000"/>
              <a:ext cx="396300" cy="3963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FFFFFF"/>
                </a:buClr>
                <a:buSzPts val="1200"/>
              </a:pPr>
              <a:endParaRPr sz="1600" kern="0">
                <a:solidFill>
                  <a:srgbClr val="FFFFFF"/>
                </a:solidFill>
                <a:latin typeface="Sora"/>
                <a:ea typeface="Sora"/>
                <a:cs typeface="Sora"/>
                <a:sym typeface="Sora"/>
              </a:endParaRPr>
            </a:p>
          </p:txBody>
        </p:sp>
        <p:pic>
          <p:nvPicPr>
            <p:cNvPr id="533" name="Google Shape;533;p36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50CB3D2-6437-47BA-8D94-ABE66DBD37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343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50CB3D2-6437-47BA-8D94-ABE66DBD37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oup 53">
            <a:extLst>
              <a:ext uri="{FF2B5EF4-FFF2-40B4-BE49-F238E27FC236}">
                <a16:creationId xmlns:a16="http://schemas.microsoft.com/office/drawing/2014/main" id="{C51FFE38-E17B-4962-A51A-39CC761C7913}"/>
              </a:ext>
            </a:extLst>
          </p:cNvPr>
          <p:cNvGrpSpPr/>
          <p:nvPr/>
        </p:nvGrpSpPr>
        <p:grpSpPr>
          <a:xfrm>
            <a:off x="2268112" y="1675715"/>
            <a:ext cx="9608820" cy="5015656"/>
            <a:chOff x="2268112" y="1447113"/>
            <a:chExt cx="9608820" cy="501565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0B22C76-9779-439F-A63E-98EB95961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8112" y="1447113"/>
              <a:ext cx="9608820" cy="5015656"/>
            </a:xfrm>
            <a:prstGeom prst="rect">
              <a:avLst/>
            </a:prstGeom>
          </p:spPr>
        </p:pic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5A576985-415F-448A-B959-CD439584CAFC}"/>
                </a:ext>
              </a:extLst>
            </p:cNvPr>
            <p:cNvSpPr/>
            <p:nvPr/>
          </p:nvSpPr>
          <p:spPr>
            <a:xfrm>
              <a:off x="6481015" y="3163458"/>
              <a:ext cx="311058" cy="303641"/>
            </a:xfrm>
            <a:prstGeom prst="ellipse">
              <a:avLst/>
            </a:prstGeom>
            <a:solidFill>
              <a:srgbClr val="142EB0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0A390D-58B8-426B-82A9-76008182B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5" y="41597"/>
            <a:ext cx="3843338" cy="12311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12DA371-C33F-4733-A532-5179244A9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49734"/>
            <a:ext cx="11082528" cy="55399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pPr>
              <a:buClr>
                <a:schemeClr val="tx1"/>
              </a:buClr>
            </a:pPr>
            <a:r>
              <a:rPr lang="en-GB" sz="3600" dirty="0" err="1"/>
              <a:t>QuantumBlack</a:t>
            </a:r>
            <a:r>
              <a:rPr lang="en-GB" sz="3600" dirty="0"/>
              <a:t> today</a:t>
            </a:r>
            <a:endParaRPr lang="en-US" sz="3600" dirty="0"/>
          </a:p>
        </p:txBody>
      </p:sp>
      <p:sp>
        <p:nvSpPr>
          <p:cNvPr id="17" name="TextBox 9">
            <a:extLst>
              <a:ext uri="{FF2B5EF4-FFF2-40B4-BE49-F238E27FC236}">
                <a16:creationId xmlns:a16="http://schemas.microsoft.com/office/drawing/2014/main" id="{E88C5E77-31A3-451A-BA45-C049B97D43B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54736" y="1204390"/>
            <a:ext cx="10759028" cy="388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F40E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00+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ata Scientists supported by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F40E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000+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ech talent across the globe</a:t>
            </a:r>
          </a:p>
          <a:p>
            <a:pPr marL="0" marR="0" lvl="0" indent="0" algn="l" defTabSz="9135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F685E6C-5436-4DC5-9DEB-DEF6B35080FC}"/>
              </a:ext>
            </a:extLst>
          </p:cNvPr>
          <p:cNvGrpSpPr/>
          <p:nvPr/>
        </p:nvGrpSpPr>
        <p:grpSpPr>
          <a:xfrm>
            <a:off x="554736" y="3314022"/>
            <a:ext cx="2028444" cy="609600"/>
            <a:chOff x="554736" y="3120619"/>
            <a:chExt cx="2028444" cy="609600"/>
          </a:xfrm>
        </p:grpSpPr>
        <p:grpSp>
          <p:nvGrpSpPr>
            <p:cNvPr id="7" name="CustomIcon">
              <a:extLst>
                <a:ext uri="{FF2B5EF4-FFF2-40B4-BE49-F238E27FC236}">
                  <a16:creationId xmlns:a16="http://schemas.microsoft.com/office/drawing/2014/main" id="{0E18EE94-666F-42AB-9A02-B229C4F5B67F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554736" y="3120619"/>
              <a:ext cx="609600" cy="609600"/>
              <a:chOff x="-205105" y="-205105"/>
              <a:chExt cx="1019810" cy="1019810"/>
            </a:xfrm>
          </p:grpSpPr>
          <p:sp>
            <p:nvSpPr>
              <p:cNvPr id="2" name="Oval 1">
                <a:extLst>
                  <a:ext uri="{FF2B5EF4-FFF2-40B4-BE49-F238E27FC236}">
                    <a16:creationId xmlns:a16="http://schemas.microsoft.com/office/drawing/2014/main" id="{C844AE69-D022-4A3D-A03D-E3C1C511A45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5105" y="-205105"/>
                <a:ext cx="1019810" cy="1019810"/>
              </a:xfrm>
              <a:prstGeom prst="ellipse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4" name="Graphic 3">
                <a:extLst>
                  <a:ext uri="{FF2B5EF4-FFF2-40B4-BE49-F238E27FC236}">
                    <a16:creationId xmlns:a16="http://schemas.microsoft.com/office/drawing/2014/main" id="{DD4934FE-7778-4B88-A8EA-AE26B5D9D6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  <p:sp>
          <p:nvSpPr>
            <p:cNvPr id="21" name="TextBox 9">
              <a:extLst>
                <a:ext uri="{FF2B5EF4-FFF2-40B4-BE49-F238E27FC236}">
                  <a16:creationId xmlns:a16="http://schemas.microsoft.com/office/drawing/2014/main" id="{6F506442-AB55-41D8-BD91-F0289C36D689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307029" y="3148420"/>
              <a:ext cx="1276151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Data science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2B59F19-AC47-4F83-9B9D-10364FF0E9C7}"/>
              </a:ext>
            </a:extLst>
          </p:cNvPr>
          <p:cNvGrpSpPr/>
          <p:nvPr/>
        </p:nvGrpSpPr>
        <p:grpSpPr>
          <a:xfrm>
            <a:off x="554736" y="2393960"/>
            <a:ext cx="2028444" cy="609600"/>
            <a:chOff x="554736" y="2319256"/>
            <a:chExt cx="2028444" cy="609600"/>
          </a:xfrm>
        </p:grpSpPr>
        <p:grpSp>
          <p:nvGrpSpPr>
            <p:cNvPr id="13" name="CustomIcon">
              <a:extLst>
                <a:ext uri="{FF2B5EF4-FFF2-40B4-BE49-F238E27FC236}">
                  <a16:creationId xmlns:a16="http://schemas.microsoft.com/office/drawing/2014/main" id="{1517F2CC-20F6-4EB9-A552-F740C3FF71F9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554736" y="2319256"/>
              <a:ext cx="609600" cy="609600"/>
              <a:chOff x="-205105" y="-205105"/>
              <a:chExt cx="1019810" cy="1019810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90DDF75B-6C48-4E6F-9677-69E0DC0813D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5105" y="-205105"/>
                <a:ext cx="1019810" cy="1019810"/>
              </a:xfrm>
              <a:prstGeom prst="ellipse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2E4BC882-D16B-47B8-8519-F2834A821F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  <p:sp>
          <p:nvSpPr>
            <p:cNvPr id="22" name="TextBox 9">
              <a:extLst>
                <a:ext uri="{FF2B5EF4-FFF2-40B4-BE49-F238E27FC236}">
                  <a16:creationId xmlns:a16="http://schemas.microsoft.com/office/drawing/2014/main" id="{D0944401-77C2-42D1-85C8-E864F733F9C1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307029" y="2347057"/>
              <a:ext cx="1276151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Data engineering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FAD9C5E-F47F-4726-B5EF-A0E00A4C3900}"/>
              </a:ext>
            </a:extLst>
          </p:cNvPr>
          <p:cNvGrpSpPr/>
          <p:nvPr/>
        </p:nvGrpSpPr>
        <p:grpSpPr>
          <a:xfrm>
            <a:off x="554736" y="4234084"/>
            <a:ext cx="2028444" cy="609600"/>
            <a:chOff x="554736" y="4135613"/>
            <a:chExt cx="2028444" cy="609600"/>
          </a:xfrm>
        </p:grpSpPr>
        <p:grpSp>
          <p:nvGrpSpPr>
            <p:cNvPr id="46" name="CustomIcon">
              <a:extLst>
                <a:ext uri="{FF2B5EF4-FFF2-40B4-BE49-F238E27FC236}">
                  <a16:creationId xmlns:a16="http://schemas.microsoft.com/office/drawing/2014/main" id="{EE7F5981-27E8-4A7E-91A0-3E62BF45650D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554736" y="4135613"/>
              <a:ext cx="609600" cy="609600"/>
              <a:chOff x="-205105" y="-205105"/>
              <a:chExt cx="1019810" cy="1019810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CF0B7D93-A5D4-4508-A492-209C02C835D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5105" y="-205105"/>
                <a:ext cx="1019810" cy="1019810"/>
              </a:xfrm>
              <a:prstGeom prst="ellipse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45" name="Graphic 44">
                <a:extLst>
                  <a:ext uri="{FF2B5EF4-FFF2-40B4-BE49-F238E27FC236}">
                    <a16:creationId xmlns:a16="http://schemas.microsoft.com/office/drawing/2014/main" id="{AF652A6E-285B-426D-B2FC-CB567BB6EC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  <p:sp>
          <p:nvSpPr>
            <p:cNvPr id="23" name="TextBox 9">
              <a:extLst>
                <a:ext uri="{FF2B5EF4-FFF2-40B4-BE49-F238E27FC236}">
                  <a16:creationId xmlns:a16="http://schemas.microsoft.com/office/drawing/2014/main" id="{DCA99BCE-0CAD-485D-AA03-03D9BEEA542A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307029" y="4301914"/>
              <a:ext cx="127615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Design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EC9E36D-1055-4121-A8B9-E402C0E6A768}"/>
              </a:ext>
            </a:extLst>
          </p:cNvPr>
          <p:cNvGrpSpPr/>
          <p:nvPr/>
        </p:nvGrpSpPr>
        <p:grpSpPr>
          <a:xfrm>
            <a:off x="554736" y="5154146"/>
            <a:ext cx="2028444" cy="609600"/>
            <a:chOff x="554736" y="5079442"/>
            <a:chExt cx="2028444" cy="609600"/>
          </a:xfrm>
        </p:grpSpPr>
        <p:grpSp>
          <p:nvGrpSpPr>
            <p:cNvPr id="38" name="CustomIcon">
              <a:extLst>
                <a:ext uri="{FF2B5EF4-FFF2-40B4-BE49-F238E27FC236}">
                  <a16:creationId xmlns:a16="http://schemas.microsoft.com/office/drawing/2014/main" id="{72FC9CE0-067D-4735-898B-5283EEDAF23F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554736" y="5079442"/>
              <a:ext cx="609600" cy="609600"/>
              <a:chOff x="-205105" y="-205105"/>
              <a:chExt cx="1019810" cy="1019810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B0EE685E-3200-424B-9681-5E7CCDE8422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05105" y="-205105"/>
                <a:ext cx="1019810" cy="1019810"/>
              </a:xfrm>
              <a:prstGeom prst="ellipse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7" name="Graphic 36">
                <a:extLst>
                  <a:ext uri="{FF2B5EF4-FFF2-40B4-BE49-F238E27FC236}">
                    <a16:creationId xmlns:a16="http://schemas.microsoft.com/office/drawing/2014/main" id="{559DD353-AEBA-4A33-9A6B-4370DC3945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609600" cy="609600"/>
              </a:xfrm>
              <a:prstGeom prst="rect">
                <a:avLst/>
              </a:prstGeom>
            </p:spPr>
          </p:pic>
        </p:grpSp>
        <p:sp>
          <p:nvSpPr>
            <p:cNvPr id="24" name="TextBox 9">
              <a:extLst>
                <a:ext uri="{FF2B5EF4-FFF2-40B4-BE49-F238E27FC236}">
                  <a16:creationId xmlns:a16="http://schemas.microsoft.com/office/drawing/2014/main" id="{DE58FD90-637A-4D83-8101-790192DDFFC4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307029" y="5107243"/>
              <a:ext cx="1276151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Tech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delivery</a:t>
              </a:r>
            </a:p>
          </p:txBody>
        </p:sp>
      </p:grpSp>
      <p:sp>
        <p:nvSpPr>
          <p:cNvPr id="11" name="Sticky">
            <a:extLst>
              <a:ext uri="{FF2B5EF4-FFF2-40B4-BE49-F238E27FC236}">
                <a16:creationId xmlns:a16="http://schemas.microsoft.com/office/drawing/2014/main" id="{3BFEE9E9-C2E6-44E9-D40B-B303625447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265218" y="0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sz="1600" dirty="0">
                <a:solidFill>
                  <a:srgbClr val="000000"/>
                </a:solidFill>
              </a:rPr>
              <a:t>Lancelot</a:t>
            </a:r>
          </a:p>
        </p:txBody>
      </p:sp>
    </p:spTree>
    <p:extLst>
      <p:ext uri="{BB962C8B-B14F-4D97-AF65-F5344CB8AC3E}">
        <p14:creationId xmlns:p14="http://schemas.microsoft.com/office/powerpoint/2010/main" val="16869003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>
            <a:extLst>
              <a:ext uri="{FF2B5EF4-FFF2-40B4-BE49-F238E27FC236}">
                <a16:creationId xmlns:a16="http://schemas.microsoft.com/office/drawing/2014/main" id="{F78615DB-71C7-4414-BE0E-F66997116E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0" y="3621"/>
          <a:ext cx="1811" cy="1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8" name="Object 4" hidden="1">
                        <a:extLst>
                          <a:ext uri="{FF2B5EF4-FFF2-40B4-BE49-F238E27FC236}">
                            <a16:creationId xmlns:a16="http://schemas.microsoft.com/office/drawing/2014/main" id="{F78615DB-71C7-4414-BE0E-F66997116E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810" y="3621"/>
                        <a:ext cx="1811" cy="1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653BE18-FBD9-4411-9A64-B70C52FD1AA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189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36" b="1" i="0" u="none" strike="noStrike" kern="1200" cap="none" spc="0" normalizeH="0" baseline="0" noProof="0">
              <a:ln>
                <a:noFill/>
              </a:ln>
              <a:solidFill>
                <a:srgbClr val="1D2B4D"/>
              </a:solidFill>
              <a:effectLst/>
              <a:uLnTx/>
              <a:uFillTx/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  <a:sym typeface="Ebrima" panose="02000000000000000000" pitchFamily="2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E17F269E-8D0E-8181-63D8-8D9A2123FDA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34291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/>
              <a:t>A world record for Formula E, propelled</a:t>
            </a:r>
            <a:br>
              <a:rPr lang="en-US"/>
            </a:br>
            <a:r>
              <a:rPr lang="en-US"/>
              <a:t>by QuantumBlack, AI by McKinsey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D23A7908-1DB3-CFD7-CE8E-79D980FD609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Example cas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1CD3EC-0798-2258-6C84-EA13FC4712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25C09AA-A05E-D6C8-313F-91B3961A4F04}"/>
              </a:ext>
            </a:extLst>
          </p:cNvPr>
          <p:cNvGrpSpPr/>
          <p:nvPr/>
        </p:nvGrpSpPr>
        <p:grpSpPr>
          <a:xfrm>
            <a:off x="8121053" y="86666"/>
            <a:ext cx="3185657" cy="1117210"/>
            <a:chOff x="459570" y="379810"/>
            <a:chExt cx="2948213" cy="951608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81BAB73-C794-C9B4-A29A-2AAFF10BAB63}"/>
                </a:ext>
              </a:extLst>
            </p:cNvPr>
            <p:cNvPicPr>
              <a:picLocks/>
            </p:cNvPicPr>
            <p:nvPr/>
          </p:nvPicPr>
          <p:blipFill rotWithShape="1">
            <a:blip r:embed="rId12">
              <a:alphaModFix/>
            </a:blip>
            <a:srcRect b="47770"/>
            <a:stretch/>
          </p:blipFill>
          <p:spPr>
            <a:xfrm>
              <a:off x="459570" y="754298"/>
              <a:ext cx="2948213" cy="577120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E3DE39A-2FBD-15F7-6E21-281A4E28A7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alphaModFix/>
            </a:blip>
            <a:stretch>
              <a:fillRect/>
            </a:stretch>
          </p:blipFill>
          <p:spPr>
            <a:xfrm>
              <a:off x="459570" y="379810"/>
              <a:ext cx="2948213" cy="374487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C2133E1-0A99-EC4F-DBCD-D9A38D448513}"/>
              </a:ext>
            </a:extLst>
          </p:cNvPr>
          <p:cNvGrpSpPr>
            <a:grpSpLocks/>
          </p:cNvGrpSpPr>
          <p:nvPr/>
        </p:nvGrpSpPr>
        <p:grpSpPr>
          <a:xfrm>
            <a:off x="8126868" y="1294720"/>
            <a:ext cx="3185657" cy="1178440"/>
            <a:chOff x="8183699" y="1995111"/>
            <a:chExt cx="3486149" cy="1186911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0C316F02-69CB-407E-F8A1-0A7E6267DA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alphaModFix/>
            </a:blip>
            <a:srcRect b="49354"/>
            <a:stretch/>
          </p:blipFill>
          <p:spPr>
            <a:xfrm>
              <a:off x="8183699" y="2297411"/>
              <a:ext cx="3486149" cy="884611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8DBA3A5-A8DB-1140-6F80-58395EC45171}"/>
                </a:ext>
              </a:extLst>
            </p:cNvPr>
            <p:cNvPicPr>
              <a:picLocks/>
            </p:cNvPicPr>
            <p:nvPr/>
          </p:nvPicPr>
          <p:blipFill>
            <a:blip r:embed="rId15">
              <a:alphaModFix amt="85000"/>
            </a:blip>
            <a:stretch>
              <a:fillRect/>
            </a:stretch>
          </p:blipFill>
          <p:spPr>
            <a:xfrm>
              <a:off x="8183699" y="1995111"/>
              <a:ext cx="3171825" cy="302300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E59809A-54C5-96CF-E97A-4A1A73279093}"/>
                </a:ext>
              </a:extLst>
            </p:cNvPr>
            <p:cNvSpPr>
              <a:spLocks/>
            </p:cNvSpPr>
            <p:nvPr/>
          </p:nvSpPr>
          <p:spPr>
            <a:xfrm>
              <a:off x="11355524" y="1995111"/>
              <a:ext cx="314324" cy="302300"/>
            </a:xfrm>
            <a:prstGeom prst="rect">
              <a:avLst/>
            </a:prstGeom>
            <a:solidFill>
              <a:schemeClr val="tx1">
                <a:alpha val="8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B9506E9-55D3-1417-A30B-23AE5A2993EE}"/>
              </a:ext>
            </a:extLst>
          </p:cNvPr>
          <p:cNvGrpSpPr>
            <a:grpSpLocks/>
          </p:cNvGrpSpPr>
          <p:nvPr/>
        </p:nvGrpSpPr>
        <p:grpSpPr>
          <a:xfrm>
            <a:off x="8127572" y="2552604"/>
            <a:ext cx="3185657" cy="1259346"/>
            <a:chOff x="8110776" y="3718808"/>
            <a:chExt cx="3893431" cy="1416582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FA0C6DB1-2CC2-4F2C-EBDA-8951E06FD0C4}"/>
                </a:ext>
              </a:extLst>
            </p:cNvPr>
            <p:cNvPicPr>
              <a:picLocks/>
            </p:cNvPicPr>
            <p:nvPr/>
          </p:nvPicPr>
          <p:blipFill rotWithShape="1">
            <a:blip r:embed="rId16">
              <a:alphaModFix/>
            </a:blip>
            <a:srcRect b="11095"/>
            <a:stretch/>
          </p:blipFill>
          <p:spPr>
            <a:xfrm>
              <a:off x="8110776" y="4147434"/>
              <a:ext cx="3893431" cy="987956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2439A676-A176-8C1F-9366-22B106D546D8}"/>
                </a:ext>
              </a:extLst>
            </p:cNvPr>
            <p:cNvPicPr>
              <a:picLocks/>
            </p:cNvPicPr>
            <p:nvPr/>
          </p:nvPicPr>
          <p:blipFill rotWithShape="1">
            <a:blip r:embed="rId17">
              <a:alphaModFix amt="85000"/>
            </a:blip>
            <a:srcRect r="20531"/>
            <a:stretch/>
          </p:blipFill>
          <p:spPr>
            <a:xfrm>
              <a:off x="8110776" y="3718808"/>
              <a:ext cx="3893431" cy="428625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2A844B6-E5B0-B526-D63E-3F6BE00AF097}"/>
              </a:ext>
            </a:extLst>
          </p:cNvPr>
          <p:cNvGrpSpPr>
            <a:grpSpLocks/>
          </p:cNvGrpSpPr>
          <p:nvPr/>
        </p:nvGrpSpPr>
        <p:grpSpPr>
          <a:xfrm>
            <a:off x="8126867" y="3891394"/>
            <a:ext cx="3185657" cy="1015439"/>
            <a:chOff x="8131958" y="5387142"/>
            <a:chExt cx="3819520" cy="1120540"/>
          </a:xfrm>
        </p:grpSpPr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ADF9B3D6-1DBD-8094-A754-39BB03D2EFF6}"/>
                </a:ext>
              </a:extLst>
            </p:cNvPr>
            <p:cNvPicPr>
              <a:picLocks/>
            </p:cNvPicPr>
            <p:nvPr/>
          </p:nvPicPr>
          <p:blipFill rotWithShape="1">
            <a:blip r:embed="rId18">
              <a:alphaModFix/>
            </a:blip>
            <a:srcRect b="61693"/>
            <a:stretch/>
          </p:blipFill>
          <p:spPr>
            <a:xfrm>
              <a:off x="8131958" y="5734804"/>
              <a:ext cx="3819520" cy="772878"/>
            </a:xfrm>
            <a:prstGeom prst="rect">
              <a:avLst/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233A398C-E7FD-4715-2B69-CF7B01E79152}"/>
                </a:ext>
              </a:extLst>
            </p:cNvPr>
            <p:cNvPicPr>
              <a:picLocks/>
            </p:cNvPicPr>
            <p:nvPr/>
          </p:nvPicPr>
          <p:blipFill>
            <a:blip r:embed="rId19">
              <a:alphaModFix amt="85000"/>
            </a:blip>
            <a:stretch>
              <a:fillRect/>
            </a:stretch>
          </p:blipFill>
          <p:spPr>
            <a:xfrm>
              <a:off x="8131958" y="5387142"/>
              <a:ext cx="3819520" cy="347662"/>
            </a:xfrm>
            <a:prstGeom prst="rect">
              <a:avLst/>
            </a:prstGeom>
          </p:spPr>
        </p:pic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9449A99E-A35C-4FE5-9879-06A98345CA86}"/>
              </a:ext>
            </a:extLst>
          </p:cNvPr>
          <p:cNvSpPr txBox="1">
            <a:spLocks/>
          </p:cNvSpPr>
          <p:nvPr/>
        </p:nvSpPr>
        <p:spPr>
          <a:xfrm>
            <a:off x="554736" y="1376769"/>
            <a:ext cx="3331464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ntext / Approach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20D40CC-A0D1-5ABE-AE0B-12339DFE7599}"/>
              </a:ext>
            </a:extLst>
          </p:cNvPr>
          <p:cNvSpPr txBox="1">
            <a:spLocks/>
          </p:cNvSpPr>
          <p:nvPr/>
        </p:nvSpPr>
        <p:spPr>
          <a:xfrm>
            <a:off x="4746089" y="1376769"/>
            <a:ext cx="2351733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mpact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6E86197-5001-933F-9C75-FF3764960422}"/>
              </a:ext>
            </a:extLst>
          </p:cNvPr>
          <p:cNvGrpSpPr/>
          <p:nvPr/>
        </p:nvGrpSpPr>
        <p:grpSpPr>
          <a:xfrm>
            <a:off x="4746089" y="3409610"/>
            <a:ext cx="2351733" cy="1543639"/>
            <a:chOff x="4746089" y="3476100"/>
            <a:chExt cx="2351733" cy="1543639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2A556A8E-E37E-8502-C21C-18FD3E690B11}"/>
                </a:ext>
              </a:extLst>
            </p:cNvPr>
            <p:cNvSpPr txBox="1">
              <a:spLocks/>
            </p:cNvSpPr>
            <p:nvPr/>
          </p:nvSpPr>
          <p:spPr>
            <a:xfrm>
              <a:off x="4746089" y="3476100"/>
              <a:ext cx="2351733" cy="4308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00A9F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"/>
                </a:rPr>
                <a:t>40K+ 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0104ACA6-B8B8-B695-289F-972F3DB4AAA4}"/>
                </a:ext>
              </a:extLst>
            </p:cNvPr>
            <p:cNvSpPr txBox="1">
              <a:spLocks/>
            </p:cNvSpPr>
            <p:nvPr/>
          </p:nvSpPr>
          <p:spPr>
            <a:xfrm>
              <a:off x="4746089" y="4034854"/>
              <a:ext cx="2351733" cy="98488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ans attended the event and had the opportunity to chat with the gen AI ‘</a:t>
              </a:r>
              <a:r>
                <a: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anbot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’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2C99EDB-4B03-61BD-3B54-2D033510A23A}"/>
              </a:ext>
            </a:extLst>
          </p:cNvPr>
          <p:cNvGrpSpPr/>
          <p:nvPr/>
        </p:nvGrpSpPr>
        <p:grpSpPr>
          <a:xfrm>
            <a:off x="4746089" y="1914405"/>
            <a:ext cx="2351733" cy="1051198"/>
            <a:chOff x="4746089" y="2063723"/>
            <a:chExt cx="2351733" cy="1051198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C5179398-46DE-7239-B842-133632A7C84B}"/>
                </a:ext>
              </a:extLst>
            </p:cNvPr>
            <p:cNvSpPr txBox="1">
              <a:spLocks/>
            </p:cNvSpPr>
            <p:nvPr/>
          </p:nvSpPr>
          <p:spPr>
            <a:xfrm>
              <a:off x="4746089" y="2063723"/>
              <a:ext cx="2351733" cy="4308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00A9F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"/>
                </a:rPr>
                <a:t>218.71 km/h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83FF37B5-2FDA-7393-9F79-EAF2E52031C7}"/>
                </a:ext>
              </a:extLst>
            </p:cNvPr>
            <p:cNvSpPr txBox="1">
              <a:spLocks/>
            </p:cNvSpPr>
            <p:nvPr/>
          </p:nvSpPr>
          <p:spPr>
            <a:xfrm>
              <a:off x="4746089" y="2622478"/>
              <a:ext cx="2351733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2064" lvl="2" indent="-28346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0664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716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uinness World Record for indoor land speed set</a:t>
              </a: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77A855D2-25ED-77F5-D90D-74C23F535FBE}"/>
              </a:ext>
            </a:extLst>
          </p:cNvPr>
          <p:cNvSpPr txBox="1"/>
          <p:nvPr/>
        </p:nvSpPr>
        <p:spPr>
          <a:xfrm>
            <a:off x="554736" y="1914405"/>
            <a:ext cx="3331464" cy="1077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Formula E built its new next generation electric race car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GENBet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, which it used to break the Guinness World Record for indoor land speed and drive marketing innovation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051EA61-0610-3E30-F175-5E5AD39928D4}"/>
              </a:ext>
            </a:extLst>
          </p:cNvPr>
          <p:cNvSpPr txBox="1"/>
          <p:nvPr/>
        </p:nvSpPr>
        <p:spPr>
          <a:xfrm>
            <a:off x="554736" y="3006038"/>
            <a:ext cx="3331464" cy="1477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4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Arial" panose="020B0604020202020204" pitchFamily="34" charset="0"/>
                <a:sym typeface=""/>
              </a:rPr>
              <a:t>QuantumBlack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Arial" panose="020B0604020202020204" pitchFamily="34" charset="0"/>
                <a:sym typeface=""/>
              </a:rPr>
              <a:t> launched 2 gen AI platforms in 2.5 weeks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Arial" panose="020B0604020202020204" pitchFamily="34" charset="0"/>
              <a:sym typeface="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D525609-6697-70E7-DB8C-787831FCE79F}"/>
              </a:ext>
            </a:extLst>
          </p:cNvPr>
          <p:cNvSpPr txBox="1"/>
          <p:nvPr/>
        </p:nvSpPr>
        <p:spPr>
          <a:xfrm>
            <a:off x="554736" y="4713225"/>
            <a:ext cx="3331464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Driver bo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– Allowing ground team to query, uncover insights (e.g., did I over-steer?) and shape driving in real-tim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AF9CBAA-A666-8561-4D79-34816BAF715B}"/>
              </a:ext>
            </a:extLst>
          </p:cNvPr>
          <p:cNvSpPr txBox="1"/>
          <p:nvPr/>
        </p:nvSpPr>
        <p:spPr>
          <a:xfrm>
            <a:off x="554736" y="5589416"/>
            <a:ext cx="3331464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Fan bo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– Allowing fans “to speak with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GENBet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” (e.g., How does your electric motor compare to a Ferrari?)</a:t>
            </a:r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11B1B75B-A53C-9CD7-4123-A75BC8ABA675}"/>
              </a:ext>
            </a:extLst>
          </p:cNvPr>
          <p:cNvCxnSpPr>
            <a:cxnSpLocks/>
          </p:cNvCxnSpPr>
          <p:nvPr/>
        </p:nvCxnSpPr>
        <p:spPr>
          <a:xfrm>
            <a:off x="547122" y="1760443"/>
            <a:ext cx="3387403" cy="0"/>
          </a:xfrm>
          <a:prstGeom prst="straightConnector1">
            <a:avLst/>
          </a:prstGeom>
          <a:ln w="12700" cap="flat">
            <a:solidFill>
              <a:schemeClr val="tx1">
                <a:lumMod val="50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856F7CC7-280A-C5AE-6FF0-EE5057B5DCB4}"/>
              </a:ext>
            </a:extLst>
          </p:cNvPr>
          <p:cNvCxnSpPr>
            <a:cxnSpLocks/>
          </p:cNvCxnSpPr>
          <p:nvPr/>
        </p:nvCxnSpPr>
        <p:spPr>
          <a:xfrm>
            <a:off x="4529526" y="1747771"/>
            <a:ext cx="2845597" cy="0"/>
          </a:xfrm>
          <a:prstGeom prst="straightConnector1">
            <a:avLst/>
          </a:prstGeom>
          <a:ln w="12700" cap="flat">
            <a:solidFill>
              <a:schemeClr val="tx1">
                <a:lumMod val="50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7304EBEB-0ABE-AF7A-8D81-7757A36CB3DC}"/>
              </a:ext>
            </a:extLst>
          </p:cNvPr>
          <p:cNvPicPr>
            <a:picLocks/>
          </p:cNvPicPr>
          <p:nvPr/>
        </p:nvPicPr>
        <p:blipFill>
          <a:blip r:embed="rId20"/>
          <a:stretch>
            <a:fillRect/>
          </a:stretch>
        </p:blipFill>
        <p:spPr>
          <a:xfrm flipH="1">
            <a:off x="5952324" y="4047808"/>
            <a:ext cx="6276975" cy="2735327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DC88145E-C190-6740-E043-6D35950D0B4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7F991C10-E037-0BC7-6EAC-2C0FC325486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grpSp>
        <p:nvGrpSpPr>
          <p:cNvPr id="5" name="ChevronBlue 20">
            <a:extLst>
              <a:ext uri="{FF2B5EF4-FFF2-40B4-BE49-F238E27FC236}">
                <a16:creationId xmlns:a16="http://schemas.microsoft.com/office/drawing/2014/main" id="{960DAC86-0522-CAEB-5E34-D16953C9EEF5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 rot="10800000" flipH="1">
            <a:off x="4033912" y="1562329"/>
            <a:ext cx="396228" cy="396228"/>
            <a:chOff x="1016000" y="1016000"/>
            <a:chExt cx="396228" cy="396228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4BFC30B-6524-008F-9243-841E4B0709DE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190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A43D6DD6-C0EB-071F-7846-DD6E407FC3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17" name="Sticky">
            <a:extLst>
              <a:ext uri="{FF2B5EF4-FFF2-40B4-BE49-F238E27FC236}">
                <a16:creationId xmlns:a16="http://schemas.microsoft.com/office/drawing/2014/main" id="{74F315F1-63CA-9989-5D1D-3299E5A9AB0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265218" y="0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sz="1600" dirty="0">
                <a:solidFill>
                  <a:srgbClr val="000000"/>
                </a:solidFill>
              </a:rPr>
              <a:t>Lancelot</a:t>
            </a:r>
          </a:p>
        </p:txBody>
      </p:sp>
    </p:spTree>
    <p:extLst>
      <p:ext uri="{BB962C8B-B14F-4D97-AF65-F5344CB8AC3E}">
        <p14:creationId xmlns:p14="http://schemas.microsoft.com/office/powerpoint/2010/main" val="23455768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BEC3F38D-0B11-401A-98CB-0D996F6827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26" imgH="526" progId="TCLayout.ActiveDocument.1">
                  <p:embed/>
                </p:oleObj>
              </mc:Choice>
              <mc:Fallback>
                <p:oleObj name="think-cell Slide" r:id="rId10" imgW="526" imgH="52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BEC3F38D-0B11-401A-98CB-0D996F682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 hidden="1">
            <a:extLst>
              <a:ext uri="{FF2B5EF4-FFF2-40B4-BE49-F238E27FC236}">
                <a16:creationId xmlns:a16="http://schemas.microsoft.com/office/drawing/2014/main" id="{1BF5EE0E-2E0A-41CA-8C6C-1B3744BA5F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rgbClr val="4E64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C978B4-3515-4ED0-A82F-C732EBE0B1C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err="1"/>
              <a:t>QuantumBlack</a:t>
            </a:r>
            <a:r>
              <a:rPr lang="en-US"/>
              <a:t> thought leadership in all-things gen AI</a:t>
            </a:r>
            <a:r>
              <a:rPr lang="en-US" baseline="30000"/>
              <a:t>1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4C02E53B-C185-BA9D-DD4A-F209E8920D3D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A593A95-ECBB-41ED-E19A-42DCF58A66B8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7DCCAF1C-EA90-4E26-B302-446F498A918B}"/>
              </a:ext>
            </a:extLst>
          </p:cNvPr>
          <p:cNvSpPr txBox="1">
            <a:spLocks/>
          </p:cNvSpPr>
          <p:nvPr/>
        </p:nvSpPr>
        <p:spPr bwMode="gray">
          <a:xfrm>
            <a:off x="554736" y="1383145"/>
            <a:ext cx="1902509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de-DE" sz="4000" b="1" i="0" u="none" strike="noStrike" kern="1200" cap="none" spc="0" normalizeH="0" baseline="0" noProof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1,140+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DD6DD527-1992-4DDE-BF2D-A37607002126}"/>
              </a:ext>
            </a:extLst>
          </p:cNvPr>
          <p:cNvSpPr txBox="1">
            <a:spLocks/>
          </p:cNvSpPr>
          <p:nvPr/>
        </p:nvSpPr>
        <p:spPr bwMode="gray">
          <a:xfrm>
            <a:off x="554736" y="2075750"/>
            <a:ext cx="237835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edia articles published,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ith 230 on key outlets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69503C79-D9AD-6BCE-5205-675E6A45432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2064" indent="-28346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0664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716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E575DAB-AB86-2B66-4032-413FA99ACC46}"/>
              </a:ext>
            </a:extLst>
          </p:cNvPr>
          <p:cNvGrpSpPr/>
          <p:nvPr/>
        </p:nvGrpSpPr>
        <p:grpSpPr>
          <a:xfrm>
            <a:off x="554736" y="3120623"/>
            <a:ext cx="2378358" cy="1076537"/>
            <a:chOff x="554736" y="3942409"/>
            <a:chExt cx="2378358" cy="107653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4750D12-53E2-A93D-7BB0-697EF52F761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4736" y="3942409"/>
              <a:ext cx="1902509" cy="61555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de-DE" sz="4000" b="1" i="0" u="none" strike="noStrike" kern="1200" cap="none" spc="0" normalizeH="0" baseline="0" noProof="0">
                  <a:ln>
                    <a:noFill/>
                  </a:ln>
                  <a:solidFill>
                    <a:srgbClr val="00A9F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66%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21D118F-F776-0588-1FED-8A5319562A7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4736" y="4588059"/>
              <a:ext cx="2378358" cy="43088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hare of voice compared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o top competitors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F4B2D6F-0F09-48BF-28C9-EB054D9DD121}"/>
              </a:ext>
            </a:extLst>
          </p:cNvPr>
          <p:cNvGrpSpPr/>
          <p:nvPr/>
        </p:nvGrpSpPr>
        <p:grpSpPr>
          <a:xfrm>
            <a:off x="554736" y="4542679"/>
            <a:ext cx="2532308" cy="1291981"/>
            <a:chOff x="554736" y="2662777"/>
            <a:chExt cx="2532308" cy="1291981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5764690-5FEF-5F03-4C58-3BB1DC1E5CE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4736" y="2662777"/>
              <a:ext cx="2302764" cy="61555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de-DE" sz="4000" b="1" i="0" u="none" strike="noStrike" kern="1200" cap="none" spc="0" normalizeH="0" baseline="0" noProof="0">
                  <a:ln>
                    <a:noFill/>
                  </a:ln>
                  <a:solidFill>
                    <a:srgbClr val="00A9F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~100M+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FBD7B8B-2A3E-D936-C576-13CE91034EC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4736" y="3308427"/>
              <a:ext cx="2532308" cy="64633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pressions for gen AI content across Firm’s social and blog content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60C936E-EFA5-9FF4-D134-A0A7744DDB39}"/>
              </a:ext>
            </a:extLst>
          </p:cNvPr>
          <p:cNvGrpSpPr>
            <a:grpSpLocks/>
          </p:cNvGrpSpPr>
          <p:nvPr/>
        </p:nvGrpSpPr>
        <p:grpSpPr>
          <a:xfrm>
            <a:off x="3512888" y="1383145"/>
            <a:ext cx="3630412" cy="4986660"/>
            <a:chOff x="3840543" y="1316423"/>
            <a:chExt cx="3242914" cy="4454401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5E58A065-DE73-CE4D-AC74-3F36BA035DB5}"/>
                </a:ext>
              </a:extLst>
            </p:cNvPr>
            <p:cNvGrpSpPr/>
            <p:nvPr/>
          </p:nvGrpSpPr>
          <p:grpSpPr>
            <a:xfrm>
              <a:off x="3840543" y="2095130"/>
              <a:ext cx="1618488" cy="1557447"/>
              <a:chOff x="3840543" y="2095130"/>
              <a:chExt cx="1618488" cy="1557447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6E1786E1-9FF8-7D5C-24F1-F76250984A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543" y="2095130"/>
                <a:ext cx="1618488" cy="1557447"/>
              </a:xfrm>
              <a:prstGeom prst="rect">
                <a:avLst/>
              </a:prstGeom>
              <a:solidFill>
                <a:schemeClr val="tx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03111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5CEC0E2C-44F2-A09D-B40D-FAC8BC50B77B}"/>
                  </a:ext>
                </a:extLst>
              </p:cNvPr>
              <p:cNvPicPr>
                <a:picLocks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3840543" y="2213331"/>
                <a:ext cx="1618488" cy="1321045"/>
              </a:xfrm>
              <a:prstGeom prst="rect">
                <a:avLst/>
              </a:prstGeom>
            </p:spPr>
          </p:pic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BB30D22-5BDA-5AA1-623A-37CA2D7FF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840543" y="4444794"/>
              <a:ext cx="1618488" cy="1326030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F1D6557-5288-743E-1600-D3D05570DCCE}"/>
                </a:ext>
              </a:extLst>
            </p:cNvPr>
            <p:cNvPicPr>
              <a:picLocks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0543" y="1316423"/>
              <a:ext cx="1621457" cy="778739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4C215DD-97EF-51E4-6CDB-C788F0807E6B}"/>
                </a:ext>
              </a:extLst>
            </p:cNvPr>
            <p:cNvPicPr>
              <a:picLocks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62000" y="2873838"/>
              <a:ext cx="1621457" cy="778739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A32F5802-B493-6EA6-B52D-5802F8BAE40C}"/>
                </a:ext>
              </a:extLst>
            </p:cNvPr>
            <p:cNvPicPr>
              <a:picLocks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62000" y="2095130"/>
              <a:ext cx="1621457" cy="778739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2D8D2234-754C-3B81-391B-112F863EED6A}"/>
                </a:ext>
              </a:extLst>
            </p:cNvPr>
            <p:cNvPicPr>
              <a:picLocks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62000" y="3657621"/>
              <a:ext cx="1621457" cy="778739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3197B8C3-52F1-6F09-5B16-EC0154A90C32}"/>
                </a:ext>
              </a:extLst>
            </p:cNvPr>
            <p:cNvPicPr>
              <a:picLocks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62000" y="1316423"/>
              <a:ext cx="1621457" cy="778739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CC517D63-4F95-3C0E-A0D0-F571C2A983CA}"/>
                </a:ext>
              </a:extLst>
            </p:cNvPr>
            <p:cNvPicPr>
              <a:picLocks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62000" y="4992084"/>
              <a:ext cx="1621457" cy="778739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815C58C4-96B9-373A-B0E8-2E9839D77FF8}"/>
                </a:ext>
              </a:extLst>
            </p:cNvPr>
            <p:cNvPicPr>
              <a:picLocks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62000" y="4444794"/>
              <a:ext cx="1621457" cy="547289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3AC7F8B3-5466-4797-AA8A-C0D9B84CE8F9}"/>
                </a:ext>
              </a:extLst>
            </p:cNvPr>
            <p:cNvPicPr>
              <a:picLocks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0543" y="3657621"/>
              <a:ext cx="1621457" cy="778739"/>
            </a:xfrm>
            <a:prstGeom prst="rect">
              <a:avLst/>
            </a:prstGeom>
          </p:spPr>
        </p:pic>
      </p:grpSp>
      <p:sp>
        <p:nvSpPr>
          <p:cNvPr id="7" name="5. Source">
            <a:extLst>
              <a:ext uri="{FF2B5EF4-FFF2-40B4-BE49-F238E27FC236}">
                <a16:creationId xmlns:a16="http://schemas.microsoft.com/office/drawing/2014/main" id="{B9CE8E2A-DEF9-7CF7-F170-38F14451531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554735" y="6501669"/>
            <a:ext cx="7277861" cy="2462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As of September 30,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CDFI Fun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9907E25-80D4-EEAA-EE2A-16C8C6706399}"/>
              </a:ext>
            </a:extLst>
          </p:cNvPr>
          <p:cNvSpPr>
            <a:spLocks/>
          </p:cNvSpPr>
          <p:nvPr/>
        </p:nvSpPr>
        <p:spPr>
          <a:xfrm>
            <a:off x="7939045" y="1191041"/>
            <a:ext cx="1317668" cy="553998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/>
          <a:p>
            <a:pPr marL="11113" marR="0" lvl="0" indent="-11113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Top 3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A073EFA-1249-4FFB-C14F-48945BFB76B6}"/>
              </a:ext>
            </a:extLst>
          </p:cNvPr>
          <p:cNvSpPr>
            <a:spLocks/>
          </p:cNvSpPr>
          <p:nvPr/>
        </p:nvSpPr>
        <p:spPr>
          <a:xfrm>
            <a:off x="9329460" y="1299992"/>
            <a:ext cx="2108703" cy="6463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1113" marR="0" lvl="0" indent="-11113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t read knowledge pieces of 2023 on McKinsey dot com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2B0BD60-B71B-8C4F-1E69-FC7A4705BEE9}"/>
              </a:ext>
            </a:extLst>
          </p:cNvPr>
          <p:cNvGrpSpPr/>
          <p:nvPr/>
        </p:nvGrpSpPr>
        <p:grpSpPr>
          <a:xfrm>
            <a:off x="8357693" y="2140671"/>
            <a:ext cx="2553195" cy="4229134"/>
            <a:chOff x="8212069" y="1241443"/>
            <a:chExt cx="3089367" cy="511725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3C4ED163-B9EF-D559-96EE-81CA296224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212069" y="1241443"/>
              <a:ext cx="3089366" cy="2005424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633BAE3E-304D-6CBF-6D92-6585A83D53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212069" y="3290118"/>
              <a:ext cx="3089366" cy="1366223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06D095CF-9608-7AFD-E744-A543E319EB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8212070" y="4699591"/>
              <a:ext cx="3089366" cy="1659104"/>
            </a:xfrm>
            <a:prstGeom prst="rect">
              <a:avLst/>
            </a:prstGeom>
          </p:spPr>
        </p:pic>
      </p:grpSp>
      <p:sp>
        <p:nvSpPr>
          <p:cNvPr id="11" name="Sticky">
            <a:extLst>
              <a:ext uri="{FF2B5EF4-FFF2-40B4-BE49-F238E27FC236}">
                <a16:creationId xmlns:a16="http://schemas.microsoft.com/office/drawing/2014/main" id="{0125EFFD-3ACF-224D-FFD7-AB783D89A98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265218" y="0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sz="1600" dirty="0">
                <a:solidFill>
                  <a:srgbClr val="000000"/>
                </a:solidFill>
              </a:rPr>
              <a:t>Lancelo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0371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" hidden="1">
            <a:extLst>
              <a:ext uri="{FF2B5EF4-FFF2-40B4-BE49-F238E27FC236}">
                <a16:creationId xmlns:a16="http://schemas.microsoft.com/office/drawing/2014/main" id="{88FE9462-D23A-4550-AE9F-98BF0AF903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8" name="Object 1" hidden="1">
                        <a:extLst>
                          <a:ext uri="{FF2B5EF4-FFF2-40B4-BE49-F238E27FC236}">
                            <a16:creationId xmlns:a16="http://schemas.microsoft.com/office/drawing/2014/main" id="{88FE9462-D23A-4550-AE9F-98BF0AF903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31AC939C-3D81-416F-A6C7-FBB7E6D2A56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-3048" y="0"/>
            <a:ext cx="12195048" cy="6858000"/>
          </a:xfrm>
          <a:prstGeom prst="rect">
            <a:avLst/>
          </a:prstGeom>
        </p:spPr>
      </p:pic>
      <p:cxnSp>
        <p:nvCxnSpPr>
          <p:cNvPr id="3" name="LineSeparatorStrong 3">
            <a:extLst>
              <a:ext uri="{FF2B5EF4-FFF2-40B4-BE49-F238E27FC236}">
                <a16:creationId xmlns:a16="http://schemas.microsoft.com/office/drawing/2014/main" id="{463E1427-9FF4-499C-A0FA-88A6B450089A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6586539" y="4176652"/>
            <a:ext cx="5048251" cy="0"/>
          </a:xfrm>
          <a:prstGeom prst="straightConnector1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LineSeparatorStrong 3">
            <a:extLst>
              <a:ext uri="{FF2B5EF4-FFF2-40B4-BE49-F238E27FC236}">
                <a16:creationId xmlns:a16="http://schemas.microsoft.com/office/drawing/2014/main" id="{9596A715-EB67-4AE1-A3BC-8F08763A0C56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6586539" y="5175293"/>
            <a:ext cx="5048251" cy="0"/>
          </a:xfrm>
          <a:prstGeom prst="straightConnector1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B3BF5E18-AE16-4368-8530-07B9D40AED5E}"/>
              </a:ext>
            </a:extLst>
          </p:cNvPr>
          <p:cNvSpPr txBox="1">
            <a:spLocks/>
          </p:cNvSpPr>
          <p:nvPr/>
        </p:nvSpPr>
        <p:spPr>
          <a:xfrm>
            <a:off x="6586538" y="268229"/>
            <a:ext cx="5048251" cy="147732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Deep Learning Surrogates to design next-gen wind turbines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C27EAE2-BA93-4118-9E04-15032F5AC849}"/>
              </a:ext>
            </a:extLst>
          </p:cNvPr>
          <p:cNvSpPr txBox="1">
            <a:spLocks/>
          </p:cNvSpPr>
          <p:nvPr/>
        </p:nvSpPr>
        <p:spPr>
          <a:xfrm>
            <a:off x="6586538" y="2113255"/>
            <a:ext cx="5048251" cy="1717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4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mponent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 optimize (Stay vane, Guide vane, Runner, Draft tub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~100 parameters</a:t>
            </a:r>
          </a:p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10+ constraint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cavitation, head centering, runner weight, pressure pulsation, …)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"/>
            </a:endParaRPr>
          </a:p>
        </p:txBody>
      </p:sp>
      <p:pic>
        <p:nvPicPr>
          <p:cNvPr id="164870" name="Picture 6">
            <a:extLst>
              <a:ext uri="{FF2B5EF4-FFF2-40B4-BE49-F238E27FC236}">
                <a16:creationId xmlns:a16="http://schemas.microsoft.com/office/drawing/2014/main" id="{080FFDB0-C6DF-498E-94BB-424483BA8C19}"/>
              </a:ext>
            </a:extLst>
          </p:cNvPr>
          <p:cNvPicPr>
            <a:picLocks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3176"/>
            <a:ext cx="609282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872" name="Picture 8" descr="General Electric - Wikipedia">
            <a:extLst>
              <a:ext uri="{FF2B5EF4-FFF2-40B4-BE49-F238E27FC236}">
                <a16:creationId xmlns:a16="http://schemas.microsoft.com/office/drawing/2014/main" id="{DF0759D8-B224-4AF2-9940-1F1D2A9CC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9715" y="5581478"/>
            <a:ext cx="139116" cy="139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8" descr="General Electric - Wikipedia">
            <a:extLst>
              <a:ext uri="{FF2B5EF4-FFF2-40B4-BE49-F238E27FC236}">
                <a16:creationId xmlns:a16="http://schemas.microsoft.com/office/drawing/2014/main" id="{361DA549-B7BB-477A-BD2C-FA442A519F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2148" y="4407948"/>
            <a:ext cx="139116" cy="139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General Electric - Wikipedia">
            <a:extLst>
              <a:ext uri="{FF2B5EF4-FFF2-40B4-BE49-F238E27FC236}">
                <a16:creationId xmlns:a16="http://schemas.microsoft.com/office/drawing/2014/main" id="{6B31DFB4-0D18-4D29-B122-22078004F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1593" y="2369691"/>
            <a:ext cx="219600" cy="21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7631517-BD4C-4854-AB73-1C0222621690}"/>
              </a:ext>
            </a:extLst>
          </p:cNvPr>
          <p:cNvSpPr txBox="1">
            <a:spLocks/>
          </p:cNvSpPr>
          <p:nvPr/>
        </p:nvSpPr>
        <p:spPr>
          <a:xfrm>
            <a:off x="6586537" y="5520723"/>
            <a:ext cx="5048251" cy="69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6+ operating points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predicted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400 000 CFP runs/ day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vs 2 runs/ day </a:t>
            </a:r>
          </a:p>
        </p:txBody>
      </p:sp>
      <p:grpSp>
        <p:nvGrpSpPr>
          <p:cNvPr id="26" name="ChevronBlue 20">
            <a:extLst>
              <a:ext uri="{FF2B5EF4-FFF2-40B4-BE49-F238E27FC236}">
                <a16:creationId xmlns:a16="http://schemas.microsoft.com/office/drawing/2014/main" id="{24C7CA3A-33AD-4A0A-A79C-875D6F1141B2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 rot="5400000">
            <a:off x="8912548" y="4977176"/>
            <a:ext cx="396228" cy="396228"/>
            <a:chOff x="1016000" y="1016000"/>
            <a:chExt cx="396228" cy="396228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3BC5DCF-C8BD-47BF-A023-313D6A5BC798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190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33D2E8C8-C2B1-4617-9871-47B205C883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43F81E6C-181D-47DB-AB0B-F7C3BFD7B0EC}"/>
              </a:ext>
            </a:extLst>
          </p:cNvPr>
          <p:cNvSpPr txBox="1">
            <a:spLocks/>
          </p:cNvSpPr>
          <p:nvPr/>
        </p:nvSpPr>
        <p:spPr>
          <a:xfrm>
            <a:off x="6586537" y="4522082"/>
            <a:ext cx="5048251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3 ML models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 merged with DLS workflow</a:t>
            </a:r>
          </a:p>
        </p:txBody>
      </p:sp>
      <p:grpSp>
        <p:nvGrpSpPr>
          <p:cNvPr id="30" name="ChevronBlue 20">
            <a:extLst>
              <a:ext uri="{FF2B5EF4-FFF2-40B4-BE49-F238E27FC236}">
                <a16:creationId xmlns:a16="http://schemas.microsoft.com/office/drawing/2014/main" id="{42AD71FB-E34F-4CAA-9A63-24F7DBB991BD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 rot="5400000">
            <a:off x="8912548" y="3978537"/>
            <a:ext cx="396228" cy="396228"/>
            <a:chOff x="1016000" y="1016000"/>
            <a:chExt cx="396228" cy="396228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5DEF016-DDC6-438D-BE19-7A87B5E804C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190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311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C768BD30-C95B-4B59-BB36-47D29743FB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34" name="SlideLogoText">
            <a:extLst>
              <a:ext uri="{FF2B5EF4-FFF2-40B4-BE49-F238E27FC236}">
                <a16:creationId xmlns:a16="http://schemas.microsoft.com/office/drawing/2014/main" id="{FAAB26AA-4960-4018-B04A-F87C3536692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  <p:sp>
        <p:nvSpPr>
          <p:cNvPr id="35" name="Slide Number">
            <a:extLst>
              <a:ext uri="{FF2B5EF4-FFF2-40B4-BE49-F238E27FC236}">
                <a16:creationId xmlns:a16="http://schemas.microsoft.com/office/drawing/2014/main" id="{5DA02332-FC63-4A0C-86FA-8CFC6360F30F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ticky">
            <a:extLst>
              <a:ext uri="{FF2B5EF4-FFF2-40B4-BE49-F238E27FC236}">
                <a16:creationId xmlns:a16="http://schemas.microsoft.com/office/drawing/2014/main" id="{1DBFD476-9753-3904-DA48-4668F1A1716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265218" y="0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sz="1600" dirty="0">
                <a:solidFill>
                  <a:srgbClr val="000000"/>
                </a:solidFill>
              </a:rPr>
              <a:t>Lancelot</a:t>
            </a:r>
          </a:p>
        </p:txBody>
      </p:sp>
    </p:spTree>
    <p:extLst>
      <p:ext uri="{BB962C8B-B14F-4D97-AF65-F5344CB8AC3E}">
        <p14:creationId xmlns:p14="http://schemas.microsoft.com/office/powerpoint/2010/main" val="11708644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C804DAD1-5C49-4545-BA6B-88B3D02230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C804DAD1-5C49-4545-BA6B-88B3D0223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E3D1EE23-8156-4562-A181-B93326150462}"/>
              </a:ext>
            </a:extLst>
          </p:cNvPr>
          <p:cNvSpPr txBox="1">
            <a:spLocks/>
          </p:cNvSpPr>
          <p:nvPr/>
        </p:nvSpPr>
        <p:spPr>
          <a:xfrm>
            <a:off x="4251750" y="4569326"/>
            <a:ext cx="3688500" cy="40011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242817" rtl="0" eaLnBrk="1" fontAlgn="base" latinLnBrk="0" hangingPunct="1">
              <a:lnSpc>
                <a:spcPct val="100000"/>
              </a:lnSpc>
              <a:spcBef>
                <a:spcPts val="624"/>
              </a:spcBef>
              <a:spcAft>
                <a:spcPts val="624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Lean more about QB</a:t>
            </a:r>
          </a:p>
        </p:txBody>
      </p:sp>
      <p:pic>
        <p:nvPicPr>
          <p:cNvPr id="3" name="Picture 2">
            <a:hlinkClick r:id="rId6"/>
            <a:extLst>
              <a:ext uri="{FF2B5EF4-FFF2-40B4-BE49-F238E27FC236}">
                <a16:creationId xmlns:a16="http://schemas.microsoft.com/office/drawing/2014/main" id="{FFFEE11E-FAB4-4512-BD70-454342565DDA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2249" y="1804292"/>
            <a:ext cx="2407502" cy="2407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4912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SCLIENT" val="True"/>
  <p:tag name="TCCONTRASTACCENTS" val="4|5|6|7|8|9"/>
  <p:tag name="TCLIGHTACCENTS" val="4|5|6|7|8|9"/>
  <p:tag name="TEMPLATELASTEDITED" val="2022-04-27 01:11 PM"/>
  <p:tag name="THINKCELLPRESENTATIONDONOTDELETE" val="&lt;?xml version=&quot;1.0&quot; encoding=&quot;UTF-16&quot; standalone=&quot;yes&quot;?&gt;&lt;root reqver=&quot;27037&quot;&gt;&lt;version val=&quot;3293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CONFILLBACKGROUND" val="Color [A=255, R=0, G=169, B=244]"/>
  <p:tag name="ICONFILLBACKGROUNDTHEME" val="Accent 2"/>
  <p:tag name="ICONENCLOSURE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mr7FnuSOiQw3_eHkuh9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5"/>
  <p:tag name="WIDTH" val="158"/>
  <p:tag name="TOP" val="110"/>
  <p:tag name="HEIGHT" val="113.3333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5"/>
  <p:tag name="WIDTH" val="158"/>
  <p:tag name="TOP" val="110"/>
  <p:tag name="HEIGHT" val="113.3333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5"/>
  <p:tag name="WIDTH" val="158"/>
  <p:tag name="TOP" val="110"/>
  <p:tag name="HEIGHT" val="113.3333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cg_e7olIWBw6i22t_50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GE5I4j4nFvikSizaH4Vw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LIBID" val="Lcb3594a5-4712-4456-a75a-ac25a05f72f2.1.ThvLng=="/>
  <p:tag name="APLORISLIBHASH" val="1.162_npEvZNiHyAO81R+jcupFXkBYSaA=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9G8kG.lomUe_5_aEH8E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5. Source"/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eparatorStron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eparatorStron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22Lf2r997MBQwUwBIkfw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SYsZo3xoQFrBJ7UTQ6iA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5RCgDRfya4VVoPANGXm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9XyTy2urzKzsaMMkSvwA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9WyEqO6ZO4exTQiQbko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bSFAPptT4N3knQNSL60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d0kYSju5Ma8.bLgLbLNw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Twww4TmftkqV6DC4L7i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h9F0eY7eeIjyBwHmGOOw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dWzw78IwJMNXFKhwVrxw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aRo0aGhNXF8XQvLHLLg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YLXYvGmTCu4kNrjm1EP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dMZXBlvkP2Hbilqr0co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vUGpTcsWnvmQzUQS9h0A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fxaG7YlXqoBlz69whnLA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hcVtc4PqLJzEXlySUAV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H3jupyqMa636yViz0ZsA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oQx9gwXvWutLk7teCX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Eeco8M6A7gLCZuuqlzSg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xYEPZNSQFup3vhhxG6V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tQy6c6uvScV8IyfSjRGg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8dX_zkxYSrxo3nyHRY.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0uOlnyhygGaVsk12YU7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5DyhFxIva1prrVdG3L4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1B9QsJI7v.Wtfl5Vwfqw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enXBmMxkmgLdbtT9tfXA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UBBSHRntCnCKYdGoqaw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MYLPh1SORqQzPTAHOOj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57jd9qm4FZrjPP55buxQ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D4jg.0bBaWoX9.1acMFw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mk0m708n1H50v9T8K0ig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A1Mns8LCIexuyIbLDx.g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zTsPrEKO7hurE3vwhLUg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otationMarks"/>
  <p:tag name="CIRCLESTATUS" val="White"/>
  <p:tag name="NAME" val="QuotationMarksWhite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otationMarks"/>
  <p:tag name="CIRCLESTATUS" val="White"/>
  <p:tag name="NAME" val="QuotationMarksWhite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QuotationMarks"/>
  <p:tag name="CIRCLESTATUS" val="White"/>
  <p:tag name="NAME" val="QuotationMarksWhit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110"/>
  <p:tag name="HEIGHT" val="10.76921"/>
  <p:tag name="WIDTH" val="276.6667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110"/>
  <p:tag name="HEIGHT" val="10.76921"/>
  <p:tag name="WIDTH" val="276.6667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356.1538"/>
  <p:tag name="HEIGHT" val="10.76921"/>
  <p:tag name="WIDTH" val="276.6667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3808395296246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140.7692"/>
  <p:tag name="HEIGHT" val="10.76921"/>
  <p:tag name="WIDTH" val="276.6667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140.7692"/>
  <p:tag name="HEIGHT" val="10.76921"/>
  <p:tag name="WIDTH" val="276.6667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140.7692"/>
  <p:tag name="HEIGHT" val="10.76921"/>
  <p:tag name="WIDTH" val="276.666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140.7692"/>
  <p:tag name="HEIGHT" val="10.76921"/>
  <p:tag name="WIDTH" val="276.6667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356.1538"/>
  <p:tag name="HEIGHT" val="10.76921"/>
  <p:tag name="WIDTH" val="276.6667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356.1538"/>
  <p:tag name="HEIGHT" val="10.76921"/>
  <p:tag name="WIDTH" val="276.6667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233.0769"/>
  <p:tag name="HEIGHT" val="10.76921"/>
  <p:tag name="WIDTH" val="276.6667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233.0769"/>
  <p:tag name="HEIGHT" val="10.76921"/>
  <p:tag name="WIDTH" val="276.6667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202.3077"/>
  <p:tag name="HEIGHT" val="10.76921"/>
  <p:tag name="WIDTH" val="276.6667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202.3077"/>
  <p:tag name="HEIGHT" val="10.76921"/>
  <p:tag name="WIDTH" val="276.6667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140.7692"/>
  <p:tag name="HEIGHT" val="10.76921"/>
  <p:tag name="WIDTH" val="276.6667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3808395296246"/>
  <p:tag name="LEFT" val="638.3333"/>
  <p:tag name="TOP" val="140.7692"/>
  <p:tag name="HEIGHT" val="10.76921"/>
  <p:tag name="WIDTH" val="276.6667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31119"/>
      </a:accent1>
      <a:accent2>
        <a:srgbClr val="00A9F4"/>
      </a:accent2>
      <a:accent3>
        <a:srgbClr val="042A76"/>
      </a:accent3>
      <a:accent4>
        <a:srgbClr val="AAE6F0"/>
      </a:accent4>
      <a:accent5>
        <a:srgbClr val="04043B"/>
      </a:accent5>
      <a:accent6>
        <a:srgbClr val="3C96B4"/>
      </a:accent6>
      <a:hlink>
        <a:srgbClr val="0000FF"/>
      </a:hlink>
      <a:folHlink>
        <a:srgbClr val="800080"/>
      </a:folHlink>
    </a:clrScheme>
    <a:fontScheme name="Custom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31119"/>
        </a:accent1>
        <a:accent2>
          <a:srgbClr val="00A9F4"/>
        </a:accent2>
        <a:accent3>
          <a:srgbClr val="042A76"/>
        </a:accent3>
        <a:accent4>
          <a:srgbClr val="AAE6F0"/>
        </a:accent4>
        <a:accent5>
          <a:srgbClr val="04043B"/>
        </a:accent5>
        <a:accent6>
          <a:srgbClr val="3C96B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QuantumBlack_Template_Updated.potx" id="{113CCFE1-C38E-4531-8210-14DBA8EAF9CA}" vid="{B998E58D-2466-425D-BFE9-39C89E200AF3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031119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042A76"/>
      </a:accent3>
      <a:accent4>
        <a:srgbClr val="AAE6F0"/>
      </a:accent4>
      <a:accent5>
        <a:srgbClr val="04043B"/>
      </a:accent5>
      <a:accent6>
        <a:srgbClr val="3C96B4"/>
      </a:accent6>
      <a:hlink>
        <a:srgbClr val="0000FF"/>
      </a:hlink>
      <a:folHlink>
        <a:srgbClr val="800080"/>
      </a:folHlink>
    </a:clrScheme>
    <a:fontScheme name="Custom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31119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042A76"/>
        </a:accent3>
        <a:accent4>
          <a:srgbClr val="AAE6F0"/>
        </a:accent4>
        <a:accent5>
          <a:srgbClr val="04043B"/>
        </a:accent5>
        <a:accent6>
          <a:srgbClr val="3C96B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QuantumBlack_Template_Updated.potx" id="{113CCFE1-C38E-4531-8210-14DBA8EAF9CA}" vid="{EB4CD69D-43A4-4429-BE91-FC0926038AC5}"/>
    </a:ext>
  </a:extLst>
</a:theme>
</file>

<file path=ppt/theme/theme3.xml><?xml version="1.0" encoding="utf-8"?>
<a:theme xmlns:a="http://schemas.openxmlformats.org/drawingml/2006/main" name="1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D8E3C897-85A5-4EC0-B954-E609CAE62F33}" vid="{C7CBBD27-844B-4EB4-A36A-46ADE5E96C51}"/>
    </a:ext>
  </a:extLst>
</a:theme>
</file>

<file path=ppt/theme/theme4.xml><?xml version="1.0" encoding="utf-8"?>
<a:theme xmlns:a="http://schemas.openxmlformats.org/drawingml/2006/main" name="2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F458607B-D058-4AFA-BEDF-3C59AC44E0BD}" vid="{A98287B3-8CDD-4633-BAA9-EE77A5D2FA65}"/>
    </a:ext>
  </a:extLst>
</a:theme>
</file>

<file path=ppt/theme/theme5.xml><?xml version="1.0" encoding="utf-8"?>
<a:theme xmlns:a="http://schemas.openxmlformats.org/drawingml/2006/main" name="CustomMaster 8">
  <a:themeElements>
    <a:clrScheme name="Scheme2">
      <a:dk1>
        <a:srgbClr val="FFFFFF"/>
      </a:dk1>
      <a:lt1>
        <a:srgbClr val="031119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042A76"/>
      </a:accent3>
      <a:accent4>
        <a:srgbClr val="AAE6F0"/>
      </a:accent4>
      <a:accent5>
        <a:srgbClr val="04043B"/>
      </a:accent5>
      <a:accent6>
        <a:srgbClr val="3C96B4"/>
      </a:accent6>
      <a:hlink>
        <a:srgbClr val="0000FF"/>
      </a:hlink>
      <a:folHlink>
        <a:srgbClr val="800080"/>
      </a:folHlink>
    </a:clrScheme>
    <a:fontScheme name="Custom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31119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042A76"/>
        </a:accent3>
        <a:accent4>
          <a:srgbClr val="AAE6F0"/>
        </a:accent4>
        <a:accent5>
          <a:srgbClr val="04043B"/>
        </a:accent5>
        <a:accent6>
          <a:srgbClr val="3C96B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QuantumBlack PPT template.potx" id="{8D8FA909-D81A-4AC6-84B7-1377BCFDF85E}" vid="{13F22B3E-8487-486E-A60B-BFD5690E6B00}"/>
    </a:ext>
  </a:extLst>
</a:theme>
</file>

<file path=ppt/theme/theme6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392979B-D1DE-2443-A7F3-096782F3865A}">
  <we:reference id="186f9e69-8c0a-4e87-b19c-647c4ba34c10" version="16.22.6.1" store="EXCatalog" storeType="EXCatalog"/>
  <we:alternateReferences/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White</Template>
  <TotalTime>16311</TotalTime>
  <Words>2926</Words>
  <Application>Microsoft Macintosh PowerPoint</Application>
  <PresentationFormat>Widescreen</PresentationFormat>
  <Paragraphs>545</Paragraphs>
  <Slides>40</Slides>
  <Notes>30</Notes>
  <HiddenSlides>1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62" baseType="lpstr">
      <vt:lpstr>Quattrocento Sans</vt:lpstr>
      <vt:lpstr>Arial</vt:lpstr>
      <vt:lpstr>Segoe UI</vt:lpstr>
      <vt:lpstr>Ebrima</vt:lpstr>
      <vt:lpstr>Nunito</vt:lpstr>
      <vt:lpstr>Georgia</vt:lpstr>
      <vt:lpstr>INCONSOLATA FOR POWERLINE</vt:lpstr>
      <vt:lpstr>Helvetica</vt:lpstr>
      <vt:lpstr>Sora</vt:lpstr>
      <vt:lpstr>Consolas</vt:lpstr>
      <vt:lpstr>Calibri</vt:lpstr>
      <vt:lpstr>Wingdings</vt:lpstr>
      <vt:lpstr>Nunito Medium</vt:lpstr>
      <vt:lpstr>Sora Medium</vt:lpstr>
      <vt:lpstr>White</vt:lpstr>
      <vt:lpstr>Contrast</vt:lpstr>
      <vt:lpstr>1_White</vt:lpstr>
      <vt:lpstr>2_Contrast</vt:lpstr>
      <vt:lpstr>CustomMaster 8</vt:lpstr>
      <vt:lpstr>Simple Light</vt:lpstr>
      <vt:lpstr>1_Simple Light</vt:lpstr>
      <vt:lpstr>think-cell Slide</vt:lpstr>
      <vt:lpstr>GenAI for retail: Agent for seamless Onboarding &amp; Smart sales</vt:lpstr>
      <vt:lpstr>Agenda</vt:lpstr>
      <vt:lpstr>Introduction to QuantumBlack</vt:lpstr>
      <vt:lpstr>QuantumBlack, AI by McKinsey</vt:lpstr>
      <vt:lpstr>QuantumBlack today</vt:lpstr>
      <vt:lpstr>A world record for Formula E, propelled by QuantumBlack, AI by McKinsey</vt:lpstr>
      <vt:lpstr>QuantumBlack thought leadership in all-things gen AI1</vt:lpstr>
      <vt:lpstr>PowerPoint Presentation</vt:lpstr>
      <vt:lpstr>PowerPoint Presentation</vt:lpstr>
      <vt:lpstr>Introduction to Mistral AI</vt:lpstr>
      <vt:lpstr>Meet Mistral AI_ We bring AI into everybody’s hands</vt:lpstr>
      <vt:lpstr>Mistral AI makes it easy for you</vt:lpstr>
      <vt:lpstr>PowerPoint Presentation</vt:lpstr>
      <vt:lpstr>PowerPoint Presentation</vt:lpstr>
      <vt:lpstr>Challenge presentation</vt:lpstr>
      <vt:lpstr>GenAI holds $6-8 trillion potential, amounting to 20-30% of total value from AI</vt:lpstr>
      <vt:lpstr>Retail is the second largest sector that has great potential in leveraging GenAI to drive significant impact</vt:lpstr>
      <vt:lpstr>We see various examples of use cases across the entire retail internal value chain</vt:lpstr>
      <vt:lpstr>However, few companies have  been able to generate impact at scale</vt:lpstr>
      <vt:lpstr>Scaling GenAI requires a radical change on multiple dimensions vs the approach adopted for experimentation</vt:lpstr>
      <vt:lpstr>RetailX</vt:lpstr>
      <vt:lpstr>You just join RetailX – In the Meating room the team is brainstorming on the next steps… </vt:lpstr>
      <vt:lpstr>To help RetailX, please provide ...</vt:lpstr>
      <vt:lpstr>Grading criteria</vt:lpstr>
      <vt:lpstr>Deep-dive on business criteria: What will the final jury look for</vt:lpstr>
      <vt:lpstr>Demo ti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w to use our model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’agriculture de demain</dc:title>
  <dc:subject/>
  <dc:creator>Reda Slaoui</dc:creator>
  <cp:keywords/>
  <dc:description/>
  <cp:lastModifiedBy>Lancelot Péronnet</cp:lastModifiedBy>
  <cp:revision>186</cp:revision>
  <cp:lastPrinted>2022-12-04T16:44:48Z</cp:lastPrinted>
  <dcterms:created xsi:type="dcterms:W3CDTF">2022-09-13T12:13:55Z</dcterms:created>
  <dcterms:modified xsi:type="dcterms:W3CDTF">2024-11-23T10:40:5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LastEdited">
    <vt:lpwstr>2022-04-27 01:11 PM</vt:lpwstr>
  </property>
</Properties>
</file>